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3"/>
    <p:sldMasterId id="2147483689" r:id="rId4"/>
  </p:sldMasterIdLst>
  <p:notesMasterIdLst>
    <p:notesMasterId r:id="rId12"/>
  </p:notesMasterIdLst>
  <p:sldIdLst>
    <p:sldId id="1322" r:id="rId5"/>
    <p:sldId id="1418" r:id="rId6"/>
    <p:sldId id="1323" r:id="rId7"/>
    <p:sldId id="1419" r:id="rId8"/>
    <p:sldId id="1373" r:id="rId9"/>
    <p:sldId id="1326" r:id="rId10"/>
    <p:sldId id="286" r:id="rId11"/>
  </p:sldIdLst>
  <p:sldSz cx="12192000" cy="6858000"/>
  <p:notesSz cx="6858000" cy="9144000"/>
  <p:custDataLst>
    <p:tags r:id="rId1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Default Section" id="{DDC678D0-D051-4F37-9A7C-45E0E3BE916E}">
          <p14:sldIdLst>
            <p14:sldId id="1322"/>
            <p14:sldId id="1418"/>
            <p14:sldId id="1323"/>
            <p14:sldId id="1419"/>
            <p14:sldId id="1373"/>
            <p14:sldId id="1326"/>
            <p14:sldId id="286"/>
          </p14:sldIdLst>
        </p14:section>
        <p14:section name="Appendix" id="{9916D341-4948-445D-83CC-824559C2F5A8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064">
          <p15:clr>
            <a:srgbClr val="A4A3A4"/>
          </p15:clr>
        </p15:guide>
        <p15:guide id="2" pos="3977">
          <p15:clr>
            <a:srgbClr val="A4A3A4"/>
          </p15:clr>
        </p15:guide>
      </p15:sldGuideLst>
    </p:ext>
    <p:ext uri="http://customooxmlschemas.google.com/">
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r:id="rId119" roundtripDataSignature="AMtx7mjFEWsPWnmskcRBm8K2kJnRdxPC4w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ndran, Nanda" initials="CN" lastIdx="2" clrIdx="0">
    <p:extLst>
      <p:ext uri="{19B8F6BF-5375-455C-9EA6-DF929625EA0E}">
        <p15:presenceInfo xmlns:p15="http://schemas.microsoft.com/office/powerpoint/2012/main" userId="S::Nanda_Chandran@pharmaessentia.com::d634ce4a-604b-4274-a590-ba500a82e84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ECEAEB"/>
    <a:srgbClr val="DE54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14B432A-DAAE-45B4-925E-232861F8A2FB}">
  <a:tblStyle styleId="{E14B432A-DAAE-45B4-925E-232861F8A2FB}" styleName="Table_0">
    <a:wholeTbl>
      <a:tcTxStyle b="off" i="off">
        <a:font>
          <a:latin typeface="Trebuchet MS"/>
          <a:ea typeface="Trebuchet MS"/>
          <a:cs typeface="Trebuchet MS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6E7E9"/>
          </a:solidFill>
        </a:fill>
      </a:tcStyle>
    </a:wholeTbl>
    <a:band1H>
      <a:tcTxStyle/>
      <a:tcStyle>
        <a:tcBdr/>
        <a:fill>
          <a:solidFill>
            <a:srgbClr val="EDCBD1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EDCBD1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1"/>
    <p:restoredTop sz="94589"/>
  </p:normalViewPr>
  <p:slideViewPr>
    <p:cSldViewPr snapToGrid="0">
      <p:cViewPr varScale="1">
        <p:scale>
          <a:sx n="78" d="100"/>
          <a:sy n="78" d="100"/>
        </p:scale>
        <p:origin x="130" y="62"/>
      </p:cViewPr>
      <p:guideLst>
        <p:guide orient="horz" pos="2064"/>
        <p:guide pos="397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21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120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24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123" Type="http://schemas.openxmlformats.org/officeDocument/2006/relationships/theme" Target="theme/theme1.xml"/><Relationship Id="rId5" Type="http://schemas.openxmlformats.org/officeDocument/2006/relationships/slide" Target="slides/slide1.xml"/><Relationship Id="rId119" Type="http://customschemas.google.com/relationships/presentationmetadata" Target="metadata"/><Relationship Id="rId10" Type="http://schemas.openxmlformats.org/officeDocument/2006/relationships/slide" Target="slides/slide6.xml"/><Relationship Id="rId122" Type="http://schemas.openxmlformats.org/officeDocument/2006/relationships/viewProps" Target="viewProps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5" name="Google Shape;3155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56" name="Google Shape;315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880068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4" name="Google Shape;9494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9495" name="Google Shape;9495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6309204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9" name="Google Shape;3739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40" name="Google Shape;374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2478225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9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png"/><Relationship Id="rId4" Type="http://schemas.openxmlformats.org/officeDocument/2006/relationships/image" Target="../media/image21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png"/><Relationship Id="rId4" Type="http://schemas.openxmlformats.org/officeDocument/2006/relationships/image" Target="../media/image21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png"/><Relationship Id="rId4" Type="http://schemas.openxmlformats.org/officeDocument/2006/relationships/image" Target="../media/image21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6EE260-78C4-3C98-2DA7-BEDD36C93E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5726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6EE260-78C4-3C98-2DA7-BEDD36C93E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73" name="Google Shape;1073;p28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074" name="Google Shape;1074;p2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75" name="Google Shape;1075;p28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30205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and Content">
  <p:cSld name="8_Title and Content">
    <p:bg>
      <p:bgPr>
        <a:solidFill>
          <a:schemeClr val="lt1"/>
        </a:solidFill>
        <a:effectLst/>
      </p:bgPr>
    </p:bg>
    <p:spTree>
      <p:nvGrpSpPr>
        <p:cNvPr id="1" name="Shape 17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3" name="Google Shape;1763;p64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64" name="Google Shape;1764;p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700784"/>
            <a:ext cx="12192000" cy="2651452"/>
          </a:xfrm>
          <a:prstGeom prst="rect">
            <a:avLst/>
          </a:prstGeom>
          <a:noFill/>
          <a:ln>
            <a:noFill/>
          </a:ln>
        </p:spPr>
      </p:pic>
      <p:sp>
        <p:nvSpPr>
          <p:cNvPr id="1765" name="Google Shape;1765;p64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66" name="Google Shape;1766;p6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67" name="Google Shape;1767;p64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69" name="Google Shape;1769;p64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E9695E3F-005C-1574-3427-10812C45331D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Content">
  <p:cSld name="10_Title and Content">
    <p:bg>
      <p:bgPr>
        <a:solidFill>
          <a:schemeClr val="lt1"/>
        </a:solidFill>
        <a:effectLst/>
      </p:bgPr>
    </p:bg>
    <p:spTree>
      <p:nvGrpSpPr>
        <p:cNvPr id="1" name="Shape 17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" name="Google Shape;1771;p65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72" name="Google Shape;1772;p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700784"/>
            <a:ext cx="12192000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73" name="Google Shape;1773;p65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74" name="Google Shape;1774;p6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75" name="Google Shape;1775;p65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77" name="Google Shape;1777;p65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3C6E41C2-14D5-C020-C97A-A925CEB6DD0B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Content">
  <p:cSld name="11_Title and Content">
    <p:bg>
      <p:bgPr>
        <a:solidFill>
          <a:schemeClr val="lt1"/>
        </a:solidFill>
        <a:effectLst/>
      </p:bgPr>
    </p:bg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9" name="Google Shape;1779;p66"/>
          <p:cNvSpPr/>
          <p:nvPr/>
        </p:nvSpPr>
        <p:spPr>
          <a:xfrm>
            <a:off x="0" y="191498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80" name="Google Shape;1780;p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5753" y="1935244"/>
            <a:ext cx="12197753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81" name="Google Shape;1781;p66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82" name="Google Shape;1782;p6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83" name="Google Shape;1783;p66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85" name="Google Shape;1785;p66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DDFEE698-E291-3A41-AA56-49D14B329F63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">
  <p:cSld name="7_Title Slide">
    <p:spTree>
      <p:nvGrpSpPr>
        <p:cNvPr id="1" name="Shape 1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8" name="Google Shape;1798;p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799" name="Google Shape;1799;p68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00" name="Google Shape;1800;p68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1" name="Google Shape;1801;p68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03" name="Google Shape;1803;p68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04" name="Google Shape;1804;p68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5" name="Google Shape;1805;p68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6" name="Google Shape;1806;p68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7" name="Google Shape;1807;p68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8" name="Google Shape;1808;p68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09" name="Google Shape;1809;p68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0" name="Google Shape;1810;p68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7AFD7699-C2F0-5E88-59EB-ED7425D9D3A6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Slide">
  <p:cSld name="10_Title Slide">
    <p:spTree>
      <p:nvGrpSpPr>
        <p:cNvPr id="1" name="Shape 18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12" name="Google Shape;1812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675" y="0"/>
            <a:ext cx="12197753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13" name="Google Shape;1813;p69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14" name="Google Shape;1814;p69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5" name="Google Shape;1815;p69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17" name="Google Shape;1817;p69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18" name="Google Shape;1818;p69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19" name="Google Shape;1819;p69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0" name="Google Shape;1820;p69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1" name="Google Shape;1821;p69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2" name="Google Shape;1822;p69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23" name="Google Shape;1823;p69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4" name="Google Shape;1824;p69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7A3E3A51-887A-B942-B32D-781B0C440E05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">
  <p:cSld name="8_Title Slide">
    <p:spTree>
      <p:nvGrpSpPr>
        <p:cNvPr id="1" name="Shape 1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26" name="Google Shape;1826;p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407161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27" name="Google Shape;1827;p7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73565" y="0"/>
            <a:ext cx="109184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28" name="Google Shape;1828;p70"/>
          <p:cNvSpPr/>
          <p:nvPr/>
        </p:nvSpPr>
        <p:spPr>
          <a:xfrm rot="5400000">
            <a:off x="-784123" y="500539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29" name="Google Shape;1829;p70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30" name="Google Shape;1830;p70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32" name="Google Shape;1832;p70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33" name="Google Shape;1833;p70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4" name="Google Shape;1834;p70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5" name="Google Shape;1835;p70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6" name="Google Shape;1836;p70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7" name="Google Shape;1837;p70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38" name="Google Shape;1838;p70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9" name="Google Shape;1839;p70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0B6C81CA-E780-F9E4-2215-02F7088D17FE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Slide">
  <p:cSld name="9_Title Slide">
    <p:spTree>
      <p:nvGrpSpPr>
        <p:cNvPr id="1" name="Shape 18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1" name="Google Shape;1841;p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42" name="Google Shape;1842;p71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43" name="Google Shape;1843;p71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44" name="Google Shape;1844;p71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45" name="Google Shape;1845;p71"/>
          <p:cNvSpPr/>
          <p:nvPr/>
        </p:nvSpPr>
        <p:spPr>
          <a:xfrm>
            <a:off x="5214189" y="6492240"/>
            <a:ext cx="176362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/>
          </a:p>
        </p:txBody>
      </p:sp>
      <p:grpSp>
        <p:nvGrpSpPr>
          <p:cNvPr id="1846" name="Google Shape;1846;p71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47" name="Google Shape;1847;p71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48" name="Google Shape;1848;p71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49" name="Google Shape;1849;p71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50" name="Google Shape;1850;p71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51" name="Google Shape;1851;p71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52" name="Google Shape;1852;p71"/>
          <p:cNvSpPr txBox="1">
            <a:spLocks noGrp="1"/>
          </p:cNvSpPr>
          <p:nvPr>
            <p:ph type="body" idx="1"/>
          </p:nvPr>
        </p:nvSpPr>
        <p:spPr>
          <a:xfrm>
            <a:off x="771215" y="2971800"/>
            <a:ext cx="2702048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3" name="Google Shape;1853;p71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2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A388954-3991-E110-3336-07A789DD3E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1800082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2992983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20720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2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3EC4C68-DE96-694D-7527-E00612C6FB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4432883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5625784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51638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2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702719A-9848-F6A5-1123-DCAD3FC5A2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9635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2903214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3956523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4020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CD5C86D4-8570-B317-31FC-D08591D5DBA7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0887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B08E10DD-69CA-D5E1-D628-26175D2D4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615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B08E10DD-69CA-D5E1-D628-26175D2D4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21ED39E9-D4C5-C37F-C71E-38B065B9654F}"/>
              </a:ext>
            </a:extLst>
          </p:cNvPr>
          <p:cNvGrpSpPr/>
          <p:nvPr userDrawn="1"/>
        </p:nvGrpSpPr>
        <p:grpSpPr>
          <a:xfrm rot="2319165">
            <a:off x="-2557854" y="-543386"/>
            <a:ext cx="7237713" cy="9700942"/>
            <a:chOff x="-1155181" y="-1277307"/>
            <a:chExt cx="7237713" cy="9700942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193C742-4C70-022D-EFE9-145094A0A98E}"/>
                </a:ext>
              </a:extLst>
            </p:cNvPr>
            <p:cNvSpPr/>
            <p:nvPr/>
          </p:nvSpPr>
          <p:spPr>
            <a:xfrm rot="12719834">
              <a:off x="-1155181" y="-425599"/>
              <a:ext cx="7069449" cy="6718942"/>
            </a:xfrm>
            <a:custGeom>
              <a:avLst/>
              <a:gdLst>
                <a:gd name="connsiteX0" fmla="*/ 1431301 w 1585912"/>
                <a:gd name="connsiteY0" fmla="*/ 292961 h 1271587"/>
                <a:gd name="connsiteX1" fmla="*/ 954146 w 1585912"/>
                <a:gd name="connsiteY1" fmla="*/ 931178 h 1271587"/>
                <a:gd name="connsiteX2" fmla="*/ 158997 w 1585912"/>
                <a:gd name="connsiteY2" fmla="*/ 983471 h 1271587"/>
                <a:gd name="connsiteX3" fmla="*/ 636152 w 1585912"/>
                <a:gd name="connsiteY3" fmla="*/ 345255 h 1271587"/>
                <a:gd name="connsiteX4" fmla="*/ 1431301 w 1585912"/>
                <a:gd name="connsiteY4" fmla="*/ 292961 h 1271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5912" h="1271587">
                  <a:moveTo>
                    <a:pt x="1431301" y="292961"/>
                  </a:moveTo>
                  <a:cubicBezTo>
                    <a:pt x="1519113" y="454760"/>
                    <a:pt x="1305484" y="740499"/>
                    <a:pt x="954146" y="931178"/>
                  </a:cubicBezTo>
                  <a:cubicBezTo>
                    <a:pt x="602809" y="1121857"/>
                    <a:pt x="246809" y="1145269"/>
                    <a:pt x="158997" y="983471"/>
                  </a:cubicBezTo>
                  <a:cubicBezTo>
                    <a:pt x="71185" y="821673"/>
                    <a:pt x="284815" y="535934"/>
                    <a:pt x="636152" y="345255"/>
                  </a:cubicBezTo>
                  <a:cubicBezTo>
                    <a:pt x="987489" y="154576"/>
                    <a:pt x="1343490" y="131163"/>
                    <a:pt x="1431301" y="292961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5BBCE06-72A3-CF21-06BE-88890CA65478}"/>
                </a:ext>
              </a:extLst>
            </p:cNvPr>
            <p:cNvSpPr/>
            <p:nvPr/>
          </p:nvSpPr>
          <p:spPr>
            <a:xfrm rot="12719834">
              <a:off x="-1136236" y="-517952"/>
              <a:ext cx="7069449" cy="7020917"/>
            </a:xfrm>
            <a:custGeom>
              <a:avLst/>
              <a:gdLst>
                <a:gd name="connsiteX0" fmla="*/ 1411027 w 1585912"/>
                <a:gd name="connsiteY0" fmla="*/ 284339 h 1328737"/>
                <a:gd name="connsiteX1" fmla="*/ 969505 w 1585912"/>
                <a:gd name="connsiteY1" fmla="*/ 950896 h 1328737"/>
                <a:gd name="connsiteX2" fmla="*/ 175994 w 1585912"/>
                <a:gd name="connsiteY2" fmla="*/ 1048773 h 1328737"/>
                <a:gd name="connsiteX3" fmla="*/ 617517 w 1585912"/>
                <a:gd name="connsiteY3" fmla="*/ 382217 h 1328737"/>
                <a:gd name="connsiteX4" fmla="*/ 1411027 w 1585912"/>
                <a:gd name="connsiteY4" fmla="*/ 284339 h 1328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5912" h="1328737">
                  <a:moveTo>
                    <a:pt x="1411027" y="284339"/>
                  </a:moveTo>
                  <a:cubicBezTo>
                    <a:pt x="1508226" y="441376"/>
                    <a:pt x="1310550" y="739803"/>
                    <a:pt x="969505" y="950896"/>
                  </a:cubicBezTo>
                  <a:cubicBezTo>
                    <a:pt x="628460" y="1161988"/>
                    <a:pt x="273193" y="1205809"/>
                    <a:pt x="175994" y="1048773"/>
                  </a:cubicBezTo>
                  <a:cubicBezTo>
                    <a:pt x="78795" y="891737"/>
                    <a:pt x="276472" y="593309"/>
                    <a:pt x="617517" y="382217"/>
                  </a:cubicBezTo>
                  <a:cubicBezTo>
                    <a:pt x="958561" y="171124"/>
                    <a:pt x="1313828" y="127303"/>
                    <a:pt x="1411027" y="28433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6AC4768-1C47-EF59-7368-003BFCB065F4}"/>
                </a:ext>
              </a:extLst>
            </p:cNvPr>
            <p:cNvSpPr/>
            <p:nvPr/>
          </p:nvSpPr>
          <p:spPr>
            <a:xfrm rot="12719834">
              <a:off x="-1087663" y="-602764"/>
              <a:ext cx="7037604" cy="7322892"/>
            </a:xfrm>
            <a:custGeom>
              <a:avLst/>
              <a:gdLst>
                <a:gd name="connsiteX0" fmla="*/ 1390706 w 1578768"/>
                <a:gd name="connsiteY0" fmla="*/ 275729 h 1385887"/>
                <a:gd name="connsiteX1" fmla="*/ 984813 w 1578768"/>
                <a:gd name="connsiteY1" fmla="*/ 970584 h 1385887"/>
                <a:gd name="connsiteX2" fmla="*/ 192973 w 1578768"/>
                <a:gd name="connsiteY2" fmla="*/ 1113981 h 1385887"/>
                <a:gd name="connsiteX3" fmla="*/ 598866 w 1578768"/>
                <a:gd name="connsiteY3" fmla="*/ 419126 h 1385887"/>
                <a:gd name="connsiteX4" fmla="*/ 1390706 w 1578768"/>
                <a:gd name="connsiteY4" fmla="*/ 275729 h 1385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8768" h="1385887">
                  <a:moveTo>
                    <a:pt x="1390706" y="275729"/>
                  </a:moveTo>
                  <a:cubicBezTo>
                    <a:pt x="1497282" y="428010"/>
                    <a:pt x="1315557" y="739107"/>
                    <a:pt x="984813" y="970584"/>
                  </a:cubicBezTo>
                  <a:cubicBezTo>
                    <a:pt x="654068" y="1202061"/>
                    <a:pt x="299550" y="1266262"/>
                    <a:pt x="192973" y="1113981"/>
                  </a:cubicBezTo>
                  <a:cubicBezTo>
                    <a:pt x="86397" y="961700"/>
                    <a:pt x="268122" y="650603"/>
                    <a:pt x="598866" y="419126"/>
                  </a:cubicBezTo>
                  <a:cubicBezTo>
                    <a:pt x="929611" y="187649"/>
                    <a:pt x="1284130" y="123448"/>
                    <a:pt x="1390706" y="27572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D9B3055-69F5-607F-2553-968D085F13E7}"/>
                </a:ext>
              </a:extLst>
            </p:cNvPr>
            <p:cNvSpPr/>
            <p:nvPr/>
          </p:nvSpPr>
          <p:spPr>
            <a:xfrm rot="12719834">
              <a:off x="-1068808" y="-695336"/>
              <a:ext cx="7037604" cy="7624867"/>
            </a:xfrm>
            <a:custGeom>
              <a:avLst/>
              <a:gdLst>
                <a:gd name="connsiteX0" fmla="*/ 1370321 w 1578768"/>
                <a:gd name="connsiteY0" fmla="*/ 267117 h 1443037"/>
                <a:gd name="connsiteX1" fmla="*/ 1000115 w 1578768"/>
                <a:gd name="connsiteY1" fmla="*/ 990286 h 1443037"/>
                <a:gd name="connsiteX2" fmla="*/ 209970 w 1578768"/>
                <a:gd name="connsiteY2" fmla="*/ 1179222 h 1443037"/>
                <a:gd name="connsiteX3" fmla="*/ 580176 w 1578768"/>
                <a:gd name="connsiteY3" fmla="*/ 456053 h 1443037"/>
                <a:gd name="connsiteX4" fmla="*/ 1370321 w 1578768"/>
                <a:gd name="connsiteY4" fmla="*/ 267117 h 144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8768" h="1443037">
                  <a:moveTo>
                    <a:pt x="1370321" y="267117"/>
                  </a:moveTo>
                  <a:cubicBezTo>
                    <a:pt x="1486285" y="414641"/>
                    <a:pt x="1320538" y="738415"/>
                    <a:pt x="1000115" y="990286"/>
                  </a:cubicBezTo>
                  <a:cubicBezTo>
                    <a:pt x="679693" y="1242157"/>
                    <a:pt x="325933" y="1326747"/>
                    <a:pt x="209970" y="1179222"/>
                  </a:cubicBezTo>
                  <a:cubicBezTo>
                    <a:pt x="94007" y="1031698"/>
                    <a:pt x="259754" y="707924"/>
                    <a:pt x="580176" y="456053"/>
                  </a:cubicBezTo>
                  <a:cubicBezTo>
                    <a:pt x="900598" y="204182"/>
                    <a:pt x="1254358" y="119592"/>
                    <a:pt x="1370321" y="267117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C162347-504A-F05E-4EE1-30DC953FF46A}"/>
                </a:ext>
              </a:extLst>
            </p:cNvPr>
            <p:cNvSpPr/>
            <p:nvPr/>
          </p:nvSpPr>
          <p:spPr>
            <a:xfrm rot="12719834">
              <a:off x="-1020004" y="-780172"/>
              <a:ext cx="7005759" cy="7926841"/>
            </a:xfrm>
            <a:custGeom>
              <a:avLst/>
              <a:gdLst>
                <a:gd name="connsiteX0" fmla="*/ 1349907 w 1571625"/>
                <a:gd name="connsiteY0" fmla="*/ 258495 h 1500187"/>
                <a:gd name="connsiteX1" fmla="*/ 1015331 w 1571625"/>
                <a:gd name="connsiteY1" fmla="*/ 1009894 h 1500187"/>
                <a:gd name="connsiteX2" fmla="*/ 226918 w 1571625"/>
                <a:gd name="connsiteY2" fmla="*/ 1244304 h 1500187"/>
                <a:gd name="connsiteX3" fmla="*/ 561494 w 1571625"/>
                <a:gd name="connsiteY3" fmla="*/ 492905 h 1500187"/>
                <a:gd name="connsiteX4" fmla="*/ 1349907 w 1571625"/>
                <a:gd name="connsiteY4" fmla="*/ 258495 h 1500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1625" h="1500187">
                  <a:moveTo>
                    <a:pt x="1349907" y="258495"/>
                  </a:moveTo>
                  <a:cubicBezTo>
                    <a:pt x="1475230" y="401257"/>
                    <a:pt x="1325435" y="737670"/>
                    <a:pt x="1015331" y="1009894"/>
                  </a:cubicBezTo>
                  <a:cubicBezTo>
                    <a:pt x="705226" y="1282118"/>
                    <a:pt x="352241" y="1387067"/>
                    <a:pt x="226918" y="1244304"/>
                  </a:cubicBezTo>
                  <a:cubicBezTo>
                    <a:pt x="101595" y="1101541"/>
                    <a:pt x="251390" y="765128"/>
                    <a:pt x="561494" y="492905"/>
                  </a:cubicBezTo>
                  <a:cubicBezTo>
                    <a:pt x="871599" y="220681"/>
                    <a:pt x="1224584" y="115732"/>
                    <a:pt x="1349907" y="258495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C13DE44-6196-6EA4-C521-3A200C26C966}"/>
                </a:ext>
              </a:extLst>
            </p:cNvPr>
            <p:cNvSpPr/>
            <p:nvPr/>
          </p:nvSpPr>
          <p:spPr>
            <a:xfrm rot="12719834">
              <a:off x="-1001227" y="-872830"/>
              <a:ext cx="7005759" cy="8228816"/>
            </a:xfrm>
            <a:custGeom>
              <a:avLst/>
              <a:gdLst>
                <a:gd name="connsiteX0" fmla="*/ 1329506 w 1571625"/>
                <a:gd name="connsiteY0" fmla="*/ 249878 h 1557337"/>
                <a:gd name="connsiteX1" fmla="*/ 1030613 w 1571625"/>
                <a:gd name="connsiteY1" fmla="*/ 1029584 h 1557337"/>
                <a:gd name="connsiteX2" fmla="*/ 243907 w 1571625"/>
                <a:gd name="connsiteY2" fmla="*/ 1309535 h 1557337"/>
                <a:gd name="connsiteX3" fmla="*/ 542799 w 1571625"/>
                <a:gd name="connsiteY3" fmla="*/ 529829 h 1557337"/>
                <a:gd name="connsiteX4" fmla="*/ 1329506 w 1571625"/>
                <a:gd name="connsiteY4" fmla="*/ 249878 h 1557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1625" h="1557337">
                  <a:moveTo>
                    <a:pt x="1329506" y="249878"/>
                  </a:moveTo>
                  <a:cubicBezTo>
                    <a:pt x="1464212" y="387882"/>
                    <a:pt x="1330393" y="736968"/>
                    <a:pt x="1030613" y="1029584"/>
                  </a:cubicBezTo>
                  <a:cubicBezTo>
                    <a:pt x="730833" y="1322201"/>
                    <a:pt x="378613" y="1447539"/>
                    <a:pt x="243907" y="1309535"/>
                  </a:cubicBezTo>
                  <a:cubicBezTo>
                    <a:pt x="109201" y="1171531"/>
                    <a:pt x="243020" y="822445"/>
                    <a:pt x="542799" y="529829"/>
                  </a:cubicBezTo>
                  <a:cubicBezTo>
                    <a:pt x="842579" y="237212"/>
                    <a:pt x="1194800" y="111874"/>
                    <a:pt x="1329506" y="24987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5231B19-E1F3-89D1-D55C-5FC0154D0ADE}"/>
                </a:ext>
              </a:extLst>
            </p:cNvPr>
            <p:cNvSpPr/>
            <p:nvPr/>
          </p:nvSpPr>
          <p:spPr>
            <a:xfrm rot="12719834">
              <a:off x="-952951" y="-957099"/>
              <a:ext cx="6973913" cy="8530791"/>
            </a:xfrm>
            <a:custGeom>
              <a:avLst/>
              <a:gdLst>
                <a:gd name="connsiteX0" fmla="*/ 1309249 w 1564481"/>
                <a:gd name="connsiteY0" fmla="*/ 241318 h 1614487"/>
                <a:gd name="connsiteX1" fmla="*/ 1046028 w 1564481"/>
                <a:gd name="connsiteY1" fmla="*/ 1049404 h 1614487"/>
                <a:gd name="connsiteX2" fmla="*/ 260936 w 1564481"/>
                <a:gd name="connsiteY2" fmla="*/ 1374854 h 1614487"/>
                <a:gd name="connsiteX3" fmla="*/ 524157 w 1564481"/>
                <a:gd name="connsiteY3" fmla="*/ 566768 h 1614487"/>
                <a:gd name="connsiteX4" fmla="*/ 1309249 w 1564481"/>
                <a:gd name="connsiteY4" fmla="*/ 241318 h 1614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4481" h="1614487">
                  <a:moveTo>
                    <a:pt x="1309249" y="241318"/>
                  </a:moveTo>
                  <a:cubicBezTo>
                    <a:pt x="1453360" y="374594"/>
                    <a:pt x="1335512" y="736386"/>
                    <a:pt x="1046028" y="1049404"/>
                  </a:cubicBezTo>
                  <a:cubicBezTo>
                    <a:pt x="756545" y="1362421"/>
                    <a:pt x="405047" y="1508131"/>
                    <a:pt x="260936" y="1374854"/>
                  </a:cubicBezTo>
                  <a:cubicBezTo>
                    <a:pt x="116825" y="1241578"/>
                    <a:pt x="234673" y="879786"/>
                    <a:pt x="524157" y="566768"/>
                  </a:cubicBezTo>
                  <a:cubicBezTo>
                    <a:pt x="813640" y="253751"/>
                    <a:pt x="1165138" y="108042"/>
                    <a:pt x="1309249" y="24131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6A6B6AD-7BDD-0BE6-4A00-5649E0A07CB6}"/>
                </a:ext>
              </a:extLst>
            </p:cNvPr>
            <p:cNvSpPr/>
            <p:nvPr/>
          </p:nvSpPr>
          <p:spPr>
            <a:xfrm rot="12719834">
              <a:off x="-933493" y="-1050527"/>
              <a:ext cx="6973913" cy="8832766"/>
            </a:xfrm>
            <a:custGeom>
              <a:avLst/>
              <a:gdLst>
                <a:gd name="connsiteX0" fmla="*/ 1288764 w 1564481"/>
                <a:gd name="connsiteY0" fmla="*/ 232662 h 1671637"/>
                <a:gd name="connsiteX1" fmla="*/ 1061163 w 1564481"/>
                <a:gd name="connsiteY1" fmla="*/ 1068957 h 1671637"/>
                <a:gd name="connsiteX2" fmla="*/ 277854 w 1564481"/>
                <a:gd name="connsiteY2" fmla="*/ 1439928 h 1671637"/>
                <a:gd name="connsiteX3" fmla="*/ 505455 w 1564481"/>
                <a:gd name="connsiteY3" fmla="*/ 603633 h 1671637"/>
                <a:gd name="connsiteX4" fmla="*/ 1288764 w 1564481"/>
                <a:gd name="connsiteY4" fmla="*/ 232662 h 167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4481" h="1671637">
                  <a:moveTo>
                    <a:pt x="1288764" y="232662"/>
                  </a:moveTo>
                  <a:cubicBezTo>
                    <a:pt x="1442218" y="361158"/>
                    <a:pt x="1340318" y="735580"/>
                    <a:pt x="1061163" y="1068957"/>
                  </a:cubicBezTo>
                  <a:cubicBezTo>
                    <a:pt x="782008" y="1402335"/>
                    <a:pt x="431308" y="1568424"/>
                    <a:pt x="277854" y="1439928"/>
                  </a:cubicBezTo>
                  <a:cubicBezTo>
                    <a:pt x="124399" y="1311432"/>
                    <a:pt x="226300" y="937010"/>
                    <a:pt x="505455" y="603633"/>
                  </a:cubicBezTo>
                  <a:cubicBezTo>
                    <a:pt x="784610" y="270256"/>
                    <a:pt x="1135309" y="104167"/>
                    <a:pt x="1288764" y="232662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D524A24-189A-CAD1-2DA2-664BE1ED3DE2}"/>
                </a:ext>
              </a:extLst>
            </p:cNvPr>
            <p:cNvSpPr/>
            <p:nvPr/>
          </p:nvSpPr>
          <p:spPr>
            <a:xfrm rot="12719834">
              <a:off x="-885098" y="-1134615"/>
              <a:ext cx="6942072" cy="9134741"/>
            </a:xfrm>
            <a:custGeom>
              <a:avLst/>
              <a:gdLst>
                <a:gd name="connsiteX0" fmla="*/ 1268500 w 1557337"/>
                <a:gd name="connsiteY0" fmla="*/ 224088 h 1728787"/>
                <a:gd name="connsiteX1" fmla="*/ 1076537 w 1557337"/>
                <a:gd name="connsiteY1" fmla="*/ 1088742 h 1728787"/>
                <a:gd name="connsiteX2" fmla="*/ 294858 w 1557337"/>
                <a:gd name="connsiteY2" fmla="*/ 1505220 h 1728787"/>
                <a:gd name="connsiteX3" fmla="*/ 486821 w 1557337"/>
                <a:gd name="connsiteY3" fmla="*/ 640566 h 1728787"/>
                <a:gd name="connsiteX4" fmla="*/ 1268500 w 1557337"/>
                <a:gd name="connsiteY4" fmla="*/ 224088 h 17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7337" h="1728787">
                  <a:moveTo>
                    <a:pt x="1268500" y="224088"/>
                  </a:moveTo>
                  <a:cubicBezTo>
                    <a:pt x="1431346" y="347848"/>
                    <a:pt x="1345401" y="734967"/>
                    <a:pt x="1076537" y="1088742"/>
                  </a:cubicBezTo>
                  <a:cubicBezTo>
                    <a:pt x="807674" y="1442517"/>
                    <a:pt x="457704" y="1628980"/>
                    <a:pt x="294858" y="1505220"/>
                  </a:cubicBezTo>
                  <a:cubicBezTo>
                    <a:pt x="132013" y="1381460"/>
                    <a:pt x="217957" y="994341"/>
                    <a:pt x="486821" y="640566"/>
                  </a:cubicBezTo>
                  <a:cubicBezTo>
                    <a:pt x="755684" y="286791"/>
                    <a:pt x="1105654" y="100328"/>
                    <a:pt x="1268500" y="22408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D2823F2-05CA-0731-0E03-DD7549F42960}"/>
                </a:ext>
              </a:extLst>
            </p:cNvPr>
            <p:cNvSpPr/>
            <p:nvPr/>
          </p:nvSpPr>
          <p:spPr>
            <a:xfrm rot="12719834">
              <a:off x="-875996" y="-1192468"/>
              <a:ext cx="6942072" cy="9398967"/>
            </a:xfrm>
            <a:custGeom>
              <a:avLst/>
              <a:gdLst>
                <a:gd name="connsiteX0" fmla="*/ 1248117 w 1557337"/>
                <a:gd name="connsiteY0" fmla="*/ 215488 h 1778793"/>
                <a:gd name="connsiteX1" fmla="*/ 1091822 w 1557337"/>
                <a:gd name="connsiteY1" fmla="*/ 1108437 h 1778793"/>
                <a:gd name="connsiteX2" fmla="*/ 311842 w 1557337"/>
                <a:gd name="connsiteY2" fmla="*/ 1570410 h 1778793"/>
                <a:gd name="connsiteX3" fmla="*/ 468137 w 1557337"/>
                <a:gd name="connsiteY3" fmla="*/ 677461 h 1778793"/>
                <a:gd name="connsiteX4" fmla="*/ 1248117 w 1557337"/>
                <a:gd name="connsiteY4" fmla="*/ 215488 h 1778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7337" h="1778793">
                  <a:moveTo>
                    <a:pt x="1248117" y="215488"/>
                  </a:moveTo>
                  <a:cubicBezTo>
                    <a:pt x="1420342" y="334499"/>
                    <a:pt x="1350367" y="734286"/>
                    <a:pt x="1091822" y="1108437"/>
                  </a:cubicBezTo>
                  <a:cubicBezTo>
                    <a:pt x="833277" y="1482589"/>
                    <a:pt x="484068" y="1689421"/>
                    <a:pt x="311842" y="1570410"/>
                  </a:cubicBezTo>
                  <a:cubicBezTo>
                    <a:pt x="139617" y="1451399"/>
                    <a:pt x="209592" y="1051612"/>
                    <a:pt x="468137" y="677461"/>
                  </a:cubicBezTo>
                  <a:cubicBezTo>
                    <a:pt x="726682" y="303309"/>
                    <a:pt x="1075891" y="96477"/>
                    <a:pt x="1248117" y="21548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7F2CBE4-4771-E88E-91B5-BB7F447F3D1D}"/>
                </a:ext>
              </a:extLst>
            </p:cNvPr>
            <p:cNvSpPr/>
            <p:nvPr/>
          </p:nvSpPr>
          <p:spPr>
            <a:xfrm rot="12719834">
              <a:off x="-827695" y="-1277307"/>
              <a:ext cx="6910227" cy="9700942"/>
            </a:xfrm>
            <a:custGeom>
              <a:avLst/>
              <a:gdLst>
                <a:gd name="connsiteX0" fmla="*/ 1227627 w 1550193"/>
                <a:gd name="connsiteY0" fmla="*/ 206864 h 1835943"/>
                <a:gd name="connsiteX1" fmla="*/ 1107024 w 1550193"/>
                <a:gd name="connsiteY1" fmla="*/ 1128058 h 1835943"/>
                <a:gd name="connsiteX2" fmla="*/ 328807 w 1550193"/>
                <a:gd name="connsiteY2" fmla="*/ 1635524 h 1835943"/>
                <a:gd name="connsiteX3" fmla="*/ 449410 w 1550193"/>
                <a:gd name="connsiteY3" fmla="*/ 714330 h 1835943"/>
                <a:gd name="connsiteX4" fmla="*/ 1227627 w 1550193"/>
                <a:gd name="connsiteY4" fmla="*/ 206864 h 1835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3" h="1835943">
                  <a:moveTo>
                    <a:pt x="1227627" y="206864"/>
                  </a:moveTo>
                  <a:cubicBezTo>
                    <a:pt x="1409223" y="321112"/>
                    <a:pt x="1355227" y="733545"/>
                    <a:pt x="1107024" y="1128058"/>
                  </a:cubicBezTo>
                  <a:cubicBezTo>
                    <a:pt x="858822" y="1522572"/>
                    <a:pt x="510402" y="1749772"/>
                    <a:pt x="328807" y="1635524"/>
                  </a:cubicBezTo>
                  <a:cubicBezTo>
                    <a:pt x="147212" y="1521276"/>
                    <a:pt x="201208" y="1108844"/>
                    <a:pt x="449410" y="714330"/>
                  </a:cubicBezTo>
                  <a:cubicBezTo>
                    <a:pt x="697613" y="319816"/>
                    <a:pt x="1046032" y="92616"/>
                    <a:pt x="1227627" y="20686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8BAB81F-7332-2381-D9F7-873AF54864A7}"/>
              </a:ext>
            </a:extLst>
          </p:cNvPr>
          <p:cNvGrpSpPr/>
          <p:nvPr userDrawn="1"/>
        </p:nvGrpSpPr>
        <p:grpSpPr>
          <a:xfrm rot="12719834" flipH="1" flipV="1">
            <a:off x="7034123" y="-317736"/>
            <a:ext cx="7958849" cy="6416967"/>
            <a:chOff x="-4827378" y="2019376"/>
            <a:chExt cx="1785435" cy="1214438"/>
          </a:xfrm>
        </p:grpSpPr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6476732A-CDF1-88B3-D733-EC3A8D1D0DA2}"/>
                </a:ext>
              </a:extLst>
            </p:cNvPr>
            <p:cNvSpPr/>
            <p:nvPr/>
          </p:nvSpPr>
          <p:spPr>
            <a:xfrm>
              <a:off x="-4777874" y="2257838"/>
              <a:ext cx="1735931" cy="892969"/>
            </a:xfrm>
            <a:custGeom>
              <a:avLst/>
              <a:gdLst>
                <a:gd name="connsiteX0" fmla="*/ 897594 w 1735931"/>
                <a:gd name="connsiteY0" fmla="*/ 60834 h 892968"/>
                <a:gd name="connsiteX1" fmla="*/ 1711129 w 1735931"/>
                <a:gd name="connsiteY1" fmla="*/ 509278 h 892968"/>
                <a:gd name="connsiteX2" fmla="*/ 841555 w 1735931"/>
                <a:gd name="connsiteY2" fmla="*/ 836053 h 892968"/>
                <a:gd name="connsiteX3" fmla="*/ 28020 w 1735931"/>
                <a:gd name="connsiteY3" fmla="*/ 387610 h 892968"/>
                <a:gd name="connsiteX4" fmla="*/ 897594 w 1735931"/>
                <a:gd name="connsiteY4" fmla="*/ 60834 h 89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5931" h="892968">
                  <a:moveTo>
                    <a:pt x="897594" y="60834"/>
                  </a:moveTo>
                  <a:cubicBezTo>
                    <a:pt x="1362372" y="94432"/>
                    <a:pt x="1726604" y="295207"/>
                    <a:pt x="1711129" y="509278"/>
                  </a:cubicBezTo>
                  <a:cubicBezTo>
                    <a:pt x="1695654" y="723349"/>
                    <a:pt x="1306333" y="869651"/>
                    <a:pt x="841555" y="836053"/>
                  </a:cubicBezTo>
                  <a:cubicBezTo>
                    <a:pt x="376777" y="802456"/>
                    <a:pt x="12545" y="601680"/>
                    <a:pt x="28020" y="387610"/>
                  </a:cubicBezTo>
                  <a:cubicBezTo>
                    <a:pt x="43494" y="173539"/>
                    <a:pt x="432816" y="27236"/>
                    <a:pt x="897594" y="6083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7" name="Freeform: Shape 1056">
              <a:extLst>
                <a:ext uri="{FF2B5EF4-FFF2-40B4-BE49-F238E27FC236}">
                  <a16:creationId xmlns:a16="http://schemas.microsoft.com/office/drawing/2014/main" id="{AC649FFA-15AF-3348-0443-4BE5362B539D}"/>
                </a:ext>
              </a:extLst>
            </p:cNvPr>
            <p:cNvSpPr/>
            <p:nvPr/>
          </p:nvSpPr>
          <p:spPr>
            <a:xfrm>
              <a:off x="-4754405" y="2295675"/>
              <a:ext cx="1664494" cy="800100"/>
            </a:xfrm>
            <a:custGeom>
              <a:avLst/>
              <a:gdLst>
                <a:gd name="connsiteX0" fmla="*/ 844905 w 1664493"/>
                <a:gd name="connsiteY0" fmla="*/ 23874 h 800100"/>
                <a:gd name="connsiteX1" fmla="*/ 1656828 w 1664493"/>
                <a:gd name="connsiteY1" fmla="*/ 426715 h 800100"/>
                <a:gd name="connsiteX2" fmla="*/ 822917 w 1664493"/>
                <a:gd name="connsiteY2" fmla="*/ 781808 h 800100"/>
                <a:gd name="connsiteX3" fmla="*/ 10994 w 1664493"/>
                <a:gd name="connsiteY3" fmla="*/ 378967 h 800100"/>
                <a:gd name="connsiteX4" fmla="*/ 844905 w 1664493"/>
                <a:gd name="connsiteY4" fmla="*/ 23874 h 8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4493" h="800100">
                  <a:moveTo>
                    <a:pt x="844905" y="23874"/>
                  </a:moveTo>
                  <a:cubicBezTo>
                    <a:pt x="1299390" y="37059"/>
                    <a:pt x="1662900" y="217418"/>
                    <a:pt x="1656828" y="426715"/>
                  </a:cubicBezTo>
                  <a:cubicBezTo>
                    <a:pt x="1650756" y="636013"/>
                    <a:pt x="1277401" y="794994"/>
                    <a:pt x="822917" y="781808"/>
                  </a:cubicBezTo>
                  <a:cubicBezTo>
                    <a:pt x="368432" y="768623"/>
                    <a:pt x="4922" y="588265"/>
                    <a:pt x="10994" y="378967"/>
                  </a:cubicBezTo>
                  <a:cubicBezTo>
                    <a:pt x="17067" y="169669"/>
                    <a:pt x="390421" y="10689"/>
                    <a:pt x="844905" y="2387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8" name="Freeform: Shape 1057">
              <a:extLst>
                <a:ext uri="{FF2B5EF4-FFF2-40B4-BE49-F238E27FC236}">
                  <a16:creationId xmlns:a16="http://schemas.microsoft.com/office/drawing/2014/main" id="{77F8F7DD-C6F7-B3DD-259F-E4F7EC2B82B5}"/>
                </a:ext>
              </a:extLst>
            </p:cNvPr>
            <p:cNvSpPr/>
            <p:nvPr/>
          </p:nvSpPr>
          <p:spPr>
            <a:xfrm>
              <a:off x="-4743007" y="2307477"/>
              <a:ext cx="1614488" cy="764381"/>
            </a:xfrm>
            <a:custGeom>
              <a:avLst/>
              <a:gdLst>
                <a:gd name="connsiteX0" fmla="*/ 1614612 w 1614487"/>
                <a:gd name="connsiteY0" fmla="*/ 370366 h 764381"/>
                <a:gd name="connsiteX1" fmla="*/ 816307 w 1614487"/>
                <a:gd name="connsiteY1" fmla="*/ 753764 h 764381"/>
                <a:gd name="connsiteX2" fmla="*/ 6001 w 1614487"/>
                <a:gd name="connsiteY2" fmla="*/ 396429 h 764381"/>
                <a:gd name="connsiteX3" fmla="*/ 804306 w 1614487"/>
                <a:gd name="connsiteY3" fmla="*/ 13031 h 764381"/>
                <a:gd name="connsiteX4" fmla="*/ 1614612 w 1614487"/>
                <a:gd name="connsiteY4" fmla="*/ 370366 h 76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4487" h="764381">
                  <a:moveTo>
                    <a:pt x="1614612" y="370366"/>
                  </a:moveTo>
                  <a:cubicBezTo>
                    <a:pt x="1617926" y="574914"/>
                    <a:pt x="1260513" y="746567"/>
                    <a:pt x="816307" y="753764"/>
                  </a:cubicBezTo>
                  <a:cubicBezTo>
                    <a:pt x="372101" y="760961"/>
                    <a:pt x="9315" y="600976"/>
                    <a:pt x="6001" y="396429"/>
                  </a:cubicBezTo>
                  <a:cubicBezTo>
                    <a:pt x="2687" y="191881"/>
                    <a:pt x="360100" y="20228"/>
                    <a:pt x="804306" y="13031"/>
                  </a:cubicBezTo>
                  <a:cubicBezTo>
                    <a:pt x="1248512" y="5834"/>
                    <a:pt x="1611298" y="165819"/>
                    <a:pt x="1614612" y="370366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E0054EFC-3394-2A82-8010-F0CB3BA2C744}"/>
                </a:ext>
              </a:extLst>
            </p:cNvPr>
            <p:cNvSpPr/>
            <p:nvPr/>
          </p:nvSpPr>
          <p:spPr>
            <a:xfrm>
              <a:off x="-4753560" y="2271461"/>
              <a:ext cx="1614488" cy="821531"/>
            </a:xfrm>
            <a:custGeom>
              <a:avLst/>
              <a:gdLst>
                <a:gd name="connsiteX0" fmla="*/ 1594177 w 1614487"/>
                <a:gd name="connsiteY0" fmla="*/ 361820 h 821531"/>
                <a:gd name="connsiteX1" fmla="*/ 831566 w 1614487"/>
                <a:gd name="connsiteY1" fmla="*/ 773547 h 821531"/>
                <a:gd name="connsiteX2" fmla="*/ 22985 w 1614487"/>
                <a:gd name="connsiteY2" fmla="*/ 461633 h 821531"/>
                <a:gd name="connsiteX3" fmla="*/ 785596 w 1614487"/>
                <a:gd name="connsiteY3" fmla="*/ 49907 h 821531"/>
                <a:gd name="connsiteX4" fmla="*/ 1594177 w 1614487"/>
                <a:gd name="connsiteY4" fmla="*/ 361820 h 821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4487" h="821531">
                  <a:moveTo>
                    <a:pt x="1594177" y="361820"/>
                  </a:moveTo>
                  <a:cubicBezTo>
                    <a:pt x="1606871" y="561648"/>
                    <a:pt x="1265439" y="745984"/>
                    <a:pt x="831566" y="773547"/>
                  </a:cubicBezTo>
                  <a:cubicBezTo>
                    <a:pt x="397694" y="801110"/>
                    <a:pt x="35680" y="661461"/>
                    <a:pt x="22985" y="461633"/>
                  </a:cubicBezTo>
                  <a:cubicBezTo>
                    <a:pt x="10291" y="261806"/>
                    <a:pt x="351723" y="77469"/>
                    <a:pt x="785596" y="49907"/>
                  </a:cubicBezTo>
                  <a:cubicBezTo>
                    <a:pt x="1219468" y="22344"/>
                    <a:pt x="1581482" y="161992"/>
                    <a:pt x="1594177" y="361820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2C968A61-CA01-5766-57A1-6F38CC9696DD}"/>
                </a:ext>
              </a:extLst>
            </p:cNvPr>
            <p:cNvSpPr/>
            <p:nvPr/>
          </p:nvSpPr>
          <p:spPr>
            <a:xfrm>
              <a:off x="-4764106" y="2235387"/>
              <a:ext cx="1607344" cy="878681"/>
            </a:xfrm>
            <a:custGeom>
              <a:avLst/>
              <a:gdLst>
                <a:gd name="connsiteX0" fmla="*/ 1573733 w 1607343"/>
                <a:gd name="connsiteY0" fmla="*/ 353198 h 878681"/>
                <a:gd name="connsiteX1" fmla="*/ 846853 w 1607343"/>
                <a:gd name="connsiteY1" fmla="*/ 793225 h 878681"/>
                <a:gd name="connsiteX2" fmla="*/ 39991 w 1607343"/>
                <a:gd name="connsiteY2" fmla="*/ 526855 h 878681"/>
                <a:gd name="connsiteX3" fmla="*/ 766871 w 1607343"/>
                <a:gd name="connsiteY3" fmla="*/ 86829 h 878681"/>
                <a:gd name="connsiteX4" fmla="*/ 1573733 w 1607343"/>
                <a:gd name="connsiteY4" fmla="*/ 353198 h 87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343" h="878681">
                  <a:moveTo>
                    <a:pt x="1573733" y="353198"/>
                  </a:moveTo>
                  <a:cubicBezTo>
                    <a:pt x="1595820" y="548264"/>
                    <a:pt x="1270384" y="745271"/>
                    <a:pt x="846853" y="793225"/>
                  </a:cubicBezTo>
                  <a:cubicBezTo>
                    <a:pt x="423321" y="841179"/>
                    <a:pt x="62077" y="721921"/>
                    <a:pt x="39991" y="526855"/>
                  </a:cubicBezTo>
                  <a:cubicBezTo>
                    <a:pt x="17904" y="331790"/>
                    <a:pt x="343340" y="134783"/>
                    <a:pt x="766871" y="86829"/>
                  </a:cubicBezTo>
                  <a:cubicBezTo>
                    <a:pt x="1190403" y="38875"/>
                    <a:pt x="1551647" y="158132"/>
                    <a:pt x="1573733" y="35319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4397680E-5590-AFCB-53D6-4BAFB434042B}"/>
                </a:ext>
              </a:extLst>
            </p:cNvPr>
            <p:cNvSpPr/>
            <p:nvPr/>
          </p:nvSpPr>
          <p:spPr>
            <a:xfrm>
              <a:off x="-4774598" y="2199446"/>
              <a:ext cx="1607344" cy="935831"/>
            </a:xfrm>
            <a:custGeom>
              <a:avLst/>
              <a:gdLst>
                <a:gd name="connsiteX0" fmla="*/ 1553436 w 1607343"/>
                <a:gd name="connsiteY0" fmla="*/ 344578 h 935831"/>
                <a:gd name="connsiteX1" fmla="*/ 862216 w 1607343"/>
                <a:gd name="connsiteY1" fmla="*/ 812923 h 935831"/>
                <a:gd name="connsiteX2" fmla="*/ 56999 w 1607343"/>
                <a:gd name="connsiteY2" fmla="*/ 592113 h 935831"/>
                <a:gd name="connsiteX3" fmla="*/ 748218 w 1607343"/>
                <a:gd name="connsiteY3" fmla="*/ 123768 h 935831"/>
                <a:gd name="connsiteX4" fmla="*/ 1553436 w 1607343"/>
                <a:gd name="connsiteY4" fmla="*/ 344578 h 935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343" h="935831">
                  <a:moveTo>
                    <a:pt x="1553436" y="344578"/>
                  </a:moveTo>
                  <a:cubicBezTo>
                    <a:pt x="1584915" y="534883"/>
                    <a:pt x="1275446" y="744568"/>
                    <a:pt x="862216" y="812923"/>
                  </a:cubicBezTo>
                  <a:cubicBezTo>
                    <a:pt x="448987" y="881278"/>
                    <a:pt x="88479" y="782418"/>
                    <a:pt x="56999" y="592113"/>
                  </a:cubicBezTo>
                  <a:cubicBezTo>
                    <a:pt x="25519" y="401808"/>
                    <a:pt x="334989" y="192123"/>
                    <a:pt x="748218" y="123768"/>
                  </a:cubicBezTo>
                  <a:cubicBezTo>
                    <a:pt x="1161448" y="55413"/>
                    <a:pt x="1521956" y="154273"/>
                    <a:pt x="1553436" y="34457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E3715307-43BF-3B7A-0725-69FE8138A8FD}"/>
                </a:ext>
              </a:extLst>
            </p:cNvPr>
            <p:cNvSpPr/>
            <p:nvPr/>
          </p:nvSpPr>
          <p:spPr>
            <a:xfrm>
              <a:off x="-4785143" y="2163398"/>
              <a:ext cx="1600200" cy="992981"/>
            </a:xfrm>
            <a:custGeom>
              <a:avLst/>
              <a:gdLst>
                <a:gd name="connsiteX0" fmla="*/ 1533087 w 1600200"/>
                <a:gd name="connsiteY0" fmla="*/ 335992 h 992981"/>
                <a:gd name="connsiteX1" fmla="*/ 877549 w 1600200"/>
                <a:gd name="connsiteY1" fmla="*/ 832669 h 992981"/>
                <a:gd name="connsiteX2" fmla="*/ 74004 w 1600200"/>
                <a:gd name="connsiteY2" fmla="*/ 657361 h 992981"/>
                <a:gd name="connsiteX3" fmla="*/ 729542 w 1600200"/>
                <a:gd name="connsiteY3" fmla="*/ 160684 h 992981"/>
                <a:gd name="connsiteX4" fmla="*/ 1533087 w 1600200"/>
                <a:gd name="connsiteY4" fmla="*/ 335992 h 99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992981">
                  <a:moveTo>
                    <a:pt x="1533087" y="335992"/>
                  </a:moveTo>
                  <a:cubicBezTo>
                    <a:pt x="1573958" y="521556"/>
                    <a:pt x="1280464" y="743926"/>
                    <a:pt x="877549" y="832669"/>
                  </a:cubicBezTo>
                  <a:cubicBezTo>
                    <a:pt x="474634" y="921413"/>
                    <a:pt x="114875" y="842925"/>
                    <a:pt x="74004" y="657361"/>
                  </a:cubicBezTo>
                  <a:cubicBezTo>
                    <a:pt x="33133" y="471798"/>
                    <a:pt x="326627" y="249428"/>
                    <a:pt x="729542" y="160684"/>
                  </a:cubicBezTo>
                  <a:cubicBezTo>
                    <a:pt x="1132457" y="71941"/>
                    <a:pt x="1492216" y="150429"/>
                    <a:pt x="1533087" y="335992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2948DA9A-D63A-D8F3-EFA8-C1F8D80B176B}"/>
                </a:ext>
              </a:extLst>
            </p:cNvPr>
            <p:cNvSpPr/>
            <p:nvPr/>
          </p:nvSpPr>
          <p:spPr>
            <a:xfrm>
              <a:off x="-4795681" y="2127450"/>
              <a:ext cx="1600200" cy="1042988"/>
            </a:xfrm>
            <a:custGeom>
              <a:avLst/>
              <a:gdLst>
                <a:gd name="connsiteX0" fmla="*/ 1512740 w 1600200"/>
                <a:gd name="connsiteY0" fmla="*/ 327356 h 1042987"/>
                <a:gd name="connsiteX1" fmla="*/ 892850 w 1600200"/>
                <a:gd name="connsiteY1" fmla="*/ 852296 h 1042987"/>
                <a:gd name="connsiteX2" fmla="*/ 90987 w 1600200"/>
                <a:gd name="connsiteY2" fmla="*/ 722525 h 1042987"/>
                <a:gd name="connsiteX3" fmla="*/ 710877 w 1600200"/>
                <a:gd name="connsiteY3" fmla="*/ 197585 h 1042987"/>
                <a:gd name="connsiteX4" fmla="*/ 1512740 w 1600200"/>
                <a:gd name="connsiteY4" fmla="*/ 327356 h 104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1042987">
                  <a:moveTo>
                    <a:pt x="1512740" y="327356"/>
                  </a:moveTo>
                  <a:cubicBezTo>
                    <a:pt x="1562991" y="508149"/>
                    <a:pt x="1285457" y="743173"/>
                    <a:pt x="892850" y="852296"/>
                  </a:cubicBezTo>
                  <a:cubicBezTo>
                    <a:pt x="500244" y="961419"/>
                    <a:pt x="141238" y="903318"/>
                    <a:pt x="90987" y="722525"/>
                  </a:cubicBezTo>
                  <a:cubicBezTo>
                    <a:pt x="40736" y="541731"/>
                    <a:pt x="318270" y="306708"/>
                    <a:pt x="710877" y="197585"/>
                  </a:cubicBezTo>
                  <a:cubicBezTo>
                    <a:pt x="1103483" y="88462"/>
                    <a:pt x="1462490" y="146562"/>
                    <a:pt x="1512740" y="327356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502F26D5-90BB-2EF9-5256-D348BABDBE35}"/>
                </a:ext>
              </a:extLst>
            </p:cNvPr>
            <p:cNvSpPr/>
            <p:nvPr/>
          </p:nvSpPr>
          <p:spPr>
            <a:xfrm>
              <a:off x="-4806260" y="2091330"/>
              <a:ext cx="1600200" cy="1100138"/>
            </a:xfrm>
            <a:custGeom>
              <a:avLst/>
              <a:gdLst>
                <a:gd name="connsiteX0" fmla="*/ 1492424 w 1600200"/>
                <a:gd name="connsiteY0" fmla="*/ 318739 h 1100137"/>
                <a:gd name="connsiteX1" fmla="*/ 908206 w 1600200"/>
                <a:gd name="connsiteY1" fmla="*/ 872016 h 1100137"/>
                <a:gd name="connsiteX2" fmla="*/ 107996 w 1600200"/>
                <a:gd name="connsiteY2" fmla="*/ 787816 h 1100137"/>
                <a:gd name="connsiteX3" fmla="*/ 692214 w 1600200"/>
                <a:gd name="connsiteY3" fmla="*/ 234538 h 1100137"/>
                <a:gd name="connsiteX4" fmla="*/ 1492424 w 1600200"/>
                <a:gd name="connsiteY4" fmla="*/ 318739 h 110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1100137">
                  <a:moveTo>
                    <a:pt x="1492424" y="318739"/>
                  </a:moveTo>
                  <a:cubicBezTo>
                    <a:pt x="1552069" y="494774"/>
                    <a:pt x="1290506" y="742484"/>
                    <a:pt x="908206" y="872016"/>
                  </a:cubicBezTo>
                  <a:cubicBezTo>
                    <a:pt x="525907" y="1001548"/>
                    <a:pt x="167641" y="963851"/>
                    <a:pt x="107996" y="787816"/>
                  </a:cubicBezTo>
                  <a:cubicBezTo>
                    <a:pt x="48352" y="611781"/>
                    <a:pt x="309915" y="364070"/>
                    <a:pt x="692214" y="234538"/>
                  </a:cubicBezTo>
                  <a:cubicBezTo>
                    <a:pt x="1074513" y="105006"/>
                    <a:pt x="1432779" y="142704"/>
                    <a:pt x="1492424" y="31873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CF94FF0A-332F-97BD-E1C2-D1084DEBD282}"/>
                </a:ext>
              </a:extLst>
            </p:cNvPr>
            <p:cNvSpPr/>
            <p:nvPr/>
          </p:nvSpPr>
          <p:spPr>
            <a:xfrm>
              <a:off x="-4816830" y="2055397"/>
              <a:ext cx="1593056" cy="1157288"/>
            </a:xfrm>
            <a:custGeom>
              <a:avLst/>
              <a:gdLst>
                <a:gd name="connsiteX0" fmla="*/ 1472029 w 1593056"/>
                <a:gd name="connsiteY0" fmla="*/ 310155 h 1157287"/>
                <a:gd name="connsiteX1" fmla="*/ 923512 w 1593056"/>
                <a:gd name="connsiteY1" fmla="*/ 891749 h 1157287"/>
                <a:gd name="connsiteX2" fmla="*/ 124998 w 1593056"/>
                <a:gd name="connsiteY2" fmla="*/ 853034 h 1157287"/>
                <a:gd name="connsiteX3" fmla="*/ 673516 w 1593056"/>
                <a:gd name="connsiteY3" fmla="*/ 271439 h 1157287"/>
                <a:gd name="connsiteX4" fmla="*/ 1472029 w 1593056"/>
                <a:gd name="connsiteY4" fmla="*/ 310155 h 1157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056" h="1157287">
                  <a:moveTo>
                    <a:pt x="1472029" y="310155"/>
                  </a:moveTo>
                  <a:cubicBezTo>
                    <a:pt x="1541064" y="481449"/>
                    <a:pt x="1295485" y="741838"/>
                    <a:pt x="923512" y="891749"/>
                  </a:cubicBezTo>
                  <a:cubicBezTo>
                    <a:pt x="551540" y="1041661"/>
                    <a:pt x="194033" y="1024328"/>
                    <a:pt x="124998" y="853034"/>
                  </a:cubicBezTo>
                  <a:cubicBezTo>
                    <a:pt x="55964" y="681740"/>
                    <a:pt x="301543" y="421351"/>
                    <a:pt x="673516" y="271439"/>
                  </a:cubicBezTo>
                  <a:cubicBezTo>
                    <a:pt x="1045488" y="121528"/>
                    <a:pt x="1402995" y="138861"/>
                    <a:pt x="1472029" y="310155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0B7A706C-59A5-0866-C377-8A02CB075E9A}"/>
                </a:ext>
              </a:extLst>
            </p:cNvPr>
            <p:cNvSpPr/>
            <p:nvPr/>
          </p:nvSpPr>
          <p:spPr>
            <a:xfrm>
              <a:off x="-4827378" y="2019376"/>
              <a:ext cx="1593056" cy="1214438"/>
            </a:xfrm>
            <a:custGeom>
              <a:avLst/>
              <a:gdLst>
                <a:gd name="connsiteX0" fmla="*/ 1451650 w 1593056"/>
                <a:gd name="connsiteY0" fmla="*/ 301561 h 1214437"/>
                <a:gd name="connsiteX1" fmla="*/ 938821 w 1593056"/>
                <a:gd name="connsiteY1" fmla="*/ 911463 h 1214437"/>
                <a:gd name="connsiteX2" fmla="*/ 141997 w 1593056"/>
                <a:gd name="connsiteY2" fmla="*/ 918243 h 1214437"/>
                <a:gd name="connsiteX3" fmla="*/ 654826 w 1593056"/>
                <a:gd name="connsiteY3" fmla="*/ 308341 h 1214437"/>
                <a:gd name="connsiteX4" fmla="*/ 1451650 w 1593056"/>
                <a:gd name="connsiteY4" fmla="*/ 301561 h 1214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056" h="1214437">
                  <a:moveTo>
                    <a:pt x="1451650" y="301561"/>
                  </a:moveTo>
                  <a:cubicBezTo>
                    <a:pt x="1530073" y="468109"/>
                    <a:pt x="1300472" y="741171"/>
                    <a:pt x="938821" y="911463"/>
                  </a:cubicBezTo>
                  <a:cubicBezTo>
                    <a:pt x="577171" y="1081755"/>
                    <a:pt x="220421" y="1084791"/>
                    <a:pt x="141997" y="918243"/>
                  </a:cubicBezTo>
                  <a:cubicBezTo>
                    <a:pt x="63574" y="751695"/>
                    <a:pt x="293176" y="478633"/>
                    <a:pt x="654826" y="308341"/>
                  </a:cubicBezTo>
                  <a:cubicBezTo>
                    <a:pt x="1016477" y="138049"/>
                    <a:pt x="1373227" y="135014"/>
                    <a:pt x="1451650" y="301561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76" name="Google Shape;1076;p28"/>
          <p:cNvSpPr txBox="1">
            <a:spLocks noGrp="1"/>
          </p:cNvSpPr>
          <p:nvPr userDrawn="1"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 userDrawn="1"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35428426-A54F-0701-399F-9654EA3627BA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489584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0" presetClass="path" presetSubtype="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10872 0.00208 L 8.33333E-7 7.40741E-7 " pathEditMode="relative" rAng="0" ptsTypes="AA">
                                      <p:cBhvr>
                                        <p:cTn id="9" dur="3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443" y="-11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0" presetClass="path" presetSubtype="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12279 -0.00023 L 4.79167E-6 2.22222E-6 " pathEditMode="relative" rAng="0" ptsTypes="AA">
                                      <p:cBhvr>
                                        <p:cTn id="14" dur="3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3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 type="blank">
  <p:cSld name="1_Blank">
    <p:bg>
      <p:bgPr>
        <a:solidFill>
          <a:srgbClr val="CE285E"/>
        </a:solidFill>
        <a:effectLst/>
      </p:bgPr>
    </p:bg>
    <p:spTree>
      <p:nvGrpSpPr>
        <p:cNvPr id="1" name="Shape 29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4" name="Google Shape;2924;p33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25" name="Google Shape;2925;p33"/>
          <p:cNvSpPr/>
          <p:nvPr/>
        </p:nvSpPr>
        <p:spPr>
          <a:xfrm>
            <a:off x="5030710" y="6492240"/>
            <a:ext cx="2130582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/>
          </a:p>
        </p:txBody>
      </p:sp>
      <p:grpSp>
        <p:nvGrpSpPr>
          <p:cNvPr id="2926" name="Google Shape;2926;p33"/>
          <p:cNvGrpSpPr/>
          <p:nvPr/>
        </p:nvGrpSpPr>
        <p:grpSpPr>
          <a:xfrm>
            <a:off x="294867" y="218164"/>
            <a:ext cx="495697" cy="485115"/>
            <a:chOff x="602685" y="435448"/>
            <a:chExt cx="495697" cy="485115"/>
          </a:xfrm>
        </p:grpSpPr>
        <p:sp>
          <p:nvSpPr>
            <p:cNvPr id="2927" name="Google Shape;2927;p33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28" name="Google Shape;2928;p33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29" name="Google Shape;2929;p33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30" name="Google Shape;2930;p33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31" name="Google Shape;2931;p33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2932" name="Google Shape;2932;p33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pic>
        <p:nvPicPr>
          <p:cNvPr id="2933" name="Google Shape;2933;p33"/>
          <p:cNvPicPr preferRelativeResize="0"/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780494"/>
            <a:ext cx="6096000" cy="5295900"/>
          </a:xfrm>
          <a:prstGeom prst="rect">
            <a:avLst/>
          </a:prstGeom>
          <a:noFill/>
          <a:ln w="127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pic>
    </p:spTree>
    <p:extLst>
      <p:ext uri="{BB962C8B-B14F-4D97-AF65-F5344CB8AC3E}">
        <p14:creationId xmlns:p14="http://schemas.microsoft.com/office/powerpoint/2010/main" val="9561029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4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6EE260-78C4-3C98-2DA7-BEDD36C93E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5726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6EE260-78C4-3C98-2DA7-BEDD36C93E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73" name="Google Shape;1073;p28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074" name="Google Shape;1074;p2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75" name="Google Shape;1075;p28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9768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5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BF4C7BC7-DA8E-7A0A-D05B-92F78A49E80B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5538578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5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Rounded Rectangle 81">
            <a:extLst>
              <a:ext uri="{FF2B5EF4-FFF2-40B4-BE49-F238E27FC236}">
                <a16:creationId xmlns:a16="http://schemas.microsoft.com/office/drawing/2014/main" id="{199DB5BB-AB5C-8039-13F9-1E64F13016F7}"/>
              </a:ext>
            </a:extLst>
          </p:cNvPr>
          <p:cNvSpPr/>
          <p:nvPr userDrawn="1"/>
        </p:nvSpPr>
        <p:spPr>
          <a:xfrm>
            <a:off x="571499" y="1365250"/>
            <a:ext cx="3352802" cy="4730444"/>
          </a:xfrm>
          <a:prstGeom prst="roundRect">
            <a:avLst>
              <a:gd name="adj" fmla="val 6785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050">
              <a:latin typeface="Century Gothic" panose="020B0502020202020204" pitchFamily="34" charset="0"/>
            </a:endParaRPr>
          </a:p>
        </p:txBody>
      </p:sp>
      <p:sp>
        <p:nvSpPr>
          <p:cNvPr id="5" name="Rounded Rectangle 81">
            <a:extLst>
              <a:ext uri="{FF2B5EF4-FFF2-40B4-BE49-F238E27FC236}">
                <a16:creationId xmlns:a16="http://schemas.microsoft.com/office/drawing/2014/main" id="{B3D5CE2E-CF92-B9D9-CEE8-AEA41B2FD209}"/>
              </a:ext>
            </a:extLst>
          </p:cNvPr>
          <p:cNvSpPr/>
          <p:nvPr userDrawn="1"/>
        </p:nvSpPr>
        <p:spPr>
          <a:xfrm>
            <a:off x="4419599" y="1365250"/>
            <a:ext cx="3352802" cy="4730444"/>
          </a:xfrm>
          <a:prstGeom prst="roundRect">
            <a:avLst>
              <a:gd name="adj" fmla="val 6785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050">
              <a:latin typeface="Century Gothic" panose="020B0502020202020204" pitchFamily="34" charset="0"/>
            </a:endParaRPr>
          </a:p>
        </p:txBody>
      </p:sp>
      <p:sp>
        <p:nvSpPr>
          <p:cNvPr id="7" name="Rounded Rectangle 81">
            <a:extLst>
              <a:ext uri="{FF2B5EF4-FFF2-40B4-BE49-F238E27FC236}">
                <a16:creationId xmlns:a16="http://schemas.microsoft.com/office/drawing/2014/main" id="{B1507AE9-CF2C-1679-47FB-B70131636C3E}"/>
              </a:ext>
            </a:extLst>
          </p:cNvPr>
          <p:cNvSpPr/>
          <p:nvPr userDrawn="1"/>
        </p:nvSpPr>
        <p:spPr>
          <a:xfrm>
            <a:off x="8267699" y="1365250"/>
            <a:ext cx="3352802" cy="4730444"/>
          </a:xfrm>
          <a:prstGeom prst="roundRect">
            <a:avLst>
              <a:gd name="adj" fmla="val 6785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050">
              <a:latin typeface="Century Gothic" panose="020B0502020202020204" pitchFamily="34" charset="0"/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140F960-55AB-F934-BBDF-1FBFCB36A2E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1499" y="1365250"/>
            <a:ext cx="3352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E84BD6A0-84E1-DA53-BFD2-BE722C5E84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419599" y="1365250"/>
            <a:ext cx="3352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212FEDA-705E-C91A-5555-AF3B6076141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67701" y="1365250"/>
            <a:ext cx="3352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9D139C4-044D-BA63-2384-38DA8F910F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49298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92B6296-3FB5-4866-BDD5-EEA1765F41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97398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C1E5D530-236A-6F52-17B0-816435D4548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45500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67" name="Picture Placeholder 9">
            <a:extLst>
              <a:ext uri="{FF2B5EF4-FFF2-40B4-BE49-F238E27FC236}">
                <a16:creationId xmlns:a16="http://schemas.microsoft.com/office/drawing/2014/main" id="{1817FE76-5DE8-BA2A-8ADD-3E7ED69922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803199" y="2291043"/>
            <a:ext cx="889200" cy="889200"/>
          </a:xfrm>
          <a:prstGeom prst="ellipse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15240" indent="0">
              <a:buNone/>
              <a:defRPr lang="en-US" sz="100" dirty="0">
                <a:solidFill>
                  <a:schemeClr val="accent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 algn="ctr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Font typeface="Arial"/>
            </a:pPr>
            <a:endParaRPr lang="en-US"/>
          </a:p>
        </p:txBody>
      </p:sp>
      <p:sp>
        <p:nvSpPr>
          <p:cNvPr id="1068" name="Picture Placeholder 9">
            <a:extLst>
              <a:ext uri="{FF2B5EF4-FFF2-40B4-BE49-F238E27FC236}">
                <a16:creationId xmlns:a16="http://schemas.microsoft.com/office/drawing/2014/main" id="{CDCCDD54-C92C-6288-E430-89ABE5FEB41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651299" y="2291043"/>
            <a:ext cx="889200" cy="889200"/>
          </a:xfrm>
          <a:prstGeom prst="ellipse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15240" indent="0">
              <a:buNone/>
              <a:defRPr lang="en-US" sz="100">
                <a:solidFill>
                  <a:schemeClr val="accent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 algn="ctr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Font typeface="Arial"/>
            </a:pPr>
            <a:endParaRPr lang="en-US"/>
          </a:p>
        </p:txBody>
      </p:sp>
      <p:sp>
        <p:nvSpPr>
          <p:cNvPr id="1069" name="Picture Placeholder 9">
            <a:extLst>
              <a:ext uri="{FF2B5EF4-FFF2-40B4-BE49-F238E27FC236}">
                <a16:creationId xmlns:a16="http://schemas.microsoft.com/office/drawing/2014/main" id="{3E88C78C-0468-0247-540E-FC20946E6EF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499401" y="2291043"/>
            <a:ext cx="889200" cy="889200"/>
          </a:xfrm>
          <a:prstGeom prst="ellipse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15240" indent="0">
              <a:buNone/>
              <a:defRPr lang="en-US" sz="100">
                <a:solidFill>
                  <a:schemeClr val="accent1"/>
                </a:solidFill>
                <a:latin typeface="+mn-lt"/>
                <a:ea typeface="+mn-ea"/>
                <a:cs typeface="+mn-cs"/>
                <a:sym typeface="Arial"/>
              </a:defRPr>
            </a:lvl1pPr>
          </a:lstStyle>
          <a:p>
            <a:pPr lvl="0" algn="ctr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Font typeface="Arial"/>
            </a:pPr>
            <a:endParaRPr lang="en-US"/>
          </a:p>
        </p:txBody>
      </p:sp>
      <p:sp>
        <p:nvSpPr>
          <p:cNvPr id="8" name="Google Shape;1087;p29">
            <a:extLst>
              <a:ext uri="{FF2B5EF4-FFF2-40B4-BE49-F238E27FC236}">
                <a16:creationId xmlns:a16="http://schemas.microsoft.com/office/drawing/2014/main" id="{AC8C124C-07B1-1C1D-03B0-03A73BE625F3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7256778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5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6">
            <a:extLst>
              <a:ext uri="{FF2B5EF4-FFF2-40B4-BE49-F238E27FC236}">
                <a16:creationId xmlns:a16="http://schemas.microsoft.com/office/drawing/2014/main" id="{29CB6D6A-2CEC-0D24-99AF-E0DA41884F15}"/>
              </a:ext>
            </a:extLst>
          </p:cNvPr>
          <p:cNvSpPr/>
          <p:nvPr userDrawn="1"/>
        </p:nvSpPr>
        <p:spPr>
          <a:xfrm flipH="1">
            <a:off x="0" y="1843750"/>
            <a:ext cx="12192000" cy="3174366"/>
          </a:xfrm>
          <a:prstGeom prst="rect">
            <a:avLst/>
          </a:prstGeom>
          <a:blipFill dpi="0" rotWithShape="1">
            <a:blip r:embed="rId2">
              <a:alphaModFix amt="75000"/>
            </a:blip>
            <a:srcRect/>
            <a:stretch>
              <a:fillRect t="-22080" b="-93964"/>
            </a:stretch>
          </a:blip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9A83A944-FF60-304C-D1BD-F1C5BFF682E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55601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Picture Placeholder 20">
            <a:extLst>
              <a:ext uri="{FF2B5EF4-FFF2-40B4-BE49-F238E27FC236}">
                <a16:creationId xmlns:a16="http://schemas.microsoft.com/office/drawing/2014/main" id="{DF2E9B5C-0F8C-D11B-A73A-A799A081890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1634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Picture Placeholder 20">
            <a:extLst>
              <a:ext uri="{FF2B5EF4-FFF2-40B4-BE49-F238E27FC236}">
                <a16:creationId xmlns:a16="http://schemas.microsoft.com/office/drawing/2014/main" id="{FDB7791B-35C3-EB5B-6E0F-239E7126E4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07667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Picture Placeholder 20">
            <a:extLst>
              <a:ext uri="{FF2B5EF4-FFF2-40B4-BE49-F238E27FC236}">
                <a16:creationId xmlns:a16="http://schemas.microsoft.com/office/drawing/2014/main" id="{0C4D3CEC-3D11-58A2-D1A6-E63E093F000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283700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89E98A5-2D5F-9857-FA5F-471C1215B9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851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D9639330-7193-AE28-2F64-CA53A2DB308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53884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0662FD5-2822-4B58-4DFA-4E301598DC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29917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552D5489-1E2B-CEE3-C6D5-D0F2F77B20A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505949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Google Shape;1087;p29">
            <a:extLst>
              <a:ext uri="{FF2B5EF4-FFF2-40B4-BE49-F238E27FC236}">
                <a16:creationId xmlns:a16="http://schemas.microsoft.com/office/drawing/2014/main" id="{EDA7E7CC-96F5-3624-C75C-8F207D760CE8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8940122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utoRev="1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0" fill="hold"/>
                                        <p:tgtEl>
                                          <p:spTgt spid="4"/>
                                        </p:tgtEl>
                                      </p:cBhvr>
                                      <p:by x="175000" y="17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5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D416A881-ABD6-8A33-6B22-A65186AC7759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2701508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">
  <p:cSld name="3_Title Slide">
    <p:spTree>
      <p:nvGrpSpPr>
        <p:cNvPr id="1" name="Shape 10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1" name="Google Shape;1091;p52"/>
          <p:cNvPicPr preferRelativeResize="0"/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1408" y="607475"/>
            <a:ext cx="2000192" cy="602704"/>
          </a:xfrm>
          <a:prstGeom prst="rect">
            <a:avLst/>
          </a:prstGeom>
          <a:noFill/>
          <a:ln>
            <a:noFill/>
          </a:ln>
        </p:spPr>
      </p:pic>
      <p:sp>
        <p:nvSpPr>
          <p:cNvPr id="1092" name="Google Shape;1092;p52"/>
          <p:cNvSpPr txBox="1">
            <a:spLocks noGrp="1"/>
          </p:cNvSpPr>
          <p:nvPr>
            <p:ph type="ctrTitle"/>
          </p:nvPr>
        </p:nvSpPr>
        <p:spPr>
          <a:xfrm>
            <a:off x="641408" y="2601821"/>
            <a:ext cx="4686899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000"/>
              <a:buFont typeface="Trebuchet MS"/>
              <a:buNone/>
              <a:defRPr sz="4000" b="1">
                <a:solidFill>
                  <a:schemeClr val="accent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3" name="Google Shape;1093;p52"/>
          <p:cNvSpPr txBox="1">
            <a:spLocks noGrp="1"/>
          </p:cNvSpPr>
          <p:nvPr>
            <p:ph type="subTitle" idx="1"/>
          </p:nvPr>
        </p:nvSpPr>
        <p:spPr>
          <a:xfrm>
            <a:off x="641408" y="3922990"/>
            <a:ext cx="4686898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accent2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095" name="Google Shape;1095;p52"/>
          <p:cNvGrpSpPr/>
          <p:nvPr/>
        </p:nvGrpSpPr>
        <p:grpSpPr>
          <a:xfrm>
            <a:off x="5782108" y="0"/>
            <a:ext cx="6409892" cy="6858000"/>
            <a:chOff x="5734050" y="117476"/>
            <a:chExt cx="6267450" cy="6705600"/>
          </a:xfrm>
        </p:grpSpPr>
        <p:sp>
          <p:nvSpPr>
            <p:cNvPr id="1096" name="Google Shape;1096;p52"/>
            <p:cNvSpPr/>
            <p:nvPr/>
          </p:nvSpPr>
          <p:spPr>
            <a:xfrm>
              <a:off x="8543925" y="117476"/>
              <a:ext cx="3457575" cy="6705600"/>
            </a:xfrm>
            <a:custGeom>
              <a:avLst/>
              <a:gdLst/>
              <a:ahLst/>
              <a:cxnLst/>
              <a:rect l="l" t="t" r="r" b="b"/>
              <a:pathLst>
                <a:path w="203" h="394" extrusionOk="0">
                  <a:moveTo>
                    <a:pt x="203" y="0"/>
                  </a:moveTo>
                  <a:cubicBezTo>
                    <a:pt x="203" y="394"/>
                    <a:pt x="203" y="394"/>
                    <a:pt x="203" y="394"/>
                  </a:cubicBezTo>
                  <a:cubicBezTo>
                    <a:pt x="0" y="394"/>
                    <a:pt x="0" y="394"/>
                    <a:pt x="0" y="394"/>
                  </a:cubicBezTo>
                  <a:cubicBezTo>
                    <a:pt x="0" y="380"/>
                    <a:pt x="0" y="380"/>
                    <a:pt x="0" y="380"/>
                  </a:cubicBezTo>
                  <a:cubicBezTo>
                    <a:pt x="0" y="367"/>
                    <a:pt x="9" y="356"/>
                    <a:pt x="22" y="354"/>
                  </a:cubicBezTo>
                  <a:cubicBezTo>
                    <a:pt x="100" y="343"/>
                    <a:pt x="159" y="277"/>
                    <a:pt x="159" y="197"/>
                  </a:cubicBezTo>
                  <a:cubicBezTo>
                    <a:pt x="159" y="117"/>
                    <a:pt x="100" y="51"/>
                    <a:pt x="22" y="40"/>
                  </a:cubicBezTo>
                  <a:cubicBezTo>
                    <a:pt x="9" y="38"/>
                    <a:pt x="0" y="26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03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97" name="Google Shape;1097;p52"/>
            <p:cNvSpPr/>
            <p:nvPr/>
          </p:nvSpPr>
          <p:spPr>
            <a:xfrm>
              <a:off x="5835650" y="763588"/>
              <a:ext cx="2708275" cy="5413375"/>
            </a:xfrm>
            <a:custGeom>
              <a:avLst/>
              <a:gdLst/>
              <a:ahLst/>
              <a:cxnLst/>
              <a:rect l="l" t="t" r="r" b="b"/>
              <a:pathLst>
                <a:path w="159" h="318" extrusionOk="0">
                  <a:moveTo>
                    <a:pt x="20" y="159"/>
                  </a:moveTo>
                  <a:cubicBezTo>
                    <a:pt x="20" y="233"/>
                    <a:pt x="77" y="293"/>
                    <a:pt x="149" y="298"/>
                  </a:cubicBezTo>
                  <a:cubicBezTo>
                    <a:pt x="155" y="298"/>
                    <a:pt x="159" y="302"/>
                    <a:pt x="159" y="308"/>
                  </a:cubicBezTo>
                  <a:cubicBezTo>
                    <a:pt x="159" y="308"/>
                    <a:pt x="159" y="308"/>
                    <a:pt x="159" y="308"/>
                  </a:cubicBezTo>
                  <a:cubicBezTo>
                    <a:pt x="159" y="313"/>
                    <a:pt x="154" y="318"/>
                    <a:pt x="148" y="318"/>
                  </a:cubicBezTo>
                  <a:cubicBezTo>
                    <a:pt x="65" y="312"/>
                    <a:pt x="0" y="243"/>
                    <a:pt x="0" y="159"/>
                  </a:cubicBezTo>
                  <a:cubicBezTo>
                    <a:pt x="0" y="75"/>
                    <a:pt x="65" y="6"/>
                    <a:pt x="148" y="0"/>
                  </a:cubicBezTo>
                  <a:cubicBezTo>
                    <a:pt x="154" y="0"/>
                    <a:pt x="159" y="4"/>
                    <a:pt x="159" y="10"/>
                  </a:cubicBezTo>
                  <a:cubicBezTo>
                    <a:pt x="159" y="10"/>
                    <a:pt x="159" y="10"/>
                    <a:pt x="159" y="10"/>
                  </a:cubicBezTo>
                  <a:cubicBezTo>
                    <a:pt x="159" y="16"/>
                    <a:pt x="155" y="20"/>
                    <a:pt x="149" y="20"/>
                  </a:cubicBezTo>
                  <a:cubicBezTo>
                    <a:pt x="77" y="25"/>
                    <a:pt x="20" y="85"/>
                    <a:pt x="20" y="15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98" name="Google Shape;1098;p52"/>
            <p:cNvSpPr/>
            <p:nvPr/>
          </p:nvSpPr>
          <p:spPr>
            <a:xfrm>
              <a:off x="5784850" y="4014788"/>
              <a:ext cx="561975" cy="119063"/>
            </a:xfrm>
            <a:custGeom>
              <a:avLst/>
              <a:gdLst/>
              <a:ahLst/>
              <a:cxnLst/>
              <a:rect l="l" t="t" r="r" b="b"/>
              <a:pathLst>
                <a:path w="33" h="7" extrusionOk="0">
                  <a:moveTo>
                    <a:pt x="0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32" y="3"/>
                    <a:pt x="32" y="5"/>
                    <a:pt x="3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5"/>
                    <a:pt x="1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99" name="Google Shape;1099;p52"/>
            <p:cNvSpPr/>
            <p:nvPr/>
          </p:nvSpPr>
          <p:spPr>
            <a:xfrm>
              <a:off x="5734050" y="3521076"/>
              <a:ext cx="511175" cy="119063"/>
            </a:xfrm>
            <a:custGeom>
              <a:avLst/>
              <a:gdLst/>
              <a:ahLst/>
              <a:cxnLst/>
              <a:rect l="l" t="t" r="r" b="b"/>
              <a:pathLst>
                <a:path w="30" h="7" extrusionOk="0">
                  <a:moveTo>
                    <a:pt x="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0" y="5"/>
                    <a:pt x="3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5"/>
                    <a:pt x="0" y="2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00" name="Google Shape;1100;p52"/>
            <p:cNvSpPr/>
            <p:nvPr/>
          </p:nvSpPr>
          <p:spPr>
            <a:xfrm>
              <a:off x="5749925" y="3776663"/>
              <a:ext cx="528638" cy="119063"/>
            </a:xfrm>
            <a:custGeom>
              <a:avLst/>
              <a:gdLst/>
              <a:ahLst/>
              <a:cxnLst/>
              <a:rect l="l" t="t" r="r" b="b"/>
              <a:pathLst>
                <a:path w="31" h="7" extrusionOk="0">
                  <a:moveTo>
                    <a:pt x="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1" y="4"/>
                    <a:pt x="3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01" name="Google Shape;1101;p52"/>
            <p:cNvSpPr/>
            <p:nvPr/>
          </p:nvSpPr>
          <p:spPr>
            <a:xfrm>
              <a:off x="5734050" y="3300413"/>
              <a:ext cx="511175" cy="119063"/>
            </a:xfrm>
            <a:custGeom>
              <a:avLst/>
              <a:gdLst/>
              <a:ahLst/>
              <a:cxnLst/>
              <a:rect l="l" t="t" r="r" b="b"/>
              <a:pathLst>
                <a:path w="30" h="7" extrusionOk="0">
                  <a:moveTo>
                    <a:pt x="0" y="7"/>
                  </a:moveTo>
                  <a:cubicBezTo>
                    <a:pt x="0" y="4"/>
                    <a:pt x="0" y="2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0" y="4"/>
                    <a:pt x="30" y="7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02" name="Google Shape;1102;p52"/>
            <p:cNvSpPr/>
            <p:nvPr/>
          </p:nvSpPr>
          <p:spPr>
            <a:xfrm>
              <a:off x="5749925" y="3044826"/>
              <a:ext cx="528638" cy="119063"/>
            </a:xfrm>
            <a:custGeom>
              <a:avLst/>
              <a:gdLst/>
              <a:ahLst/>
              <a:cxnLst/>
              <a:rect l="l" t="t" r="r" b="b"/>
              <a:pathLst>
                <a:path w="31" h="7" extrusionOk="0">
                  <a:moveTo>
                    <a:pt x="0" y="7"/>
                  </a:moveTo>
                  <a:cubicBezTo>
                    <a:pt x="0" y="5"/>
                    <a:pt x="0" y="2"/>
                    <a:pt x="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2"/>
                    <a:pt x="30" y="5"/>
                    <a:pt x="30" y="7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03" name="Google Shape;1103;p52"/>
            <p:cNvSpPr/>
            <p:nvPr/>
          </p:nvSpPr>
          <p:spPr>
            <a:xfrm>
              <a:off x="5784850" y="2789238"/>
              <a:ext cx="561975" cy="119063"/>
            </a:xfrm>
            <a:custGeom>
              <a:avLst/>
              <a:gdLst/>
              <a:ahLst/>
              <a:cxnLst/>
              <a:rect l="l" t="t" r="r" b="b"/>
              <a:pathLst>
                <a:path w="33" h="7" extrusionOk="0">
                  <a:moveTo>
                    <a:pt x="0" y="7"/>
                  </a:moveTo>
                  <a:cubicBezTo>
                    <a:pt x="1" y="5"/>
                    <a:pt x="1" y="3"/>
                    <a:pt x="2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3"/>
                    <a:pt x="32" y="5"/>
                    <a:pt x="31" y="7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pic>
        <p:nvPicPr>
          <p:cNvPr id="1104" name="Google Shape;1104;p52"/>
          <p:cNvPicPr preferRelativeResize="0"/>
          <p:nvPr/>
        </p:nvPicPr>
        <p:blipFill rotWithShape="1">
          <a:blip r:embed="rId3">
            <a:alphaModFix/>
          </a:blip>
          <a:srcRect l="45198" r="9270"/>
          <a:stretch/>
        </p:blipFill>
        <p:spPr>
          <a:xfrm>
            <a:off x="6431938" y="1213883"/>
            <a:ext cx="4429102" cy="4430234"/>
          </a:xfrm>
          <a:prstGeom prst="ellipse">
            <a:avLst/>
          </a:prstGeom>
          <a:noFill/>
          <a:ln>
            <a:noFill/>
          </a:ln>
        </p:spPr>
      </p:pic>
      <p:sp>
        <p:nvSpPr>
          <p:cNvPr id="3" name="Google Shape;1089;p29">
            <a:extLst>
              <a:ext uri="{FF2B5EF4-FFF2-40B4-BE49-F238E27FC236}">
                <a16:creationId xmlns:a16="http://schemas.microsoft.com/office/drawing/2014/main" id="{9357BCF4-EE80-04CD-69DC-BAB8BC873B54}"/>
              </a:ext>
            </a:extLst>
          </p:cNvPr>
          <p:cNvSpPr/>
          <p:nvPr userDrawn="1"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CE285E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CD3340C8-5BAC-2239-05DC-743E21ABCAB4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6452407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">
  <p:cSld name="4_Title Slide">
    <p:spTree>
      <p:nvGrpSpPr>
        <p:cNvPr id="1" name="Shape 1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6" name="Google Shape;1106;p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9612" y="1397000"/>
            <a:ext cx="3315410" cy="999009"/>
          </a:xfrm>
          <a:prstGeom prst="rect">
            <a:avLst/>
          </a:prstGeom>
          <a:noFill/>
          <a:ln>
            <a:noFill/>
          </a:ln>
        </p:spPr>
      </p:pic>
      <p:sp>
        <p:nvSpPr>
          <p:cNvPr id="1107" name="Google Shape;1107;p53"/>
          <p:cNvSpPr txBox="1">
            <a:spLocks noGrp="1"/>
          </p:cNvSpPr>
          <p:nvPr>
            <p:ph type="ctrTitle"/>
          </p:nvPr>
        </p:nvSpPr>
        <p:spPr>
          <a:xfrm>
            <a:off x="479612" y="2965880"/>
            <a:ext cx="940397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8" name="Google Shape;1108;p53"/>
          <p:cNvSpPr txBox="1">
            <a:spLocks noGrp="1"/>
          </p:cNvSpPr>
          <p:nvPr>
            <p:ph type="subTitle" idx="1"/>
          </p:nvPr>
        </p:nvSpPr>
        <p:spPr>
          <a:xfrm>
            <a:off x="479612" y="3733844"/>
            <a:ext cx="502472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accent2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10" name="Google Shape;1110;p53"/>
          <p:cNvSpPr/>
          <p:nvPr/>
        </p:nvSpPr>
        <p:spPr>
          <a:xfrm>
            <a:off x="10477398" y="5718001"/>
            <a:ext cx="477907" cy="649771"/>
          </a:xfrm>
          <a:custGeom>
            <a:avLst/>
            <a:gdLst/>
            <a:ahLst/>
            <a:cxnLst/>
            <a:rect l="l" t="t" r="r" b="b"/>
            <a:pathLst>
              <a:path w="477907" h="649771" extrusionOk="0">
                <a:moveTo>
                  <a:pt x="295155" y="649771"/>
                </a:moveTo>
                <a:cubicBezTo>
                  <a:pt x="294250" y="649771"/>
                  <a:pt x="293346" y="649047"/>
                  <a:pt x="292803" y="648143"/>
                </a:cubicBezTo>
                <a:lnTo>
                  <a:pt x="181" y="3759"/>
                </a:lnTo>
                <a:cubicBezTo>
                  <a:pt x="-181" y="2855"/>
                  <a:pt x="0" y="1589"/>
                  <a:pt x="723" y="865"/>
                </a:cubicBezTo>
                <a:cubicBezTo>
                  <a:pt x="1447" y="142"/>
                  <a:pt x="2532" y="-220"/>
                  <a:pt x="3617" y="142"/>
                </a:cubicBezTo>
                <a:lnTo>
                  <a:pt x="476009" y="168879"/>
                </a:lnTo>
                <a:cubicBezTo>
                  <a:pt x="476732" y="169060"/>
                  <a:pt x="477275" y="169602"/>
                  <a:pt x="477637" y="170326"/>
                </a:cubicBezTo>
                <a:cubicBezTo>
                  <a:pt x="477998" y="171049"/>
                  <a:pt x="477998" y="171773"/>
                  <a:pt x="477637" y="172496"/>
                </a:cubicBezTo>
                <a:lnTo>
                  <a:pt x="297867" y="647962"/>
                </a:lnTo>
                <a:cubicBezTo>
                  <a:pt x="297506" y="649047"/>
                  <a:pt x="296601" y="649590"/>
                  <a:pt x="295516" y="649771"/>
                </a:cubicBezTo>
                <a:cubicBezTo>
                  <a:pt x="295335" y="649771"/>
                  <a:pt x="295335" y="649771"/>
                  <a:pt x="295155" y="649771"/>
                </a:cubicBezTo>
                <a:close/>
                <a:moveTo>
                  <a:pt x="7777" y="7376"/>
                </a:moveTo>
                <a:lnTo>
                  <a:pt x="295155" y="640005"/>
                </a:lnTo>
                <a:lnTo>
                  <a:pt x="471668" y="173039"/>
                </a:lnTo>
                <a:lnTo>
                  <a:pt x="7777" y="737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1" name="Google Shape;1111;p53"/>
          <p:cNvSpPr/>
          <p:nvPr/>
        </p:nvSpPr>
        <p:spPr>
          <a:xfrm>
            <a:off x="12225625" y="2550403"/>
            <a:ext cx="532328" cy="277143"/>
          </a:xfrm>
          <a:custGeom>
            <a:avLst/>
            <a:gdLst/>
            <a:ahLst/>
            <a:cxnLst/>
            <a:rect l="l" t="t" r="r" b="b"/>
            <a:pathLst>
              <a:path w="532328" h="277143" extrusionOk="0">
                <a:moveTo>
                  <a:pt x="2445" y="277143"/>
                </a:moveTo>
                <a:cubicBezTo>
                  <a:pt x="1360" y="277143"/>
                  <a:pt x="275" y="276239"/>
                  <a:pt x="94" y="275154"/>
                </a:cubicBezTo>
                <a:cubicBezTo>
                  <a:pt x="-268" y="273888"/>
                  <a:pt x="456" y="272622"/>
                  <a:pt x="1541" y="272079"/>
                </a:cubicBezTo>
                <a:lnTo>
                  <a:pt x="528370" y="255"/>
                </a:lnTo>
                <a:cubicBezTo>
                  <a:pt x="529636" y="-288"/>
                  <a:pt x="530902" y="74"/>
                  <a:pt x="531807" y="978"/>
                </a:cubicBezTo>
                <a:cubicBezTo>
                  <a:pt x="532530" y="2063"/>
                  <a:pt x="532530" y="3510"/>
                  <a:pt x="531626" y="4415"/>
                </a:cubicBezTo>
                <a:lnTo>
                  <a:pt x="270833" y="274249"/>
                </a:lnTo>
                <a:cubicBezTo>
                  <a:pt x="270291" y="274792"/>
                  <a:pt x="269568" y="274973"/>
                  <a:pt x="268844" y="274973"/>
                </a:cubicBezTo>
                <a:lnTo>
                  <a:pt x="2626" y="276962"/>
                </a:lnTo>
                <a:cubicBezTo>
                  <a:pt x="2445" y="277143"/>
                  <a:pt x="2445" y="277143"/>
                  <a:pt x="2445" y="277143"/>
                </a:cubicBezTo>
                <a:close/>
                <a:moveTo>
                  <a:pt x="516253" y="12553"/>
                </a:moveTo>
                <a:lnTo>
                  <a:pt x="13839" y="271717"/>
                </a:lnTo>
                <a:lnTo>
                  <a:pt x="267578" y="269728"/>
                </a:lnTo>
                <a:lnTo>
                  <a:pt x="516253" y="12553"/>
                </a:lnTo>
                <a:close/>
                <a:moveTo>
                  <a:pt x="268663" y="272441"/>
                </a:moveTo>
                <a:lnTo>
                  <a:pt x="268663" y="272441"/>
                </a:lnTo>
                <a:lnTo>
                  <a:pt x="268663" y="2724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2" name="Google Shape;1112;p53"/>
          <p:cNvSpPr/>
          <p:nvPr/>
        </p:nvSpPr>
        <p:spPr>
          <a:xfrm>
            <a:off x="11516226" y="1647471"/>
            <a:ext cx="1241602" cy="908431"/>
          </a:xfrm>
          <a:custGeom>
            <a:avLst/>
            <a:gdLst/>
            <a:ahLst/>
            <a:cxnLst/>
            <a:rect l="l" t="t" r="r" b="b"/>
            <a:pathLst>
              <a:path w="1241602" h="908431" extrusionOk="0">
                <a:moveTo>
                  <a:pt x="1238673" y="908432"/>
                </a:moveTo>
                <a:cubicBezTo>
                  <a:pt x="1238311" y="908432"/>
                  <a:pt x="1237769" y="908251"/>
                  <a:pt x="1237406" y="908070"/>
                </a:cubicBezTo>
                <a:lnTo>
                  <a:pt x="1266" y="124428"/>
                </a:lnTo>
                <a:cubicBezTo>
                  <a:pt x="543" y="123885"/>
                  <a:pt x="0" y="123162"/>
                  <a:pt x="0" y="122258"/>
                </a:cubicBezTo>
                <a:cubicBezTo>
                  <a:pt x="0" y="121353"/>
                  <a:pt x="362" y="120630"/>
                  <a:pt x="1085" y="120087"/>
                </a:cubicBezTo>
                <a:lnTo>
                  <a:pt x="151918" y="543"/>
                </a:lnTo>
                <a:cubicBezTo>
                  <a:pt x="153003" y="-181"/>
                  <a:pt x="154269" y="-181"/>
                  <a:pt x="155354" y="543"/>
                </a:cubicBezTo>
                <a:lnTo>
                  <a:pt x="1240662" y="903549"/>
                </a:lnTo>
                <a:cubicBezTo>
                  <a:pt x="1241747" y="904453"/>
                  <a:pt x="1241928" y="906081"/>
                  <a:pt x="1241024" y="907166"/>
                </a:cubicBezTo>
                <a:cubicBezTo>
                  <a:pt x="1240481" y="908070"/>
                  <a:pt x="1239577" y="908432"/>
                  <a:pt x="1238673" y="908432"/>
                </a:cubicBezTo>
                <a:close/>
                <a:moveTo>
                  <a:pt x="7415" y="121896"/>
                </a:moveTo>
                <a:lnTo>
                  <a:pt x="1205214" y="881123"/>
                </a:lnTo>
                <a:lnTo>
                  <a:pt x="153546" y="6149"/>
                </a:lnTo>
                <a:lnTo>
                  <a:pt x="7415" y="1218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3" name="Google Shape;1113;p53"/>
          <p:cNvSpPr/>
          <p:nvPr/>
        </p:nvSpPr>
        <p:spPr>
          <a:xfrm>
            <a:off x="11516323" y="1766931"/>
            <a:ext cx="1241651" cy="1060689"/>
          </a:xfrm>
          <a:custGeom>
            <a:avLst/>
            <a:gdLst/>
            <a:ahLst/>
            <a:cxnLst/>
            <a:rect l="l" t="t" r="r" b="b"/>
            <a:pathLst>
              <a:path w="1241651" h="1060689" extrusionOk="0">
                <a:moveTo>
                  <a:pt x="711747" y="1060615"/>
                </a:moveTo>
                <a:cubicBezTo>
                  <a:pt x="711024" y="1060615"/>
                  <a:pt x="710119" y="1060072"/>
                  <a:pt x="709758" y="1059349"/>
                </a:cubicBezTo>
                <a:lnTo>
                  <a:pt x="446" y="4244"/>
                </a:lnTo>
                <a:cubicBezTo>
                  <a:pt x="-277" y="3159"/>
                  <a:pt x="-96" y="1712"/>
                  <a:pt x="808" y="808"/>
                </a:cubicBezTo>
                <a:cubicBezTo>
                  <a:pt x="1712" y="-96"/>
                  <a:pt x="3159" y="-277"/>
                  <a:pt x="4244" y="446"/>
                </a:cubicBezTo>
                <a:lnTo>
                  <a:pt x="1240385" y="783908"/>
                </a:lnTo>
                <a:cubicBezTo>
                  <a:pt x="1241109" y="784450"/>
                  <a:pt x="1241651" y="785355"/>
                  <a:pt x="1241651" y="786259"/>
                </a:cubicBezTo>
                <a:cubicBezTo>
                  <a:pt x="1241651" y="787163"/>
                  <a:pt x="1241109" y="788067"/>
                  <a:pt x="1240204" y="788610"/>
                </a:cubicBezTo>
                <a:lnTo>
                  <a:pt x="713375" y="1060434"/>
                </a:lnTo>
                <a:cubicBezTo>
                  <a:pt x="712652" y="1060615"/>
                  <a:pt x="712109" y="1060796"/>
                  <a:pt x="711747" y="1060615"/>
                </a:cubicBezTo>
                <a:close/>
                <a:moveTo>
                  <a:pt x="12021" y="11840"/>
                </a:moveTo>
                <a:lnTo>
                  <a:pt x="712832" y="1054466"/>
                </a:lnTo>
                <a:lnTo>
                  <a:pt x="1233512" y="785897"/>
                </a:lnTo>
                <a:lnTo>
                  <a:pt x="12021" y="1184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4" name="Google Shape;1114;p53"/>
          <p:cNvSpPr/>
          <p:nvPr/>
        </p:nvSpPr>
        <p:spPr>
          <a:xfrm>
            <a:off x="8737035" y="5586119"/>
            <a:ext cx="850605" cy="232217"/>
          </a:xfrm>
          <a:custGeom>
            <a:avLst/>
            <a:gdLst/>
            <a:ahLst/>
            <a:cxnLst/>
            <a:rect l="l" t="t" r="r" b="b"/>
            <a:pathLst>
              <a:path w="850605" h="232217" extrusionOk="0">
                <a:moveTo>
                  <a:pt x="818548" y="232217"/>
                </a:moveTo>
                <a:cubicBezTo>
                  <a:pt x="818367" y="232217"/>
                  <a:pt x="818367" y="232217"/>
                  <a:pt x="818186" y="232217"/>
                </a:cubicBezTo>
                <a:lnTo>
                  <a:pt x="2170" y="68905"/>
                </a:lnTo>
                <a:cubicBezTo>
                  <a:pt x="904" y="68725"/>
                  <a:pt x="0" y="67459"/>
                  <a:pt x="0" y="66012"/>
                </a:cubicBezTo>
                <a:cubicBezTo>
                  <a:pt x="0" y="64746"/>
                  <a:pt x="1085" y="63661"/>
                  <a:pt x="2532" y="63480"/>
                </a:cubicBezTo>
                <a:lnTo>
                  <a:pt x="847665" y="0"/>
                </a:lnTo>
                <a:cubicBezTo>
                  <a:pt x="848389" y="0"/>
                  <a:pt x="849293" y="181"/>
                  <a:pt x="849835" y="904"/>
                </a:cubicBezTo>
                <a:cubicBezTo>
                  <a:pt x="850378" y="1447"/>
                  <a:pt x="850740" y="2351"/>
                  <a:pt x="850559" y="3074"/>
                </a:cubicBezTo>
                <a:lnTo>
                  <a:pt x="821441" y="229685"/>
                </a:lnTo>
                <a:cubicBezTo>
                  <a:pt x="821441" y="230408"/>
                  <a:pt x="820899" y="231132"/>
                  <a:pt x="820356" y="231494"/>
                </a:cubicBezTo>
                <a:cubicBezTo>
                  <a:pt x="819813" y="232036"/>
                  <a:pt x="819090" y="232217"/>
                  <a:pt x="818548" y="232217"/>
                </a:cubicBezTo>
                <a:close/>
                <a:moveTo>
                  <a:pt x="22426" y="67459"/>
                </a:moveTo>
                <a:lnTo>
                  <a:pt x="816377" y="226249"/>
                </a:lnTo>
                <a:lnTo>
                  <a:pt x="844591" y="5787"/>
                </a:lnTo>
                <a:lnTo>
                  <a:pt x="22426" y="6745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5" name="Google Shape;1115;p53"/>
          <p:cNvSpPr/>
          <p:nvPr/>
        </p:nvSpPr>
        <p:spPr>
          <a:xfrm>
            <a:off x="9553004" y="5586432"/>
            <a:ext cx="930000" cy="231903"/>
          </a:xfrm>
          <a:custGeom>
            <a:avLst/>
            <a:gdLst/>
            <a:ahLst/>
            <a:cxnLst/>
            <a:rect l="l" t="t" r="r" b="b"/>
            <a:pathLst>
              <a:path w="930000" h="231903" extrusionOk="0">
                <a:moveTo>
                  <a:pt x="2579" y="231903"/>
                </a:moveTo>
                <a:cubicBezTo>
                  <a:pt x="1856" y="231903"/>
                  <a:pt x="1313" y="231542"/>
                  <a:pt x="770" y="231180"/>
                </a:cubicBezTo>
                <a:cubicBezTo>
                  <a:pt x="228" y="230638"/>
                  <a:pt x="-134" y="229733"/>
                  <a:pt x="47" y="229010"/>
                </a:cubicBezTo>
                <a:lnTo>
                  <a:pt x="29165" y="2399"/>
                </a:lnTo>
                <a:cubicBezTo>
                  <a:pt x="29165" y="1676"/>
                  <a:pt x="29707" y="952"/>
                  <a:pt x="30250" y="591"/>
                </a:cubicBezTo>
                <a:cubicBezTo>
                  <a:pt x="30792" y="229"/>
                  <a:pt x="31516" y="-133"/>
                  <a:pt x="32239" y="48"/>
                </a:cubicBezTo>
                <a:lnTo>
                  <a:pt x="927650" y="131710"/>
                </a:lnTo>
                <a:cubicBezTo>
                  <a:pt x="928916" y="131891"/>
                  <a:pt x="930001" y="133157"/>
                  <a:pt x="930001" y="134423"/>
                </a:cubicBezTo>
                <a:cubicBezTo>
                  <a:pt x="930001" y="135870"/>
                  <a:pt x="928916" y="136955"/>
                  <a:pt x="927650" y="136955"/>
                </a:cubicBezTo>
                <a:lnTo>
                  <a:pt x="3122" y="231903"/>
                </a:lnTo>
                <a:cubicBezTo>
                  <a:pt x="2760" y="231903"/>
                  <a:pt x="2760" y="231903"/>
                  <a:pt x="2579" y="231903"/>
                </a:cubicBezTo>
                <a:close/>
                <a:moveTo>
                  <a:pt x="34048" y="5655"/>
                </a:moveTo>
                <a:lnTo>
                  <a:pt x="5834" y="226297"/>
                </a:lnTo>
                <a:lnTo>
                  <a:pt x="905405" y="133880"/>
                </a:lnTo>
                <a:lnTo>
                  <a:pt x="34048" y="56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6" name="Google Shape;1116;p53"/>
          <p:cNvSpPr/>
          <p:nvPr/>
        </p:nvSpPr>
        <p:spPr>
          <a:xfrm>
            <a:off x="9581960" y="5271675"/>
            <a:ext cx="900910" cy="451760"/>
          </a:xfrm>
          <a:custGeom>
            <a:avLst/>
            <a:gdLst/>
            <a:ahLst/>
            <a:cxnLst/>
            <a:rect l="l" t="t" r="r" b="b"/>
            <a:pathLst>
              <a:path w="900910" h="451760" extrusionOk="0">
                <a:moveTo>
                  <a:pt x="897970" y="451712"/>
                </a:moveTo>
                <a:cubicBezTo>
                  <a:pt x="897970" y="451712"/>
                  <a:pt x="897789" y="451712"/>
                  <a:pt x="897789" y="451712"/>
                </a:cubicBezTo>
                <a:lnTo>
                  <a:pt x="2379" y="320050"/>
                </a:lnTo>
                <a:cubicBezTo>
                  <a:pt x="1113" y="319870"/>
                  <a:pt x="208" y="318965"/>
                  <a:pt x="27" y="317699"/>
                </a:cubicBezTo>
                <a:cubicBezTo>
                  <a:pt x="-153" y="316433"/>
                  <a:pt x="570" y="315348"/>
                  <a:pt x="1836" y="314806"/>
                </a:cubicBezTo>
                <a:lnTo>
                  <a:pt x="829064" y="119"/>
                </a:lnTo>
                <a:cubicBezTo>
                  <a:pt x="829788" y="-62"/>
                  <a:pt x="830692" y="-62"/>
                  <a:pt x="831416" y="300"/>
                </a:cubicBezTo>
                <a:cubicBezTo>
                  <a:pt x="832139" y="661"/>
                  <a:pt x="832682" y="1385"/>
                  <a:pt x="832682" y="2289"/>
                </a:cubicBezTo>
                <a:lnTo>
                  <a:pt x="900864" y="448819"/>
                </a:lnTo>
                <a:cubicBezTo>
                  <a:pt x="901045" y="449723"/>
                  <a:pt x="900683" y="450446"/>
                  <a:pt x="900140" y="451170"/>
                </a:cubicBezTo>
                <a:cubicBezTo>
                  <a:pt x="899598" y="451532"/>
                  <a:pt x="898874" y="451893"/>
                  <a:pt x="897970" y="451712"/>
                </a:cubicBezTo>
                <a:close/>
                <a:moveTo>
                  <a:pt x="13411" y="316252"/>
                </a:moveTo>
                <a:lnTo>
                  <a:pt x="894895" y="445925"/>
                </a:lnTo>
                <a:lnTo>
                  <a:pt x="827799" y="6449"/>
                </a:lnTo>
                <a:lnTo>
                  <a:pt x="13411" y="3162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7" name="Google Shape;1117;p53"/>
          <p:cNvSpPr/>
          <p:nvPr/>
        </p:nvSpPr>
        <p:spPr>
          <a:xfrm>
            <a:off x="7438868" y="5835663"/>
            <a:ext cx="648244" cy="773982"/>
          </a:xfrm>
          <a:custGeom>
            <a:avLst/>
            <a:gdLst/>
            <a:ahLst/>
            <a:cxnLst/>
            <a:rect l="l" t="t" r="r" b="b"/>
            <a:pathLst>
              <a:path w="648244" h="773982" extrusionOk="0">
                <a:moveTo>
                  <a:pt x="2526" y="773911"/>
                </a:moveTo>
                <a:cubicBezTo>
                  <a:pt x="1983" y="773911"/>
                  <a:pt x="1441" y="773730"/>
                  <a:pt x="898" y="773188"/>
                </a:cubicBezTo>
                <a:cubicBezTo>
                  <a:pt x="-6" y="772465"/>
                  <a:pt x="-187" y="771198"/>
                  <a:pt x="175" y="770113"/>
                </a:cubicBezTo>
                <a:lnTo>
                  <a:pt x="350671" y="1663"/>
                </a:lnTo>
                <a:cubicBezTo>
                  <a:pt x="351032" y="758"/>
                  <a:pt x="351937" y="216"/>
                  <a:pt x="352841" y="35"/>
                </a:cubicBezTo>
                <a:cubicBezTo>
                  <a:pt x="353745" y="-146"/>
                  <a:pt x="354649" y="397"/>
                  <a:pt x="355192" y="1120"/>
                </a:cubicBezTo>
                <a:lnTo>
                  <a:pt x="647634" y="386702"/>
                </a:lnTo>
                <a:cubicBezTo>
                  <a:pt x="648176" y="387244"/>
                  <a:pt x="648357" y="388149"/>
                  <a:pt x="648176" y="388872"/>
                </a:cubicBezTo>
                <a:cubicBezTo>
                  <a:pt x="647995" y="389595"/>
                  <a:pt x="647634" y="390319"/>
                  <a:pt x="646910" y="390681"/>
                </a:cubicBezTo>
                <a:lnTo>
                  <a:pt x="4153" y="773550"/>
                </a:lnTo>
                <a:cubicBezTo>
                  <a:pt x="3611" y="773911"/>
                  <a:pt x="3068" y="774092"/>
                  <a:pt x="2526" y="773911"/>
                </a:cubicBezTo>
                <a:close/>
                <a:moveTo>
                  <a:pt x="353745" y="8174"/>
                </a:moveTo>
                <a:lnTo>
                  <a:pt x="8675" y="764507"/>
                </a:lnTo>
                <a:lnTo>
                  <a:pt x="641485" y="387606"/>
                </a:lnTo>
                <a:lnTo>
                  <a:pt x="353745" y="817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8" name="Google Shape;1118;p53"/>
          <p:cNvSpPr/>
          <p:nvPr/>
        </p:nvSpPr>
        <p:spPr>
          <a:xfrm>
            <a:off x="9553051" y="5717926"/>
            <a:ext cx="929840" cy="819487"/>
          </a:xfrm>
          <a:custGeom>
            <a:avLst/>
            <a:gdLst/>
            <a:ahLst/>
            <a:cxnLst/>
            <a:rect l="l" t="t" r="r" b="b"/>
            <a:pathLst>
              <a:path w="929840" h="819487" extrusionOk="0">
                <a:moveTo>
                  <a:pt x="679290" y="819487"/>
                </a:moveTo>
                <a:cubicBezTo>
                  <a:pt x="678566" y="819487"/>
                  <a:pt x="678024" y="819125"/>
                  <a:pt x="677481" y="818583"/>
                </a:cubicBezTo>
                <a:lnTo>
                  <a:pt x="723" y="99505"/>
                </a:lnTo>
                <a:cubicBezTo>
                  <a:pt x="0" y="98782"/>
                  <a:pt x="-181" y="97697"/>
                  <a:pt x="181" y="96793"/>
                </a:cubicBezTo>
                <a:cubicBezTo>
                  <a:pt x="543" y="95888"/>
                  <a:pt x="1447" y="95165"/>
                  <a:pt x="2351" y="94984"/>
                </a:cubicBezTo>
                <a:lnTo>
                  <a:pt x="926879" y="35"/>
                </a:lnTo>
                <a:cubicBezTo>
                  <a:pt x="927784" y="-145"/>
                  <a:pt x="928688" y="397"/>
                  <a:pt x="929230" y="940"/>
                </a:cubicBezTo>
                <a:cubicBezTo>
                  <a:pt x="929773" y="1663"/>
                  <a:pt x="929954" y="2567"/>
                  <a:pt x="929773" y="3472"/>
                </a:cubicBezTo>
                <a:lnTo>
                  <a:pt x="682183" y="817317"/>
                </a:lnTo>
                <a:cubicBezTo>
                  <a:pt x="681822" y="818221"/>
                  <a:pt x="681098" y="818945"/>
                  <a:pt x="680194" y="819125"/>
                </a:cubicBezTo>
                <a:cubicBezTo>
                  <a:pt x="679832" y="819487"/>
                  <a:pt x="679651" y="819487"/>
                  <a:pt x="679290" y="819487"/>
                </a:cubicBezTo>
                <a:close/>
                <a:moveTo>
                  <a:pt x="8319" y="99867"/>
                </a:moveTo>
                <a:lnTo>
                  <a:pt x="678205" y="811529"/>
                </a:lnTo>
                <a:lnTo>
                  <a:pt x="923262" y="6004"/>
                </a:lnTo>
                <a:lnTo>
                  <a:pt x="8319" y="998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9" name="Google Shape;1119;p53"/>
          <p:cNvSpPr/>
          <p:nvPr/>
        </p:nvSpPr>
        <p:spPr>
          <a:xfrm>
            <a:off x="10229741" y="6362415"/>
            <a:ext cx="545548" cy="361639"/>
          </a:xfrm>
          <a:custGeom>
            <a:avLst/>
            <a:gdLst/>
            <a:ahLst/>
            <a:cxnLst/>
            <a:rect l="l" t="t" r="r" b="b"/>
            <a:pathLst>
              <a:path w="545548" h="361639" extrusionOk="0">
                <a:moveTo>
                  <a:pt x="153432" y="361639"/>
                </a:moveTo>
                <a:cubicBezTo>
                  <a:pt x="152528" y="361639"/>
                  <a:pt x="151986" y="361278"/>
                  <a:pt x="151443" y="360735"/>
                </a:cubicBezTo>
                <a:lnTo>
                  <a:pt x="610" y="174093"/>
                </a:lnTo>
                <a:cubicBezTo>
                  <a:pt x="68" y="173370"/>
                  <a:pt x="-113" y="172466"/>
                  <a:pt x="68" y="171562"/>
                </a:cubicBezTo>
                <a:cubicBezTo>
                  <a:pt x="249" y="170657"/>
                  <a:pt x="972" y="170115"/>
                  <a:pt x="1876" y="169753"/>
                </a:cubicBezTo>
                <a:lnTo>
                  <a:pt x="542089" y="111"/>
                </a:lnTo>
                <a:cubicBezTo>
                  <a:pt x="543355" y="-250"/>
                  <a:pt x="544621" y="293"/>
                  <a:pt x="545163" y="1378"/>
                </a:cubicBezTo>
                <a:cubicBezTo>
                  <a:pt x="545887" y="2463"/>
                  <a:pt x="545525" y="3909"/>
                  <a:pt x="544621" y="4633"/>
                </a:cubicBezTo>
                <a:lnTo>
                  <a:pt x="155241" y="360916"/>
                </a:lnTo>
                <a:cubicBezTo>
                  <a:pt x="154879" y="361459"/>
                  <a:pt x="154156" y="361639"/>
                  <a:pt x="153432" y="361639"/>
                </a:cubicBezTo>
                <a:close/>
                <a:moveTo>
                  <a:pt x="7302" y="173551"/>
                </a:moveTo>
                <a:lnTo>
                  <a:pt x="153975" y="354948"/>
                </a:lnTo>
                <a:lnTo>
                  <a:pt x="532323" y="8793"/>
                </a:lnTo>
                <a:lnTo>
                  <a:pt x="7302" y="17355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0" name="Google Shape;1120;p53"/>
          <p:cNvSpPr/>
          <p:nvPr/>
        </p:nvSpPr>
        <p:spPr>
          <a:xfrm>
            <a:off x="10229924" y="5718143"/>
            <a:ext cx="545612" cy="819270"/>
          </a:xfrm>
          <a:custGeom>
            <a:avLst/>
            <a:gdLst/>
            <a:ahLst/>
            <a:cxnLst/>
            <a:rect l="l" t="t" r="r" b="b"/>
            <a:pathLst>
              <a:path w="545612" h="819270" extrusionOk="0">
                <a:moveTo>
                  <a:pt x="2416" y="819271"/>
                </a:moveTo>
                <a:cubicBezTo>
                  <a:pt x="1693" y="819271"/>
                  <a:pt x="1150" y="818909"/>
                  <a:pt x="788" y="818547"/>
                </a:cubicBezTo>
                <a:cubicBezTo>
                  <a:pt x="65" y="817824"/>
                  <a:pt x="-116" y="816738"/>
                  <a:pt x="65" y="815834"/>
                </a:cubicBezTo>
                <a:lnTo>
                  <a:pt x="247655" y="1989"/>
                </a:lnTo>
                <a:cubicBezTo>
                  <a:pt x="248017" y="904"/>
                  <a:pt x="248921" y="181"/>
                  <a:pt x="250006" y="0"/>
                </a:cubicBezTo>
                <a:cubicBezTo>
                  <a:pt x="251091" y="0"/>
                  <a:pt x="252176" y="543"/>
                  <a:pt x="252719" y="1628"/>
                </a:cubicBezTo>
                <a:lnTo>
                  <a:pt x="545341" y="646012"/>
                </a:lnTo>
                <a:cubicBezTo>
                  <a:pt x="545703" y="646735"/>
                  <a:pt x="545703" y="647459"/>
                  <a:pt x="545341" y="648182"/>
                </a:cubicBezTo>
                <a:cubicBezTo>
                  <a:pt x="544980" y="648906"/>
                  <a:pt x="544437" y="649448"/>
                  <a:pt x="543714" y="649629"/>
                </a:cubicBezTo>
                <a:lnTo>
                  <a:pt x="3501" y="819271"/>
                </a:lnTo>
                <a:cubicBezTo>
                  <a:pt x="3140" y="819271"/>
                  <a:pt x="2778" y="819271"/>
                  <a:pt x="2416" y="819271"/>
                </a:cubicBezTo>
                <a:close/>
                <a:moveTo>
                  <a:pt x="250730" y="10128"/>
                </a:moveTo>
                <a:lnTo>
                  <a:pt x="6576" y="812398"/>
                </a:lnTo>
                <a:lnTo>
                  <a:pt x="539012" y="645289"/>
                </a:lnTo>
                <a:lnTo>
                  <a:pt x="250730" y="1012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1" name="Google Shape;1121;p53"/>
          <p:cNvSpPr/>
          <p:nvPr/>
        </p:nvSpPr>
        <p:spPr>
          <a:xfrm>
            <a:off x="10770021" y="5886967"/>
            <a:ext cx="1132510" cy="480804"/>
          </a:xfrm>
          <a:custGeom>
            <a:avLst/>
            <a:gdLst/>
            <a:ahLst/>
            <a:cxnLst/>
            <a:rect l="l" t="t" r="r" b="b"/>
            <a:pathLst>
              <a:path w="1132510" h="480804" extrusionOk="0">
                <a:moveTo>
                  <a:pt x="2532" y="480804"/>
                </a:moveTo>
                <a:cubicBezTo>
                  <a:pt x="1809" y="480804"/>
                  <a:pt x="1085" y="480443"/>
                  <a:pt x="723" y="479900"/>
                </a:cubicBezTo>
                <a:cubicBezTo>
                  <a:pt x="0" y="479177"/>
                  <a:pt x="-181" y="478092"/>
                  <a:pt x="181" y="477187"/>
                </a:cubicBezTo>
                <a:lnTo>
                  <a:pt x="179950" y="1721"/>
                </a:lnTo>
                <a:cubicBezTo>
                  <a:pt x="180493" y="455"/>
                  <a:pt x="181759" y="-269"/>
                  <a:pt x="183025" y="93"/>
                </a:cubicBezTo>
                <a:lnTo>
                  <a:pt x="1130341" y="214767"/>
                </a:lnTo>
                <a:cubicBezTo>
                  <a:pt x="1131607" y="215129"/>
                  <a:pt x="1132511" y="216214"/>
                  <a:pt x="1132511" y="217480"/>
                </a:cubicBezTo>
                <a:cubicBezTo>
                  <a:pt x="1132511" y="218746"/>
                  <a:pt x="1131607" y="219831"/>
                  <a:pt x="1130521" y="220193"/>
                </a:cubicBezTo>
                <a:lnTo>
                  <a:pt x="3617" y="480804"/>
                </a:lnTo>
                <a:cubicBezTo>
                  <a:pt x="3074" y="480804"/>
                  <a:pt x="2894" y="480804"/>
                  <a:pt x="2532" y="480804"/>
                </a:cubicBezTo>
                <a:close/>
                <a:moveTo>
                  <a:pt x="184291" y="5700"/>
                </a:moveTo>
                <a:lnTo>
                  <a:pt x="7053" y="474293"/>
                </a:lnTo>
                <a:lnTo>
                  <a:pt x="1117681" y="217480"/>
                </a:lnTo>
                <a:lnTo>
                  <a:pt x="184291" y="570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2" name="Google Shape;1122;p53"/>
          <p:cNvSpPr/>
          <p:nvPr/>
        </p:nvSpPr>
        <p:spPr>
          <a:xfrm>
            <a:off x="10950107" y="5682851"/>
            <a:ext cx="952637" cy="424309"/>
          </a:xfrm>
          <a:custGeom>
            <a:avLst/>
            <a:gdLst/>
            <a:ahLst/>
            <a:cxnLst/>
            <a:rect l="l" t="t" r="r" b="b"/>
            <a:pathLst>
              <a:path w="952637" h="424309" extrusionOk="0">
                <a:moveTo>
                  <a:pt x="949531" y="424310"/>
                </a:moveTo>
                <a:cubicBezTo>
                  <a:pt x="949350" y="424310"/>
                  <a:pt x="949170" y="424310"/>
                  <a:pt x="949170" y="424310"/>
                </a:cubicBezTo>
                <a:lnTo>
                  <a:pt x="2035" y="209454"/>
                </a:lnTo>
                <a:cubicBezTo>
                  <a:pt x="949" y="209274"/>
                  <a:pt x="226" y="208369"/>
                  <a:pt x="45" y="207465"/>
                </a:cubicBezTo>
                <a:cubicBezTo>
                  <a:pt x="-136" y="206380"/>
                  <a:pt x="226" y="205295"/>
                  <a:pt x="1130" y="204752"/>
                </a:cubicBezTo>
                <a:lnTo>
                  <a:pt x="274763" y="568"/>
                </a:lnTo>
                <a:cubicBezTo>
                  <a:pt x="275667" y="-156"/>
                  <a:pt x="276933" y="-156"/>
                  <a:pt x="277838" y="387"/>
                </a:cubicBezTo>
                <a:lnTo>
                  <a:pt x="951340" y="419426"/>
                </a:lnTo>
                <a:cubicBezTo>
                  <a:pt x="952425" y="420150"/>
                  <a:pt x="952967" y="421597"/>
                  <a:pt x="952425" y="422682"/>
                </a:cubicBezTo>
                <a:cubicBezTo>
                  <a:pt x="951702" y="423767"/>
                  <a:pt x="950617" y="424310"/>
                  <a:pt x="949531" y="424310"/>
                </a:cubicBezTo>
                <a:close/>
                <a:moveTo>
                  <a:pt x="8726" y="205295"/>
                </a:moveTo>
                <a:lnTo>
                  <a:pt x="934520" y="415448"/>
                </a:lnTo>
                <a:lnTo>
                  <a:pt x="276210" y="5812"/>
                </a:lnTo>
                <a:lnTo>
                  <a:pt x="8726" y="20529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3" name="Google Shape;1123;p53"/>
          <p:cNvSpPr/>
          <p:nvPr/>
        </p:nvSpPr>
        <p:spPr>
          <a:xfrm>
            <a:off x="11223569" y="5526728"/>
            <a:ext cx="678816" cy="580432"/>
          </a:xfrm>
          <a:custGeom>
            <a:avLst/>
            <a:gdLst/>
            <a:ahLst/>
            <a:cxnLst/>
            <a:rect l="l" t="t" r="r" b="b"/>
            <a:pathLst>
              <a:path w="678816" h="580432" extrusionOk="0">
                <a:moveTo>
                  <a:pt x="676069" y="580433"/>
                </a:moveTo>
                <a:cubicBezTo>
                  <a:pt x="675707" y="580433"/>
                  <a:pt x="675165" y="580252"/>
                  <a:pt x="674803" y="580071"/>
                </a:cubicBezTo>
                <a:lnTo>
                  <a:pt x="1300" y="161031"/>
                </a:lnTo>
                <a:cubicBezTo>
                  <a:pt x="396" y="160489"/>
                  <a:pt x="-146" y="159404"/>
                  <a:pt x="35" y="158319"/>
                </a:cubicBezTo>
                <a:cubicBezTo>
                  <a:pt x="215" y="157234"/>
                  <a:pt x="939" y="156329"/>
                  <a:pt x="2024" y="156148"/>
                </a:cubicBezTo>
                <a:lnTo>
                  <a:pt x="615844" y="71"/>
                </a:lnTo>
                <a:cubicBezTo>
                  <a:pt x="616568" y="-110"/>
                  <a:pt x="617472" y="71"/>
                  <a:pt x="618014" y="433"/>
                </a:cubicBezTo>
                <a:cubicBezTo>
                  <a:pt x="618738" y="794"/>
                  <a:pt x="619100" y="1518"/>
                  <a:pt x="619100" y="2422"/>
                </a:cubicBezTo>
                <a:lnTo>
                  <a:pt x="678782" y="577720"/>
                </a:lnTo>
                <a:cubicBezTo>
                  <a:pt x="678962" y="578805"/>
                  <a:pt x="678420" y="579710"/>
                  <a:pt x="677515" y="580252"/>
                </a:cubicBezTo>
                <a:cubicBezTo>
                  <a:pt x="677154" y="580252"/>
                  <a:pt x="676611" y="580433"/>
                  <a:pt x="676069" y="580433"/>
                </a:cubicBezTo>
                <a:close/>
                <a:moveTo>
                  <a:pt x="9439" y="159585"/>
                </a:moveTo>
                <a:lnTo>
                  <a:pt x="672994" y="572475"/>
                </a:lnTo>
                <a:lnTo>
                  <a:pt x="614216" y="5858"/>
                </a:lnTo>
                <a:lnTo>
                  <a:pt x="9439" y="1595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4" name="Google Shape;1124;p53"/>
          <p:cNvSpPr/>
          <p:nvPr/>
        </p:nvSpPr>
        <p:spPr>
          <a:xfrm>
            <a:off x="12312393" y="4298293"/>
            <a:ext cx="496810" cy="478321"/>
          </a:xfrm>
          <a:custGeom>
            <a:avLst/>
            <a:gdLst/>
            <a:ahLst/>
            <a:cxnLst/>
            <a:rect l="l" t="t" r="r" b="b"/>
            <a:pathLst>
              <a:path w="496810" h="478321" extrusionOk="0">
                <a:moveTo>
                  <a:pt x="409229" y="478321"/>
                </a:moveTo>
                <a:cubicBezTo>
                  <a:pt x="408505" y="478321"/>
                  <a:pt x="407782" y="477960"/>
                  <a:pt x="407420" y="477417"/>
                </a:cubicBezTo>
                <a:lnTo>
                  <a:pt x="678" y="4483"/>
                </a:lnTo>
                <a:cubicBezTo>
                  <a:pt x="-226" y="3398"/>
                  <a:pt x="-226" y="1951"/>
                  <a:pt x="678" y="866"/>
                </a:cubicBezTo>
                <a:cubicBezTo>
                  <a:pt x="1583" y="-219"/>
                  <a:pt x="3210" y="-219"/>
                  <a:pt x="4295" y="504"/>
                </a:cubicBezTo>
                <a:lnTo>
                  <a:pt x="495677" y="362394"/>
                </a:lnTo>
                <a:cubicBezTo>
                  <a:pt x="496220" y="362755"/>
                  <a:pt x="496581" y="363479"/>
                  <a:pt x="496762" y="364202"/>
                </a:cubicBezTo>
                <a:cubicBezTo>
                  <a:pt x="496943" y="364926"/>
                  <a:pt x="496581" y="365649"/>
                  <a:pt x="496220" y="366192"/>
                </a:cubicBezTo>
                <a:lnTo>
                  <a:pt x="411760" y="477056"/>
                </a:lnTo>
                <a:cubicBezTo>
                  <a:pt x="411218" y="477779"/>
                  <a:pt x="410495" y="478141"/>
                  <a:pt x="409771" y="478141"/>
                </a:cubicBezTo>
                <a:cubicBezTo>
                  <a:pt x="409410" y="478321"/>
                  <a:pt x="409229" y="478321"/>
                  <a:pt x="409229" y="478321"/>
                </a:cubicBezTo>
                <a:close/>
                <a:moveTo>
                  <a:pt x="20030" y="18951"/>
                </a:moveTo>
                <a:lnTo>
                  <a:pt x="409229" y="471268"/>
                </a:lnTo>
                <a:lnTo>
                  <a:pt x="490071" y="365107"/>
                </a:lnTo>
                <a:lnTo>
                  <a:pt x="20030" y="1895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5" name="Google Shape;1125;p53"/>
          <p:cNvSpPr/>
          <p:nvPr/>
        </p:nvSpPr>
        <p:spPr>
          <a:xfrm>
            <a:off x="10380595" y="6362367"/>
            <a:ext cx="1550807" cy="921793"/>
          </a:xfrm>
          <a:custGeom>
            <a:avLst/>
            <a:gdLst/>
            <a:ahLst/>
            <a:cxnLst/>
            <a:rect l="l" t="t" r="r" b="b"/>
            <a:pathLst>
              <a:path w="1550807" h="921793" extrusionOk="0">
                <a:moveTo>
                  <a:pt x="1547980" y="921794"/>
                </a:moveTo>
                <a:cubicBezTo>
                  <a:pt x="1547799" y="921794"/>
                  <a:pt x="1547437" y="921794"/>
                  <a:pt x="1547256" y="921614"/>
                </a:cubicBezTo>
                <a:lnTo>
                  <a:pt x="1855" y="361507"/>
                </a:lnTo>
                <a:cubicBezTo>
                  <a:pt x="950" y="361145"/>
                  <a:pt x="227" y="360422"/>
                  <a:pt x="46" y="359518"/>
                </a:cubicBezTo>
                <a:cubicBezTo>
                  <a:pt x="-135" y="358614"/>
                  <a:pt x="227" y="357710"/>
                  <a:pt x="950" y="356986"/>
                </a:cubicBezTo>
                <a:lnTo>
                  <a:pt x="390330" y="702"/>
                </a:lnTo>
                <a:cubicBezTo>
                  <a:pt x="391234" y="-202"/>
                  <a:pt x="392862" y="-202"/>
                  <a:pt x="393766" y="522"/>
                </a:cubicBezTo>
                <a:lnTo>
                  <a:pt x="1549788" y="916911"/>
                </a:lnTo>
                <a:cubicBezTo>
                  <a:pt x="1550873" y="917815"/>
                  <a:pt x="1551054" y="919262"/>
                  <a:pt x="1550512" y="920347"/>
                </a:cubicBezTo>
                <a:cubicBezTo>
                  <a:pt x="1549969" y="921251"/>
                  <a:pt x="1549065" y="921794"/>
                  <a:pt x="1547980" y="921794"/>
                </a:cubicBezTo>
                <a:close/>
                <a:moveTo>
                  <a:pt x="7823" y="357890"/>
                </a:moveTo>
                <a:lnTo>
                  <a:pt x="1533511" y="910762"/>
                </a:lnTo>
                <a:lnTo>
                  <a:pt x="392320" y="6128"/>
                </a:lnTo>
                <a:lnTo>
                  <a:pt x="7823" y="35789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6" name="Google Shape;1126;p53"/>
          <p:cNvSpPr/>
          <p:nvPr/>
        </p:nvSpPr>
        <p:spPr>
          <a:xfrm>
            <a:off x="10770087" y="6101848"/>
            <a:ext cx="1161381" cy="1182312"/>
          </a:xfrm>
          <a:custGeom>
            <a:avLst/>
            <a:gdLst/>
            <a:ahLst/>
            <a:cxnLst/>
            <a:rect l="l" t="t" r="r" b="b"/>
            <a:pathLst>
              <a:path w="1161381" h="1182312" extrusionOk="0">
                <a:moveTo>
                  <a:pt x="1158488" y="1182313"/>
                </a:moveTo>
                <a:cubicBezTo>
                  <a:pt x="1157946" y="1182313"/>
                  <a:pt x="1157403" y="1182133"/>
                  <a:pt x="1157041" y="1181770"/>
                </a:cubicBezTo>
                <a:lnTo>
                  <a:pt x="1019" y="265381"/>
                </a:lnTo>
                <a:cubicBezTo>
                  <a:pt x="296" y="264658"/>
                  <a:pt x="-246" y="263754"/>
                  <a:pt x="115" y="262669"/>
                </a:cubicBezTo>
                <a:cubicBezTo>
                  <a:pt x="296" y="261584"/>
                  <a:pt x="1200" y="260860"/>
                  <a:pt x="2104" y="260679"/>
                </a:cubicBezTo>
                <a:lnTo>
                  <a:pt x="1129009" y="68"/>
                </a:lnTo>
                <a:cubicBezTo>
                  <a:pt x="1129732" y="-113"/>
                  <a:pt x="1130637" y="68"/>
                  <a:pt x="1131179" y="610"/>
                </a:cubicBezTo>
                <a:cubicBezTo>
                  <a:pt x="1131903" y="1153"/>
                  <a:pt x="1132264" y="1876"/>
                  <a:pt x="1132264" y="2600"/>
                </a:cubicBezTo>
                <a:lnTo>
                  <a:pt x="1161382" y="1179600"/>
                </a:lnTo>
                <a:cubicBezTo>
                  <a:pt x="1161382" y="1180685"/>
                  <a:pt x="1160839" y="1181590"/>
                  <a:pt x="1159935" y="1182133"/>
                </a:cubicBezTo>
                <a:cubicBezTo>
                  <a:pt x="1159393" y="1182133"/>
                  <a:pt x="1159031" y="1182313"/>
                  <a:pt x="1158488" y="1182313"/>
                </a:cubicBezTo>
                <a:close/>
                <a:moveTo>
                  <a:pt x="8796" y="264658"/>
                </a:moveTo>
                <a:lnTo>
                  <a:pt x="1155956" y="1173994"/>
                </a:lnTo>
                <a:lnTo>
                  <a:pt x="1127200" y="6036"/>
                </a:lnTo>
                <a:lnTo>
                  <a:pt x="8796" y="26465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7" name="Google Shape;1127;p53"/>
          <p:cNvSpPr/>
          <p:nvPr/>
        </p:nvSpPr>
        <p:spPr>
          <a:xfrm>
            <a:off x="11896925" y="6101882"/>
            <a:ext cx="411469" cy="1182279"/>
          </a:xfrm>
          <a:custGeom>
            <a:avLst/>
            <a:gdLst/>
            <a:ahLst/>
            <a:cxnLst/>
            <a:rect l="l" t="t" r="r" b="b"/>
            <a:pathLst>
              <a:path w="411469" h="1182279" extrusionOk="0">
                <a:moveTo>
                  <a:pt x="31650" y="1182279"/>
                </a:moveTo>
                <a:cubicBezTo>
                  <a:pt x="31288" y="1182279"/>
                  <a:pt x="30745" y="1182099"/>
                  <a:pt x="30384" y="1181918"/>
                </a:cubicBezTo>
                <a:cubicBezTo>
                  <a:pt x="29660" y="1181375"/>
                  <a:pt x="29118" y="1180651"/>
                  <a:pt x="29118" y="1179747"/>
                </a:cubicBezTo>
                <a:lnTo>
                  <a:pt x="0" y="2747"/>
                </a:lnTo>
                <a:cubicBezTo>
                  <a:pt x="0" y="1481"/>
                  <a:pt x="904" y="395"/>
                  <a:pt x="2170" y="34"/>
                </a:cubicBezTo>
                <a:cubicBezTo>
                  <a:pt x="3436" y="-147"/>
                  <a:pt x="4702" y="395"/>
                  <a:pt x="5245" y="1662"/>
                </a:cubicBezTo>
                <a:lnTo>
                  <a:pt x="411263" y="1013542"/>
                </a:lnTo>
                <a:cubicBezTo>
                  <a:pt x="411806" y="1014808"/>
                  <a:pt x="411263" y="1016436"/>
                  <a:pt x="409816" y="1016978"/>
                </a:cubicBezTo>
                <a:lnTo>
                  <a:pt x="32916" y="1182099"/>
                </a:lnTo>
                <a:cubicBezTo>
                  <a:pt x="32554" y="1182099"/>
                  <a:pt x="32011" y="1182279"/>
                  <a:pt x="31650" y="1182279"/>
                </a:cubicBezTo>
                <a:close/>
                <a:moveTo>
                  <a:pt x="5787" y="17396"/>
                </a:moveTo>
                <a:lnTo>
                  <a:pt x="34363" y="1175407"/>
                </a:lnTo>
                <a:lnTo>
                  <a:pt x="405295" y="1013000"/>
                </a:lnTo>
                <a:lnTo>
                  <a:pt x="5787" y="173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8" name="Google Shape;1128;p53"/>
          <p:cNvSpPr/>
          <p:nvPr/>
        </p:nvSpPr>
        <p:spPr>
          <a:xfrm>
            <a:off x="11667166" y="1647290"/>
            <a:ext cx="1578979" cy="908612"/>
          </a:xfrm>
          <a:custGeom>
            <a:avLst/>
            <a:gdLst/>
            <a:ahLst/>
            <a:cxnLst/>
            <a:rect l="l" t="t" r="r" b="b"/>
            <a:pathLst>
              <a:path w="1578979" h="908612" extrusionOk="0">
                <a:moveTo>
                  <a:pt x="1087733" y="908613"/>
                </a:moveTo>
                <a:cubicBezTo>
                  <a:pt x="1087191" y="908613"/>
                  <a:pt x="1086648" y="908432"/>
                  <a:pt x="1086106" y="908070"/>
                </a:cubicBezTo>
                <a:lnTo>
                  <a:pt x="978" y="4883"/>
                </a:lnTo>
                <a:cubicBezTo>
                  <a:pt x="74" y="4160"/>
                  <a:pt x="-288" y="2894"/>
                  <a:pt x="255" y="1809"/>
                </a:cubicBezTo>
                <a:cubicBezTo>
                  <a:pt x="617" y="723"/>
                  <a:pt x="1702" y="0"/>
                  <a:pt x="2787" y="0"/>
                </a:cubicBezTo>
                <a:lnTo>
                  <a:pt x="1576221" y="42320"/>
                </a:lnTo>
                <a:cubicBezTo>
                  <a:pt x="1577125" y="42501"/>
                  <a:pt x="1578029" y="42863"/>
                  <a:pt x="1578572" y="43767"/>
                </a:cubicBezTo>
                <a:cubicBezTo>
                  <a:pt x="1579115" y="44671"/>
                  <a:pt x="1579115" y="45575"/>
                  <a:pt x="1578572" y="46480"/>
                </a:cubicBezTo>
                <a:lnTo>
                  <a:pt x="1090446" y="907166"/>
                </a:lnTo>
                <a:cubicBezTo>
                  <a:pt x="1090084" y="907889"/>
                  <a:pt x="1089361" y="908251"/>
                  <a:pt x="1088637" y="908432"/>
                </a:cubicBezTo>
                <a:cubicBezTo>
                  <a:pt x="1088276" y="908613"/>
                  <a:pt x="1087914" y="908613"/>
                  <a:pt x="1087733" y="908613"/>
                </a:cubicBezTo>
                <a:close/>
                <a:moveTo>
                  <a:pt x="10383" y="5606"/>
                </a:moveTo>
                <a:lnTo>
                  <a:pt x="1087191" y="901559"/>
                </a:lnTo>
                <a:lnTo>
                  <a:pt x="1571519" y="47746"/>
                </a:lnTo>
                <a:lnTo>
                  <a:pt x="10383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9" name="Google Shape;1129;p53"/>
          <p:cNvSpPr/>
          <p:nvPr/>
        </p:nvSpPr>
        <p:spPr>
          <a:xfrm>
            <a:off x="11418169" y="3220227"/>
            <a:ext cx="800128" cy="326757"/>
          </a:xfrm>
          <a:custGeom>
            <a:avLst/>
            <a:gdLst/>
            <a:ahLst/>
            <a:cxnLst/>
            <a:rect l="l" t="t" r="r" b="b"/>
            <a:pathLst>
              <a:path w="800128" h="326757" extrusionOk="0">
                <a:moveTo>
                  <a:pt x="797241" y="326758"/>
                </a:moveTo>
                <a:cubicBezTo>
                  <a:pt x="797241" y="326758"/>
                  <a:pt x="797060" y="326758"/>
                  <a:pt x="797241" y="326758"/>
                </a:cubicBezTo>
                <a:lnTo>
                  <a:pt x="2385" y="231809"/>
                </a:lnTo>
                <a:cubicBezTo>
                  <a:pt x="1300" y="231628"/>
                  <a:pt x="215" y="230724"/>
                  <a:pt x="34" y="229639"/>
                </a:cubicBezTo>
                <a:cubicBezTo>
                  <a:pt x="-147" y="228554"/>
                  <a:pt x="396" y="227288"/>
                  <a:pt x="1481" y="226745"/>
                </a:cubicBezTo>
                <a:lnTo>
                  <a:pt x="431011" y="315"/>
                </a:lnTo>
                <a:cubicBezTo>
                  <a:pt x="431915" y="-227"/>
                  <a:pt x="433181" y="-46"/>
                  <a:pt x="434085" y="677"/>
                </a:cubicBezTo>
                <a:lnTo>
                  <a:pt x="799230" y="322056"/>
                </a:lnTo>
                <a:cubicBezTo>
                  <a:pt x="800134" y="322779"/>
                  <a:pt x="800315" y="324045"/>
                  <a:pt x="799954" y="325130"/>
                </a:cubicBezTo>
                <a:cubicBezTo>
                  <a:pt x="799411" y="326215"/>
                  <a:pt x="798326" y="326758"/>
                  <a:pt x="797241" y="326758"/>
                </a:cubicBezTo>
                <a:close/>
                <a:moveTo>
                  <a:pt x="11609" y="227469"/>
                </a:moveTo>
                <a:lnTo>
                  <a:pt x="789284" y="320428"/>
                </a:lnTo>
                <a:lnTo>
                  <a:pt x="431734" y="5922"/>
                </a:lnTo>
                <a:lnTo>
                  <a:pt x="11609" y="22746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0" name="Google Shape;1130;p53"/>
          <p:cNvSpPr/>
          <p:nvPr/>
        </p:nvSpPr>
        <p:spPr>
          <a:xfrm>
            <a:off x="7789351" y="5740322"/>
            <a:ext cx="391984" cy="486563"/>
          </a:xfrm>
          <a:custGeom>
            <a:avLst/>
            <a:gdLst/>
            <a:ahLst/>
            <a:cxnLst/>
            <a:rect l="l" t="t" r="r" b="b"/>
            <a:pathLst>
              <a:path w="391984" h="486563" extrusionOk="0">
                <a:moveTo>
                  <a:pt x="294981" y="486564"/>
                </a:moveTo>
                <a:cubicBezTo>
                  <a:pt x="294258" y="486564"/>
                  <a:pt x="293534" y="486202"/>
                  <a:pt x="292992" y="485478"/>
                </a:cubicBezTo>
                <a:lnTo>
                  <a:pt x="550" y="99897"/>
                </a:lnTo>
                <a:cubicBezTo>
                  <a:pt x="7" y="99173"/>
                  <a:pt x="-174" y="98269"/>
                  <a:pt x="188" y="97365"/>
                </a:cubicBezTo>
                <a:cubicBezTo>
                  <a:pt x="550" y="96461"/>
                  <a:pt x="1273" y="95918"/>
                  <a:pt x="1997" y="95556"/>
                </a:cubicBezTo>
                <a:lnTo>
                  <a:pt x="388664" y="65"/>
                </a:lnTo>
                <a:cubicBezTo>
                  <a:pt x="389568" y="-116"/>
                  <a:pt x="390472" y="65"/>
                  <a:pt x="391196" y="788"/>
                </a:cubicBezTo>
                <a:cubicBezTo>
                  <a:pt x="391919" y="1512"/>
                  <a:pt x="392100" y="2416"/>
                  <a:pt x="391919" y="3320"/>
                </a:cubicBezTo>
                <a:lnTo>
                  <a:pt x="297513" y="484393"/>
                </a:lnTo>
                <a:cubicBezTo>
                  <a:pt x="297332" y="485478"/>
                  <a:pt x="296428" y="486202"/>
                  <a:pt x="295524" y="486564"/>
                </a:cubicBezTo>
                <a:cubicBezTo>
                  <a:pt x="295524" y="486564"/>
                  <a:pt x="295162" y="486564"/>
                  <a:pt x="294981" y="486564"/>
                </a:cubicBezTo>
                <a:close/>
                <a:moveTo>
                  <a:pt x="7422" y="99897"/>
                </a:moveTo>
                <a:lnTo>
                  <a:pt x="293715" y="477521"/>
                </a:lnTo>
                <a:lnTo>
                  <a:pt x="386132" y="6395"/>
                </a:lnTo>
                <a:lnTo>
                  <a:pt x="7422" y="998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1" name="Google Shape;1131;p53"/>
          <p:cNvSpPr/>
          <p:nvPr/>
        </p:nvSpPr>
        <p:spPr>
          <a:xfrm>
            <a:off x="7789358" y="5296887"/>
            <a:ext cx="392092" cy="544417"/>
          </a:xfrm>
          <a:custGeom>
            <a:avLst/>
            <a:gdLst/>
            <a:ahLst/>
            <a:cxnLst/>
            <a:rect l="l" t="t" r="r" b="b"/>
            <a:pathLst>
              <a:path w="392092" h="544417" extrusionOk="0">
                <a:moveTo>
                  <a:pt x="2532" y="544417"/>
                </a:moveTo>
                <a:cubicBezTo>
                  <a:pt x="1809" y="544417"/>
                  <a:pt x="904" y="543875"/>
                  <a:pt x="543" y="543332"/>
                </a:cubicBezTo>
                <a:cubicBezTo>
                  <a:pt x="-181" y="542428"/>
                  <a:pt x="-181" y="541162"/>
                  <a:pt x="543" y="540258"/>
                </a:cubicBezTo>
                <a:lnTo>
                  <a:pt x="361890" y="1130"/>
                </a:lnTo>
                <a:cubicBezTo>
                  <a:pt x="362613" y="226"/>
                  <a:pt x="363698" y="-136"/>
                  <a:pt x="364784" y="45"/>
                </a:cubicBezTo>
                <a:cubicBezTo>
                  <a:pt x="365869" y="407"/>
                  <a:pt x="366773" y="1311"/>
                  <a:pt x="366773" y="2577"/>
                </a:cubicBezTo>
                <a:lnTo>
                  <a:pt x="392093" y="446213"/>
                </a:lnTo>
                <a:cubicBezTo>
                  <a:pt x="392093" y="447479"/>
                  <a:pt x="391369" y="448745"/>
                  <a:pt x="390103" y="448926"/>
                </a:cubicBezTo>
                <a:lnTo>
                  <a:pt x="3436" y="544417"/>
                </a:lnTo>
                <a:cubicBezTo>
                  <a:pt x="3075" y="544417"/>
                  <a:pt x="2894" y="544417"/>
                  <a:pt x="2532" y="544417"/>
                </a:cubicBezTo>
                <a:close/>
                <a:moveTo>
                  <a:pt x="361890" y="10716"/>
                </a:moveTo>
                <a:lnTo>
                  <a:pt x="8862" y="537364"/>
                </a:lnTo>
                <a:lnTo>
                  <a:pt x="386667" y="444043"/>
                </a:lnTo>
                <a:lnTo>
                  <a:pt x="361890" y="1071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2" name="Google Shape;1132;p53"/>
          <p:cNvSpPr/>
          <p:nvPr/>
        </p:nvSpPr>
        <p:spPr>
          <a:xfrm>
            <a:off x="11223604" y="5365565"/>
            <a:ext cx="619269" cy="322445"/>
          </a:xfrm>
          <a:custGeom>
            <a:avLst/>
            <a:gdLst/>
            <a:ahLst/>
            <a:cxnLst/>
            <a:rect l="l" t="t" r="r" b="b"/>
            <a:pathLst>
              <a:path w="619269" h="322445" extrusionOk="0">
                <a:moveTo>
                  <a:pt x="2532" y="322375"/>
                </a:moveTo>
                <a:cubicBezTo>
                  <a:pt x="1808" y="322375"/>
                  <a:pt x="1266" y="322013"/>
                  <a:pt x="723" y="321471"/>
                </a:cubicBezTo>
                <a:cubicBezTo>
                  <a:pt x="0" y="320747"/>
                  <a:pt x="-181" y="319662"/>
                  <a:pt x="181" y="318758"/>
                </a:cubicBezTo>
                <a:lnTo>
                  <a:pt x="100917" y="1901"/>
                </a:lnTo>
                <a:cubicBezTo>
                  <a:pt x="101278" y="454"/>
                  <a:pt x="102906" y="-270"/>
                  <a:pt x="104353" y="92"/>
                </a:cubicBezTo>
                <a:lnTo>
                  <a:pt x="617437" y="160691"/>
                </a:lnTo>
                <a:cubicBezTo>
                  <a:pt x="618522" y="161053"/>
                  <a:pt x="619427" y="162138"/>
                  <a:pt x="619246" y="163404"/>
                </a:cubicBezTo>
                <a:cubicBezTo>
                  <a:pt x="619246" y="164670"/>
                  <a:pt x="618342" y="165574"/>
                  <a:pt x="617257" y="165936"/>
                </a:cubicBezTo>
                <a:lnTo>
                  <a:pt x="3436" y="322013"/>
                </a:lnTo>
                <a:cubicBezTo>
                  <a:pt x="3074" y="322375"/>
                  <a:pt x="2713" y="322556"/>
                  <a:pt x="2532" y="322375"/>
                </a:cubicBezTo>
                <a:close/>
                <a:moveTo>
                  <a:pt x="105076" y="6241"/>
                </a:moveTo>
                <a:lnTo>
                  <a:pt x="6511" y="315864"/>
                </a:lnTo>
                <a:lnTo>
                  <a:pt x="606405" y="163223"/>
                </a:lnTo>
                <a:lnTo>
                  <a:pt x="105076" y="6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3" name="Google Shape;1133;p53"/>
          <p:cNvSpPr/>
          <p:nvPr/>
        </p:nvSpPr>
        <p:spPr>
          <a:xfrm>
            <a:off x="11389267" y="4298327"/>
            <a:ext cx="928173" cy="363625"/>
          </a:xfrm>
          <a:custGeom>
            <a:avLst/>
            <a:gdLst/>
            <a:ahLst/>
            <a:cxnLst/>
            <a:rect l="l" t="t" r="r" b="b"/>
            <a:pathLst>
              <a:path w="928173" h="363625" extrusionOk="0">
                <a:moveTo>
                  <a:pt x="204185" y="363626"/>
                </a:moveTo>
                <a:cubicBezTo>
                  <a:pt x="204004" y="363626"/>
                  <a:pt x="203823" y="363626"/>
                  <a:pt x="203461" y="363445"/>
                </a:cubicBezTo>
                <a:lnTo>
                  <a:pt x="1808" y="296348"/>
                </a:lnTo>
                <a:cubicBezTo>
                  <a:pt x="723" y="295986"/>
                  <a:pt x="0" y="294901"/>
                  <a:pt x="0" y="293816"/>
                </a:cubicBezTo>
                <a:cubicBezTo>
                  <a:pt x="0" y="292731"/>
                  <a:pt x="723" y="291646"/>
                  <a:pt x="1808" y="291284"/>
                </a:cubicBezTo>
                <a:lnTo>
                  <a:pt x="924709" y="109"/>
                </a:lnTo>
                <a:cubicBezTo>
                  <a:pt x="926156" y="-253"/>
                  <a:pt x="927422" y="289"/>
                  <a:pt x="927964" y="1736"/>
                </a:cubicBezTo>
                <a:cubicBezTo>
                  <a:pt x="928507" y="3002"/>
                  <a:pt x="927964" y="4449"/>
                  <a:pt x="926699" y="5172"/>
                </a:cubicBezTo>
                <a:lnTo>
                  <a:pt x="205270" y="363445"/>
                </a:lnTo>
                <a:cubicBezTo>
                  <a:pt x="205089" y="363626"/>
                  <a:pt x="204546" y="363626"/>
                  <a:pt x="204185" y="363626"/>
                </a:cubicBezTo>
                <a:close/>
                <a:moveTo>
                  <a:pt x="11394" y="293997"/>
                </a:moveTo>
                <a:lnTo>
                  <a:pt x="204004" y="358019"/>
                </a:lnTo>
                <a:lnTo>
                  <a:pt x="893421" y="15662"/>
                </a:lnTo>
                <a:lnTo>
                  <a:pt x="11394" y="2939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4" name="Google Shape;1134;p53"/>
          <p:cNvSpPr/>
          <p:nvPr/>
        </p:nvSpPr>
        <p:spPr>
          <a:xfrm>
            <a:off x="10409171" y="5271606"/>
            <a:ext cx="269818" cy="451816"/>
          </a:xfrm>
          <a:custGeom>
            <a:avLst/>
            <a:gdLst/>
            <a:ahLst/>
            <a:cxnLst/>
            <a:rect l="l" t="t" r="r" b="b"/>
            <a:pathLst>
              <a:path w="269818" h="451816" extrusionOk="0">
                <a:moveTo>
                  <a:pt x="70759" y="451782"/>
                </a:moveTo>
                <a:cubicBezTo>
                  <a:pt x="70578" y="451782"/>
                  <a:pt x="70578" y="451782"/>
                  <a:pt x="70398" y="451782"/>
                </a:cubicBezTo>
                <a:cubicBezTo>
                  <a:pt x="69313" y="451601"/>
                  <a:pt x="68408" y="450697"/>
                  <a:pt x="68228" y="449612"/>
                </a:cubicBezTo>
                <a:lnTo>
                  <a:pt x="45" y="3082"/>
                </a:lnTo>
                <a:cubicBezTo>
                  <a:pt x="-136" y="2178"/>
                  <a:pt x="226" y="1093"/>
                  <a:pt x="1130" y="550"/>
                </a:cubicBezTo>
                <a:cubicBezTo>
                  <a:pt x="1854" y="7"/>
                  <a:pt x="2939" y="-174"/>
                  <a:pt x="3843" y="188"/>
                </a:cubicBezTo>
                <a:lnTo>
                  <a:pt x="268253" y="112318"/>
                </a:lnTo>
                <a:cubicBezTo>
                  <a:pt x="268976" y="112680"/>
                  <a:pt x="269518" y="113222"/>
                  <a:pt x="269699" y="113946"/>
                </a:cubicBezTo>
                <a:cubicBezTo>
                  <a:pt x="269880" y="114669"/>
                  <a:pt x="269880" y="115392"/>
                  <a:pt x="269518" y="116116"/>
                </a:cubicBezTo>
                <a:lnTo>
                  <a:pt x="73291" y="450516"/>
                </a:lnTo>
                <a:cubicBezTo>
                  <a:pt x="72749" y="451420"/>
                  <a:pt x="71845" y="451962"/>
                  <a:pt x="70759" y="451782"/>
                </a:cubicBezTo>
                <a:close/>
                <a:moveTo>
                  <a:pt x="6194" y="7061"/>
                </a:moveTo>
                <a:lnTo>
                  <a:pt x="72387" y="441292"/>
                </a:lnTo>
                <a:lnTo>
                  <a:pt x="263369" y="116116"/>
                </a:lnTo>
                <a:lnTo>
                  <a:pt x="6194" y="706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5" name="Google Shape;1135;p53"/>
          <p:cNvSpPr/>
          <p:nvPr/>
        </p:nvSpPr>
        <p:spPr>
          <a:xfrm>
            <a:off x="10477563" y="5383743"/>
            <a:ext cx="477787" cy="508562"/>
          </a:xfrm>
          <a:custGeom>
            <a:avLst/>
            <a:gdLst/>
            <a:ahLst/>
            <a:cxnLst/>
            <a:rect l="l" t="t" r="r" b="b"/>
            <a:pathLst>
              <a:path w="477787" h="508562" extrusionOk="0">
                <a:moveTo>
                  <a:pt x="474940" y="508563"/>
                </a:moveTo>
                <a:cubicBezTo>
                  <a:pt x="474759" y="508563"/>
                  <a:pt x="474398" y="508563"/>
                  <a:pt x="474217" y="508382"/>
                </a:cubicBezTo>
                <a:lnTo>
                  <a:pt x="1825" y="339645"/>
                </a:lnTo>
                <a:cubicBezTo>
                  <a:pt x="1101" y="339464"/>
                  <a:pt x="559" y="338740"/>
                  <a:pt x="197" y="338017"/>
                </a:cubicBezTo>
                <a:cubicBezTo>
                  <a:pt x="-164" y="337293"/>
                  <a:pt x="16" y="336389"/>
                  <a:pt x="378" y="335666"/>
                </a:cubicBezTo>
                <a:lnTo>
                  <a:pt x="196605" y="1266"/>
                </a:lnTo>
                <a:cubicBezTo>
                  <a:pt x="197148" y="362"/>
                  <a:pt x="198052" y="0"/>
                  <a:pt x="198956" y="0"/>
                </a:cubicBezTo>
                <a:cubicBezTo>
                  <a:pt x="199861" y="0"/>
                  <a:pt x="200765" y="543"/>
                  <a:pt x="201307" y="1447"/>
                </a:cubicBezTo>
                <a:lnTo>
                  <a:pt x="477472" y="504584"/>
                </a:lnTo>
                <a:cubicBezTo>
                  <a:pt x="478015" y="505488"/>
                  <a:pt x="477834" y="506754"/>
                  <a:pt x="477111" y="507659"/>
                </a:cubicBezTo>
                <a:cubicBezTo>
                  <a:pt x="476568" y="508201"/>
                  <a:pt x="475664" y="508563"/>
                  <a:pt x="474940" y="508563"/>
                </a:cubicBezTo>
                <a:close/>
                <a:moveTo>
                  <a:pt x="6527" y="335485"/>
                </a:moveTo>
                <a:lnTo>
                  <a:pt x="469153" y="500786"/>
                </a:lnTo>
                <a:lnTo>
                  <a:pt x="198775" y="7958"/>
                </a:lnTo>
                <a:lnTo>
                  <a:pt x="6527" y="3354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6" name="Google Shape;1136;p53"/>
          <p:cNvSpPr/>
          <p:nvPr/>
        </p:nvSpPr>
        <p:spPr>
          <a:xfrm>
            <a:off x="10673852" y="5383799"/>
            <a:ext cx="555177" cy="508505"/>
          </a:xfrm>
          <a:custGeom>
            <a:avLst/>
            <a:gdLst/>
            <a:ahLst/>
            <a:cxnLst/>
            <a:rect l="l" t="t" r="r" b="b"/>
            <a:pathLst>
              <a:path w="555177" h="508505" extrusionOk="0">
                <a:moveTo>
                  <a:pt x="278651" y="508506"/>
                </a:moveTo>
                <a:cubicBezTo>
                  <a:pt x="278470" y="508506"/>
                  <a:pt x="278470" y="508506"/>
                  <a:pt x="278289" y="508506"/>
                </a:cubicBezTo>
                <a:cubicBezTo>
                  <a:pt x="277565" y="508325"/>
                  <a:pt x="276842" y="507783"/>
                  <a:pt x="276480" y="507240"/>
                </a:cubicBezTo>
                <a:lnTo>
                  <a:pt x="315" y="4103"/>
                </a:lnTo>
                <a:cubicBezTo>
                  <a:pt x="-227" y="3018"/>
                  <a:pt x="-46" y="1752"/>
                  <a:pt x="677" y="848"/>
                </a:cubicBezTo>
                <a:cubicBezTo>
                  <a:pt x="1582" y="-57"/>
                  <a:pt x="2847" y="-237"/>
                  <a:pt x="3933" y="305"/>
                </a:cubicBezTo>
                <a:lnTo>
                  <a:pt x="553730" y="299258"/>
                </a:lnTo>
                <a:cubicBezTo>
                  <a:pt x="554635" y="299619"/>
                  <a:pt x="554996" y="300523"/>
                  <a:pt x="555177" y="301428"/>
                </a:cubicBezTo>
                <a:cubicBezTo>
                  <a:pt x="555177" y="302332"/>
                  <a:pt x="554815" y="303236"/>
                  <a:pt x="554092" y="303779"/>
                </a:cubicBezTo>
                <a:lnTo>
                  <a:pt x="280459" y="507963"/>
                </a:lnTo>
                <a:cubicBezTo>
                  <a:pt x="279917" y="508325"/>
                  <a:pt x="279193" y="508506"/>
                  <a:pt x="278651" y="508506"/>
                </a:cubicBezTo>
                <a:close/>
                <a:moveTo>
                  <a:pt x="9358" y="9348"/>
                </a:moveTo>
                <a:lnTo>
                  <a:pt x="279555" y="501814"/>
                </a:lnTo>
                <a:lnTo>
                  <a:pt x="547400" y="301970"/>
                </a:lnTo>
                <a:lnTo>
                  <a:pt x="9358" y="93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7" name="Google Shape;1137;p53"/>
          <p:cNvSpPr/>
          <p:nvPr/>
        </p:nvSpPr>
        <p:spPr>
          <a:xfrm>
            <a:off x="10673876" y="5365657"/>
            <a:ext cx="655897" cy="322353"/>
          </a:xfrm>
          <a:custGeom>
            <a:avLst/>
            <a:gdLst/>
            <a:ahLst/>
            <a:cxnLst/>
            <a:rect l="l" t="t" r="r" b="b"/>
            <a:pathLst>
              <a:path w="655897" h="322353" extrusionOk="0">
                <a:moveTo>
                  <a:pt x="552260" y="322283"/>
                </a:moveTo>
                <a:cubicBezTo>
                  <a:pt x="551899" y="322283"/>
                  <a:pt x="551537" y="322102"/>
                  <a:pt x="551175" y="321921"/>
                </a:cubicBezTo>
                <a:lnTo>
                  <a:pt x="1377" y="22969"/>
                </a:lnTo>
                <a:cubicBezTo>
                  <a:pt x="292" y="22426"/>
                  <a:pt x="-250" y="21160"/>
                  <a:pt x="112" y="19894"/>
                </a:cubicBezTo>
                <a:cubicBezTo>
                  <a:pt x="473" y="18628"/>
                  <a:pt x="1377" y="17905"/>
                  <a:pt x="2644" y="17905"/>
                </a:cubicBezTo>
                <a:lnTo>
                  <a:pt x="653177" y="0"/>
                </a:lnTo>
                <a:cubicBezTo>
                  <a:pt x="654082" y="0"/>
                  <a:pt x="654805" y="362"/>
                  <a:pt x="655347" y="1085"/>
                </a:cubicBezTo>
                <a:cubicBezTo>
                  <a:pt x="655890" y="1809"/>
                  <a:pt x="656071" y="2713"/>
                  <a:pt x="655709" y="3436"/>
                </a:cubicBezTo>
                <a:lnTo>
                  <a:pt x="554973" y="320293"/>
                </a:lnTo>
                <a:cubicBezTo>
                  <a:pt x="554792" y="321017"/>
                  <a:pt x="554250" y="321740"/>
                  <a:pt x="553346" y="321921"/>
                </a:cubicBezTo>
                <a:cubicBezTo>
                  <a:pt x="552984" y="322283"/>
                  <a:pt x="552622" y="322463"/>
                  <a:pt x="552260" y="322283"/>
                </a:cubicBezTo>
                <a:close/>
                <a:moveTo>
                  <a:pt x="12771" y="23149"/>
                </a:moveTo>
                <a:lnTo>
                  <a:pt x="550814" y="315772"/>
                </a:lnTo>
                <a:lnTo>
                  <a:pt x="649379" y="5606"/>
                </a:lnTo>
                <a:lnTo>
                  <a:pt x="12771" y="231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8" name="Google Shape;1138;p53"/>
          <p:cNvSpPr/>
          <p:nvPr/>
        </p:nvSpPr>
        <p:spPr>
          <a:xfrm>
            <a:off x="8150705" y="5296786"/>
            <a:ext cx="365687" cy="449027"/>
          </a:xfrm>
          <a:custGeom>
            <a:avLst/>
            <a:gdLst/>
            <a:ahLst/>
            <a:cxnLst/>
            <a:rect l="l" t="t" r="r" b="b"/>
            <a:pathLst>
              <a:path w="365687" h="449027" extrusionOk="0">
                <a:moveTo>
                  <a:pt x="27852" y="449028"/>
                </a:moveTo>
                <a:cubicBezTo>
                  <a:pt x="27490" y="449028"/>
                  <a:pt x="27128" y="448847"/>
                  <a:pt x="26767" y="448666"/>
                </a:cubicBezTo>
                <a:cubicBezTo>
                  <a:pt x="26043" y="448123"/>
                  <a:pt x="25501" y="447400"/>
                  <a:pt x="25320" y="446496"/>
                </a:cubicBezTo>
                <a:lnTo>
                  <a:pt x="0" y="2860"/>
                </a:lnTo>
                <a:cubicBezTo>
                  <a:pt x="0" y="1774"/>
                  <a:pt x="543" y="870"/>
                  <a:pt x="1447" y="328"/>
                </a:cubicBezTo>
                <a:cubicBezTo>
                  <a:pt x="2351" y="-215"/>
                  <a:pt x="3436" y="-34"/>
                  <a:pt x="4341" y="508"/>
                </a:cubicBezTo>
                <a:lnTo>
                  <a:pt x="364603" y="265460"/>
                </a:lnTo>
                <a:cubicBezTo>
                  <a:pt x="365326" y="266003"/>
                  <a:pt x="365688" y="266907"/>
                  <a:pt x="365688" y="267811"/>
                </a:cubicBezTo>
                <a:cubicBezTo>
                  <a:pt x="365688" y="268716"/>
                  <a:pt x="365145" y="269620"/>
                  <a:pt x="364241" y="269981"/>
                </a:cubicBezTo>
                <a:lnTo>
                  <a:pt x="29298" y="448666"/>
                </a:lnTo>
                <a:cubicBezTo>
                  <a:pt x="28937" y="448847"/>
                  <a:pt x="28394" y="449028"/>
                  <a:pt x="27852" y="449028"/>
                </a:cubicBezTo>
                <a:close/>
                <a:moveTo>
                  <a:pt x="5607" y="8104"/>
                </a:moveTo>
                <a:lnTo>
                  <a:pt x="30384" y="441793"/>
                </a:lnTo>
                <a:lnTo>
                  <a:pt x="357730" y="267088"/>
                </a:lnTo>
                <a:lnTo>
                  <a:pt x="5607" y="810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9" name="Google Shape;1139;p53"/>
          <p:cNvSpPr/>
          <p:nvPr/>
        </p:nvSpPr>
        <p:spPr>
          <a:xfrm>
            <a:off x="9671101" y="3931462"/>
            <a:ext cx="559634" cy="144884"/>
          </a:xfrm>
          <a:custGeom>
            <a:avLst/>
            <a:gdLst/>
            <a:ahLst/>
            <a:cxnLst/>
            <a:rect l="l" t="t" r="r" b="b"/>
            <a:pathLst>
              <a:path w="559634" h="144884" extrusionOk="0">
                <a:moveTo>
                  <a:pt x="18134" y="144884"/>
                </a:moveTo>
                <a:cubicBezTo>
                  <a:pt x="17591" y="144884"/>
                  <a:pt x="17229" y="144703"/>
                  <a:pt x="16868" y="144522"/>
                </a:cubicBezTo>
                <a:cubicBezTo>
                  <a:pt x="16144" y="144161"/>
                  <a:pt x="15782" y="143437"/>
                  <a:pt x="15782" y="142714"/>
                </a:cubicBezTo>
                <a:lnTo>
                  <a:pt x="48" y="33840"/>
                </a:lnTo>
                <a:cubicBezTo>
                  <a:pt x="-133" y="33116"/>
                  <a:pt x="229" y="32393"/>
                  <a:pt x="591" y="31669"/>
                </a:cubicBezTo>
                <a:cubicBezTo>
                  <a:pt x="1133" y="31127"/>
                  <a:pt x="1857" y="30765"/>
                  <a:pt x="2580" y="30765"/>
                </a:cubicBezTo>
                <a:lnTo>
                  <a:pt x="556718" y="20"/>
                </a:lnTo>
                <a:cubicBezTo>
                  <a:pt x="558165" y="-161"/>
                  <a:pt x="559250" y="924"/>
                  <a:pt x="559612" y="2371"/>
                </a:cubicBezTo>
                <a:cubicBezTo>
                  <a:pt x="559793" y="3818"/>
                  <a:pt x="558889" y="5084"/>
                  <a:pt x="557623" y="5445"/>
                </a:cubicBezTo>
                <a:lnTo>
                  <a:pt x="19219" y="144884"/>
                </a:lnTo>
                <a:cubicBezTo>
                  <a:pt x="18676" y="144884"/>
                  <a:pt x="18495" y="144884"/>
                  <a:pt x="18134" y="144884"/>
                </a:cubicBezTo>
                <a:close/>
                <a:moveTo>
                  <a:pt x="5655" y="35829"/>
                </a:moveTo>
                <a:lnTo>
                  <a:pt x="20665" y="138735"/>
                </a:lnTo>
                <a:lnTo>
                  <a:pt x="529952" y="6712"/>
                </a:lnTo>
                <a:lnTo>
                  <a:pt x="5655" y="3582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0" name="Google Shape;1140;p53"/>
          <p:cNvSpPr/>
          <p:nvPr/>
        </p:nvSpPr>
        <p:spPr>
          <a:xfrm>
            <a:off x="7614788" y="4827769"/>
            <a:ext cx="755067" cy="291926"/>
          </a:xfrm>
          <a:custGeom>
            <a:avLst/>
            <a:gdLst/>
            <a:ahLst/>
            <a:cxnLst/>
            <a:rect l="l" t="t" r="r" b="b"/>
            <a:pathLst>
              <a:path w="755067" h="291926" extrusionOk="0">
                <a:moveTo>
                  <a:pt x="287242" y="291927"/>
                </a:moveTo>
                <a:cubicBezTo>
                  <a:pt x="286700" y="291927"/>
                  <a:pt x="286338" y="291746"/>
                  <a:pt x="285795" y="291384"/>
                </a:cubicBezTo>
                <a:lnTo>
                  <a:pt x="1130" y="93891"/>
                </a:lnTo>
                <a:cubicBezTo>
                  <a:pt x="226" y="93348"/>
                  <a:pt x="-136" y="92083"/>
                  <a:pt x="45" y="90997"/>
                </a:cubicBezTo>
                <a:cubicBezTo>
                  <a:pt x="407" y="89912"/>
                  <a:pt x="1311" y="89189"/>
                  <a:pt x="2396" y="89008"/>
                </a:cubicBezTo>
                <a:lnTo>
                  <a:pt x="752038" y="27"/>
                </a:lnTo>
                <a:cubicBezTo>
                  <a:pt x="753304" y="-153"/>
                  <a:pt x="754570" y="570"/>
                  <a:pt x="754932" y="1836"/>
                </a:cubicBezTo>
                <a:cubicBezTo>
                  <a:pt x="755294" y="3102"/>
                  <a:pt x="754932" y="4368"/>
                  <a:pt x="753847" y="5091"/>
                </a:cubicBezTo>
                <a:lnTo>
                  <a:pt x="288689" y="291565"/>
                </a:lnTo>
                <a:cubicBezTo>
                  <a:pt x="288327" y="291746"/>
                  <a:pt x="287785" y="291927"/>
                  <a:pt x="287242" y="291927"/>
                </a:cubicBezTo>
                <a:close/>
                <a:moveTo>
                  <a:pt x="9992" y="93529"/>
                </a:moveTo>
                <a:lnTo>
                  <a:pt x="287423" y="285959"/>
                </a:lnTo>
                <a:lnTo>
                  <a:pt x="740464" y="6719"/>
                </a:lnTo>
                <a:lnTo>
                  <a:pt x="9992" y="9352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1" name="Google Shape;1141;p53"/>
          <p:cNvSpPr/>
          <p:nvPr/>
        </p:nvSpPr>
        <p:spPr>
          <a:xfrm>
            <a:off x="7789511" y="5114443"/>
            <a:ext cx="366634" cy="726861"/>
          </a:xfrm>
          <a:custGeom>
            <a:avLst/>
            <a:gdLst/>
            <a:ahLst/>
            <a:cxnLst/>
            <a:rect l="l" t="t" r="r" b="b"/>
            <a:pathLst>
              <a:path w="366634" h="726861" extrusionOk="0">
                <a:moveTo>
                  <a:pt x="2379" y="726861"/>
                </a:moveTo>
                <a:cubicBezTo>
                  <a:pt x="2017" y="726861"/>
                  <a:pt x="1836" y="726861"/>
                  <a:pt x="1655" y="726680"/>
                </a:cubicBezTo>
                <a:cubicBezTo>
                  <a:pt x="570" y="726138"/>
                  <a:pt x="-153" y="725053"/>
                  <a:pt x="28" y="723787"/>
                </a:cubicBezTo>
                <a:lnTo>
                  <a:pt x="109987" y="2177"/>
                </a:lnTo>
                <a:cubicBezTo>
                  <a:pt x="110168" y="1273"/>
                  <a:pt x="110711" y="369"/>
                  <a:pt x="111615" y="188"/>
                </a:cubicBezTo>
                <a:cubicBezTo>
                  <a:pt x="112519" y="-173"/>
                  <a:pt x="113423" y="7"/>
                  <a:pt x="114328" y="550"/>
                </a:cubicBezTo>
                <a:lnTo>
                  <a:pt x="365535" y="183032"/>
                </a:lnTo>
                <a:cubicBezTo>
                  <a:pt x="366620" y="183936"/>
                  <a:pt x="366982" y="185564"/>
                  <a:pt x="366258" y="186649"/>
                </a:cubicBezTo>
                <a:lnTo>
                  <a:pt x="4911" y="725776"/>
                </a:lnTo>
                <a:cubicBezTo>
                  <a:pt x="4187" y="726500"/>
                  <a:pt x="3283" y="726861"/>
                  <a:pt x="2379" y="726861"/>
                </a:cubicBezTo>
                <a:close/>
                <a:moveTo>
                  <a:pt x="114689" y="7241"/>
                </a:moveTo>
                <a:lnTo>
                  <a:pt x="7081" y="712574"/>
                </a:lnTo>
                <a:lnTo>
                  <a:pt x="360290" y="185564"/>
                </a:lnTo>
                <a:lnTo>
                  <a:pt x="114689" y="7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2" name="Google Shape;1142;p53"/>
          <p:cNvSpPr/>
          <p:nvPr/>
        </p:nvSpPr>
        <p:spPr>
          <a:xfrm>
            <a:off x="7899498" y="4827409"/>
            <a:ext cx="470396" cy="474667"/>
          </a:xfrm>
          <a:custGeom>
            <a:avLst/>
            <a:gdLst/>
            <a:ahLst/>
            <a:cxnLst/>
            <a:rect l="l" t="t" r="r" b="b"/>
            <a:pathLst>
              <a:path w="470396" h="474667" extrusionOk="0">
                <a:moveTo>
                  <a:pt x="253739" y="474587"/>
                </a:moveTo>
                <a:cubicBezTo>
                  <a:pt x="253196" y="474587"/>
                  <a:pt x="252835" y="474406"/>
                  <a:pt x="252292" y="474045"/>
                </a:cubicBezTo>
                <a:lnTo>
                  <a:pt x="1085" y="291562"/>
                </a:lnTo>
                <a:cubicBezTo>
                  <a:pt x="362" y="291020"/>
                  <a:pt x="0" y="290116"/>
                  <a:pt x="0" y="289211"/>
                </a:cubicBezTo>
                <a:cubicBezTo>
                  <a:pt x="0" y="288307"/>
                  <a:pt x="543" y="287584"/>
                  <a:pt x="1266" y="287041"/>
                </a:cubicBezTo>
                <a:lnTo>
                  <a:pt x="466243" y="387"/>
                </a:lnTo>
                <a:cubicBezTo>
                  <a:pt x="467147" y="-156"/>
                  <a:pt x="468594" y="-156"/>
                  <a:pt x="469498" y="568"/>
                </a:cubicBezTo>
                <a:cubicBezTo>
                  <a:pt x="470403" y="1291"/>
                  <a:pt x="470583" y="2557"/>
                  <a:pt x="470222" y="3642"/>
                </a:cubicBezTo>
                <a:lnTo>
                  <a:pt x="256271" y="473140"/>
                </a:lnTo>
                <a:cubicBezTo>
                  <a:pt x="255909" y="473864"/>
                  <a:pt x="255367" y="474406"/>
                  <a:pt x="254462" y="474587"/>
                </a:cubicBezTo>
                <a:cubicBezTo>
                  <a:pt x="254281" y="474587"/>
                  <a:pt x="253920" y="474768"/>
                  <a:pt x="253739" y="474587"/>
                </a:cubicBezTo>
                <a:close/>
                <a:moveTo>
                  <a:pt x="7415" y="289754"/>
                </a:moveTo>
                <a:lnTo>
                  <a:pt x="252835" y="467896"/>
                </a:lnTo>
                <a:lnTo>
                  <a:pt x="461541" y="9972"/>
                </a:lnTo>
                <a:lnTo>
                  <a:pt x="7415" y="2897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3" name="Google Shape;1143;p53"/>
          <p:cNvSpPr/>
          <p:nvPr/>
        </p:nvSpPr>
        <p:spPr>
          <a:xfrm>
            <a:off x="8150453" y="4827912"/>
            <a:ext cx="796909" cy="534490"/>
          </a:xfrm>
          <a:custGeom>
            <a:avLst/>
            <a:gdLst/>
            <a:ahLst/>
            <a:cxnLst/>
            <a:rect l="l" t="t" r="r" b="b"/>
            <a:pathLst>
              <a:path w="796909" h="534490" extrusionOk="0">
                <a:moveTo>
                  <a:pt x="794022" y="534490"/>
                </a:moveTo>
                <a:cubicBezTo>
                  <a:pt x="794022" y="534490"/>
                  <a:pt x="794022" y="534490"/>
                  <a:pt x="794022" y="534490"/>
                </a:cubicBezTo>
                <a:lnTo>
                  <a:pt x="2603" y="474266"/>
                </a:lnTo>
                <a:cubicBezTo>
                  <a:pt x="1699" y="474266"/>
                  <a:pt x="975" y="473723"/>
                  <a:pt x="433" y="473000"/>
                </a:cubicBezTo>
                <a:cubicBezTo>
                  <a:pt x="-110" y="472276"/>
                  <a:pt x="-110" y="471372"/>
                  <a:pt x="252" y="470468"/>
                </a:cubicBezTo>
                <a:lnTo>
                  <a:pt x="214022" y="1512"/>
                </a:lnTo>
                <a:cubicBezTo>
                  <a:pt x="214384" y="789"/>
                  <a:pt x="215107" y="246"/>
                  <a:pt x="216011" y="65"/>
                </a:cubicBezTo>
                <a:cubicBezTo>
                  <a:pt x="216916" y="-116"/>
                  <a:pt x="217639" y="65"/>
                  <a:pt x="218363" y="789"/>
                </a:cubicBezTo>
                <a:lnTo>
                  <a:pt x="796012" y="530150"/>
                </a:lnTo>
                <a:cubicBezTo>
                  <a:pt x="796916" y="530873"/>
                  <a:pt x="797097" y="532139"/>
                  <a:pt x="796735" y="533224"/>
                </a:cubicBezTo>
                <a:cubicBezTo>
                  <a:pt x="796193" y="533947"/>
                  <a:pt x="795288" y="534490"/>
                  <a:pt x="794022" y="534490"/>
                </a:cubicBezTo>
                <a:close/>
                <a:moveTo>
                  <a:pt x="6944" y="469021"/>
                </a:moveTo>
                <a:lnTo>
                  <a:pt x="786607" y="528341"/>
                </a:lnTo>
                <a:lnTo>
                  <a:pt x="217458" y="6757"/>
                </a:lnTo>
                <a:lnTo>
                  <a:pt x="6944" y="46902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4" name="Google Shape;1144;p53"/>
          <p:cNvSpPr/>
          <p:nvPr/>
        </p:nvSpPr>
        <p:spPr>
          <a:xfrm>
            <a:off x="8150747" y="5296752"/>
            <a:ext cx="796475" cy="270377"/>
          </a:xfrm>
          <a:custGeom>
            <a:avLst/>
            <a:gdLst/>
            <a:ahLst/>
            <a:cxnLst/>
            <a:rect l="l" t="t" r="r" b="b"/>
            <a:pathLst>
              <a:path w="796475" h="270377" extrusionOk="0">
                <a:moveTo>
                  <a:pt x="362752" y="270377"/>
                </a:moveTo>
                <a:cubicBezTo>
                  <a:pt x="362209" y="270377"/>
                  <a:pt x="361667" y="270197"/>
                  <a:pt x="361305" y="269835"/>
                </a:cubicBezTo>
                <a:lnTo>
                  <a:pt x="1043" y="4883"/>
                </a:lnTo>
                <a:cubicBezTo>
                  <a:pt x="139" y="4160"/>
                  <a:pt x="-223" y="2894"/>
                  <a:pt x="139" y="1808"/>
                </a:cubicBezTo>
                <a:cubicBezTo>
                  <a:pt x="500" y="723"/>
                  <a:pt x="1585" y="0"/>
                  <a:pt x="2851" y="0"/>
                </a:cubicBezTo>
                <a:cubicBezTo>
                  <a:pt x="2851" y="0"/>
                  <a:pt x="2851" y="0"/>
                  <a:pt x="2851" y="0"/>
                </a:cubicBezTo>
                <a:lnTo>
                  <a:pt x="794090" y="60225"/>
                </a:lnTo>
                <a:cubicBezTo>
                  <a:pt x="795356" y="60225"/>
                  <a:pt x="796260" y="61129"/>
                  <a:pt x="796441" y="62395"/>
                </a:cubicBezTo>
                <a:cubicBezTo>
                  <a:pt x="796622" y="63661"/>
                  <a:pt x="796079" y="64746"/>
                  <a:pt x="794994" y="65288"/>
                </a:cubicBezTo>
                <a:lnTo>
                  <a:pt x="364018" y="270016"/>
                </a:lnTo>
                <a:cubicBezTo>
                  <a:pt x="363656" y="270197"/>
                  <a:pt x="363294" y="270377"/>
                  <a:pt x="362752" y="270377"/>
                </a:cubicBezTo>
                <a:close/>
                <a:moveTo>
                  <a:pt x="11894" y="5968"/>
                </a:moveTo>
                <a:lnTo>
                  <a:pt x="363294" y="264409"/>
                </a:lnTo>
                <a:lnTo>
                  <a:pt x="783600" y="64746"/>
                </a:lnTo>
                <a:lnTo>
                  <a:pt x="11894" y="59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5" name="Google Shape;1145;p53"/>
          <p:cNvSpPr/>
          <p:nvPr/>
        </p:nvSpPr>
        <p:spPr>
          <a:xfrm>
            <a:off x="8511329" y="5357083"/>
            <a:ext cx="436319" cy="298122"/>
          </a:xfrm>
          <a:custGeom>
            <a:avLst/>
            <a:gdLst/>
            <a:ahLst/>
            <a:cxnLst/>
            <a:rect l="l" t="t" r="r" b="b"/>
            <a:pathLst>
              <a:path w="436319" h="298122" extrusionOk="0">
                <a:moveTo>
                  <a:pt x="228238" y="298122"/>
                </a:moveTo>
                <a:cubicBezTo>
                  <a:pt x="227877" y="298122"/>
                  <a:pt x="227696" y="298122"/>
                  <a:pt x="227515" y="297941"/>
                </a:cubicBezTo>
                <a:lnTo>
                  <a:pt x="1628" y="209865"/>
                </a:lnTo>
                <a:cubicBezTo>
                  <a:pt x="543" y="209504"/>
                  <a:pt x="0" y="208599"/>
                  <a:pt x="0" y="207514"/>
                </a:cubicBezTo>
                <a:cubicBezTo>
                  <a:pt x="0" y="206429"/>
                  <a:pt x="543" y="205525"/>
                  <a:pt x="1447" y="204982"/>
                </a:cubicBezTo>
                <a:lnTo>
                  <a:pt x="432423" y="255"/>
                </a:lnTo>
                <a:cubicBezTo>
                  <a:pt x="433508" y="-288"/>
                  <a:pt x="434774" y="74"/>
                  <a:pt x="435678" y="978"/>
                </a:cubicBezTo>
                <a:cubicBezTo>
                  <a:pt x="436402" y="1883"/>
                  <a:pt x="436583" y="3330"/>
                  <a:pt x="435859" y="4234"/>
                </a:cubicBezTo>
                <a:lnTo>
                  <a:pt x="230770" y="297037"/>
                </a:lnTo>
                <a:cubicBezTo>
                  <a:pt x="230047" y="297761"/>
                  <a:pt x="229143" y="298122"/>
                  <a:pt x="228238" y="298122"/>
                </a:cubicBezTo>
                <a:close/>
                <a:moveTo>
                  <a:pt x="9224" y="206972"/>
                </a:moveTo>
                <a:lnTo>
                  <a:pt x="227334" y="291973"/>
                </a:lnTo>
                <a:lnTo>
                  <a:pt x="425370" y="9298"/>
                </a:lnTo>
                <a:lnTo>
                  <a:pt x="9224" y="20697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6" name="Google Shape;1146;p53"/>
          <p:cNvSpPr/>
          <p:nvPr/>
        </p:nvSpPr>
        <p:spPr>
          <a:xfrm>
            <a:off x="8737010" y="5357121"/>
            <a:ext cx="850611" cy="298264"/>
          </a:xfrm>
          <a:custGeom>
            <a:avLst/>
            <a:gdLst/>
            <a:ahLst/>
            <a:cxnLst/>
            <a:rect l="l" t="t" r="r" b="b"/>
            <a:pathLst>
              <a:path w="850611" h="298264" extrusionOk="0">
                <a:moveTo>
                  <a:pt x="2557" y="298084"/>
                </a:moveTo>
                <a:cubicBezTo>
                  <a:pt x="1653" y="298084"/>
                  <a:pt x="929" y="297541"/>
                  <a:pt x="387" y="296818"/>
                </a:cubicBezTo>
                <a:cubicBezTo>
                  <a:pt x="-156" y="295914"/>
                  <a:pt x="-156" y="294828"/>
                  <a:pt x="568" y="293924"/>
                </a:cubicBezTo>
                <a:lnTo>
                  <a:pt x="205657" y="1121"/>
                </a:lnTo>
                <a:cubicBezTo>
                  <a:pt x="206380" y="216"/>
                  <a:pt x="207646" y="-326"/>
                  <a:pt x="208731" y="216"/>
                </a:cubicBezTo>
                <a:lnTo>
                  <a:pt x="848775" y="229540"/>
                </a:lnTo>
                <a:cubicBezTo>
                  <a:pt x="850041" y="229902"/>
                  <a:pt x="850765" y="231168"/>
                  <a:pt x="850584" y="232434"/>
                </a:cubicBezTo>
                <a:cubicBezTo>
                  <a:pt x="850403" y="233700"/>
                  <a:pt x="849318" y="234604"/>
                  <a:pt x="848052" y="234785"/>
                </a:cubicBezTo>
                <a:lnTo>
                  <a:pt x="2919" y="298265"/>
                </a:lnTo>
                <a:cubicBezTo>
                  <a:pt x="2738" y="298084"/>
                  <a:pt x="2557" y="298084"/>
                  <a:pt x="2557" y="298084"/>
                </a:cubicBezTo>
                <a:close/>
                <a:moveTo>
                  <a:pt x="208731" y="5823"/>
                </a:moveTo>
                <a:lnTo>
                  <a:pt x="8163" y="292297"/>
                </a:lnTo>
                <a:lnTo>
                  <a:pt x="835030" y="230263"/>
                </a:lnTo>
                <a:lnTo>
                  <a:pt x="208731" y="582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7" name="Google Shape;1147;p53"/>
          <p:cNvSpPr/>
          <p:nvPr/>
        </p:nvSpPr>
        <p:spPr>
          <a:xfrm>
            <a:off x="8521999" y="5812894"/>
            <a:ext cx="1300768" cy="1081344"/>
          </a:xfrm>
          <a:custGeom>
            <a:avLst/>
            <a:gdLst/>
            <a:ahLst/>
            <a:cxnLst/>
            <a:rect l="l" t="t" r="r" b="b"/>
            <a:pathLst>
              <a:path w="1300768" h="1081344" extrusionOk="0">
                <a:moveTo>
                  <a:pt x="1297993" y="1081345"/>
                </a:moveTo>
                <a:cubicBezTo>
                  <a:pt x="1297812" y="1081345"/>
                  <a:pt x="1297450" y="1081345"/>
                  <a:pt x="1297269" y="1081164"/>
                </a:cubicBezTo>
                <a:lnTo>
                  <a:pt x="1809" y="593400"/>
                </a:lnTo>
                <a:cubicBezTo>
                  <a:pt x="904" y="593038"/>
                  <a:pt x="181" y="592134"/>
                  <a:pt x="0" y="591049"/>
                </a:cubicBezTo>
                <a:cubicBezTo>
                  <a:pt x="0" y="589964"/>
                  <a:pt x="362" y="589059"/>
                  <a:pt x="1266" y="588516"/>
                </a:cubicBezTo>
                <a:lnTo>
                  <a:pt x="1032317" y="378"/>
                </a:lnTo>
                <a:cubicBezTo>
                  <a:pt x="1033041" y="16"/>
                  <a:pt x="1033945" y="-165"/>
                  <a:pt x="1034669" y="197"/>
                </a:cubicBezTo>
                <a:cubicBezTo>
                  <a:pt x="1035392" y="559"/>
                  <a:pt x="1035935" y="1282"/>
                  <a:pt x="1036296" y="2006"/>
                </a:cubicBezTo>
                <a:lnTo>
                  <a:pt x="1300706" y="1077909"/>
                </a:lnTo>
                <a:cubicBezTo>
                  <a:pt x="1300887" y="1078813"/>
                  <a:pt x="1300706" y="1079898"/>
                  <a:pt x="1299801" y="1080622"/>
                </a:cubicBezTo>
                <a:cubicBezTo>
                  <a:pt x="1299440" y="1081164"/>
                  <a:pt x="1298716" y="1081345"/>
                  <a:pt x="1297993" y="1081345"/>
                </a:cubicBezTo>
                <a:close/>
                <a:moveTo>
                  <a:pt x="9043" y="590325"/>
                </a:moveTo>
                <a:lnTo>
                  <a:pt x="1294376" y="1074292"/>
                </a:lnTo>
                <a:lnTo>
                  <a:pt x="1031956" y="6889"/>
                </a:lnTo>
                <a:lnTo>
                  <a:pt x="9043" y="5903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8" name="Google Shape;1148;p53"/>
          <p:cNvSpPr/>
          <p:nvPr/>
        </p:nvSpPr>
        <p:spPr>
          <a:xfrm>
            <a:off x="9552939" y="5812786"/>
            <a:ext cx="682113" cy="1081452"/>
          </a:xfrm>
          <a:custGeom>
            <a:avLst/>
            <a:gdLst/>
            <a:ahLst/>
            <a:cxnLst/>
            <a:rect l="l" t="t" r="r" b="b"/>
            <a:pathLst>
              <a:path w="682113" h="1081452" extrusionOk="0">
                <a:moveTo>
                  <a:pt x="267053" y="1081453"/>
                </a:moveTo>
                <a:cubicBezTo>
                  <a:pt x="266872" y="1081453"/>
                  <a:pt x="266691" y="1081453"/>
                  <a:pt x="266329" y="1081272"/>
                </a:cubicBezTo>
                <a:cubicBezTo>
                  <a:pt x="265425" y="1080910"/>
                  <a:pt x="264702" y="1080187"/>
                  <a:pt x="264521" y="1079283"/>
                </a:cubicBezTo>
                <a:lnTo>
                  <a:pt x="112" y="3380"/>
                </a:lnTo>
                <a:cubicBezTo>
                  <a:pt x="-250" y="2114"/>
                  <a:pt x="292" y="1029"/>
                  <a:pt x="1378" y="305"/>
                </a:cubicBezTo>
                <a:cubicBezTo>
                  <a:pt x="2463" y="-237"/>
                  <a:pt x="3729" y="-57"/>
                  <a:pt x="4633" y="848"/>
                </a:cubicBezTo>
                <a:lnTo>
                  <a:pt x="681391" y="719925"/>
                </a:lnTo>
                <a:cubicBezTo>
                  <a:pt x="681933" y="720467"/>
                  <a:pt x="682114" y="721191"/>
                  <a:pt x="682114" y="721915"/>
                </a:cubicBezTo>
                <a:cubicBezTo>
                  <a:pt x="682114" y="722638"/>
                  <a:pt x="681752" y="723361"/>
                  <a:pt x="681210" y="723904"/>
                </a:cubicBezTo>
                <a:lnTo>
                  <a:pt x="268862" y="1080730"/>
                </a:lnTo>
                <a:cubicBezTo>
                  <a:pt x="268500" y="1081272"/>
                  <a:pt x="267776" y="1081453"/>
                  <a:pt x="267053" y="1081453"/>
                </a:cubicBezTo>
                <a:close/>
                <a:moveTo>
                  <a:pt x="7888" y="12241"/>
                </a:moveTo>
                <a:lnTo>
                  <a:pt x="268862" y="1073857"/>
                </a:lnTo>
                <a:lnTo>
                  <a:pt x="675784" y="721734"/>
                </a:lnTo>
                <a:lnTo>
                  <a:pt x="7888" y="12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9" name="Google Shape;1149;p53"/>
          <p:cNvSpPr/>
          <p:nvPr/>
        </p:nvSpPr>
        <p:spPr>
          <a:xfrm>
            <a:off x="11837424" y="5519022"/>
            <a:ext cx="186167" cy="588138"/>
          </a:xfrm>
          <a:custGeom>
            <a:avLst/>
            <a:gdLst/>
            <a:ahLst/>
            <a:cxnLst/>
            <a:rect l="l" t="t" r="r" b="b"/>
            <a:pathLst>
              <a:path w="186167" h="588138" extrusionOk="0">
                <a:moveTo>
                  <a:pt x="62214" y="588139"/>
                </a:moveTo>
                <a:cubicBezTo>
                  <a:pt x="60948" y="588139"/>
                  <a:pt x="59863" y="587054"/>
                  <a:pt x="59682" y="585788"/>
                </a:cubicBezTo>
                <a:lnTo>
                  <a:pt x="0" y="10490"/>
                </a:lnTo>
                <a:cubicBezTo>
                  <a:pt x="0" y="9766"/>
                  <a:pt x="181" y="9043"/>
                  <a:pt x="723" y="8500"/>
                </a:cubicBezTo>
                <a:cubicBezTo>
                  <a:pt x="1266" y="7958"/>
                  <a:pt x="1989" y="7596"/>
                  <a:pt x="2713" y="7596"/>
                </a:cubicBezTo>
                <a:lnTo>
                  <a:pt x="183386" y="0"/>
                </a:lnTo>
                <a:cubicBezTo>
                  <a:pt x="184291" y="0"/>
                  <a:pt x="185014" y="362"/>
                  <a:pt x="185557" y="904"/>
                </a:cubicBezTo>
                <a:cubicBezTo>
                  <a:pt x="186099" y="1628"/>
                  <a:pt x="186280" y="2351"/>
                  <a:pt x="186099" y="3256"/>
                </a:cubicBezTo>
                <a:lnTo>
                  <a:pt x="65107" y="586149"/>
                </a:lnTo>
                <a:cubicBezTo>
                  <a:pt x="64746" y="587234"/>
                  <a:pt x="63480" y="588139"/>
                  <a:pt x="62214" y="588139"/>
                </a:cubicBezTo>
                <a:cubicBezTo>
                  <a:pt x="62214" y="588139"/>
                  <a:pt x="62214" y="588139"/>
                  <a:pt x="62214" y="588139"/>
                </a:cubicBezTo>
                <a:close/>
                <a:moveTo>
                  <a:pt x="5606" y="12660"/>
                </a:moveTo>
                <a:lnTo>
                  <a:pt x="63299" y="567883"/>
                </a:lnTo>
                <a:lnTo>
                  <a:pt x="180131" y="5426"/>
                </a:lnTo>
                <a:lnTo>
                  <a:pt x="5606" y="1266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0" name="Google Shape;1150;p53"/>
          <p:cNvSpPr/>
          <p:nvPr/>
        </p:nvSpPr>
        <p:spPr>
          <a:xfrm>
            <a:off x="11897219" y="5518880"/>
            <a:ext cx="646079" cy="588280"/>
          </a:xfrm>
          <a:custGeom>
            <a:avLst/>
            <a:gdLst/>
            <a:ahLst/>
            <a:cxnLst/>
            <a:rect l="l" t="t" r="r" b="b"/>
            <a:pathLst>
              <a:path w="646079" h="588280" extrusionOk="0">
                <a:moveTo>
                  <a:pt x="2419" y="588281"/>
                </a:moveTo>
                <a:cubicBezTo>
                  <a:pt x="1695" y="588281"/>
                  <a:pt x="972" y="587919"/>
                  <a:pt x="610" y="587376"/>
                </a:cubicBezTo>
                <a:cubicBezTo>
                  <a:pt x="68" y="586653"/>
                  <a:pt x="-113" y="585929"/>
                  <a:pt x="68" y="585025"/>
                </a:cubicBezTo>
                <a:lnTo>
                  <a:pt x="121059" y="2131"/>
                </a:lnTo>
                <a:cubicBezTo>
                  <a:pt x="121240" y="1227"/>
                  <a:pt x="121964" y="323"/>
                  <a:pt x="123049" y="142"/>
                </a:cubicBezTo>
                <a:cubicBezTo>
                  <a:pt x="123953" y="-220"/>
                  <a:pt x="125038" y="142"/>
                  <a:pt x="125762" y="865"/>
                </a:cubicBezTo>
                <a:lnTo>
                  <a:pt x="645357" y="543609"/>
                </a:lnTo>
                <a:cubicBezTo>
                  <a:pt x="646080" y="544333"/>
                  <a:pt x="646261" y="545418"/>
                  <a:pt x="645899" y="546503"/>
                </a:cubicBezTo>
                <a:cubicBezTo>
                  <a:pt x="645537" y="547408"/>
                  <a:pt x="644633" y="548131"/>
                  <a:pt x="643548" y="548131"/>
                </a:cubicBezTo>
                <a:lnTo>
                  <a:pt x="2600" y="588281"/>
                </a:lnTo>
                <a:cubicBezTo>
                  <a:pt x="2600" y="588281"/>
                  <a:pt x="2419" y="588281"/>
                  <a:pt x="2419" y="588281"/>
                </a:cubicBezTo>
                <a:close/>
                <a:moveTo>
                  <a:pt x="125038" y="8280"/>
                </a:moveTo>
                <a:lnTo>
                  <a:pt x="5855" y="582674"/>
                </a:lnTo>
                <a:lnTo>
                  <a:pt x="637037" y="543067"/>
                </a:lnTo>
                <a:lnTo>
                  <a:pt x="125038" y="828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1" name="Google Shape;1151;p53"/>
          <p:cNvSpPr/>
          <p:nvPr/>
        </p:nvSpPr>
        <p:spPr>
          <a:xfrm>
            <a:off x="12017917" y="5518841"/>
            <a:ext cx="524867" cy="548169"/>
          </a:xfrm>
          <a:custGeom>
            <a:avLst/>
            <a:gdLst/>
            <a:ahLst/>
            <a:cxnLst/>
            <a:rect l="l" t="t" r="r" b="b"/>
            <a:pathLst>
              <a:path w="524867" h="548169" extrusionOk="0">
                <a:moveTo>
                  <a:pt x="522127" y="548170"/>
                </a:moveTo>
                <a:cubicBezTo>
                  <a:pt x="521403" y="548170"/>
                  <a:pt x="520861" y="547808"/>
                  <a:pt x="520318" y="547265"/>
                </a:cubicBezTo>
                <a:lnTo>
                  <a:pt x="723" y="4521"/>
                </a:lnTo>
                <a:cubicBezTo>
                  <a:pt x="0" y="3798"/>
                  <a:pt x="-181" y="2532"/>
                  <a:pt x="181" y="1447"/>
                </a:cubicBezTo>
                <a:cubicBezTo>
                  <a:pt x="723" y="362"/>
                  <a:pt x="1809" y="0"/>
                  <a:pt x="2894" y="0"/>
                </a:cubicBezTo>
                <a:lnTo>
                  <a:pt x="457924" y="40511"/>
                </a:lnTo>
                <a:cubicBezTo>
                  <a:pt x="459190" y="40692"/>
                  <a:pt x="460275" y="41597"/>
                  <a:pt x="460275" y="42862"/>
                </a:cubicBezTo>
                <a:lnTo>
                  <a:pt x="524840" y="545095"/>
                </a:lnTo>
                <a:cubicBezTo>
                  <a:pt x="525021" y="546180"/>
                  <a:pt x="524297" y="547446"/>
                  <a:pt x="523393" y="547808"/>
                </a:cubicBezTo>
                <a:cubicBezTo>
                  <a:pt x="523031" y="548170"/>
                  <a:pt x="522669" y="548170"/>
                  <a:pt x="522127" y="548170"/>
                </a:cubicBezTo>
                <a:close/>
                <a:moveTo>
                  <a:pt x="9766" y="5968"/>
                </a:moveTo>
                <a:lnTo>
                  <a:pt x="518691" y="537680"/>
                </a:lnTo>
                <a:lnTo>
                  <a:pt x="455573" y="45756"/>
                </a:lnTo>
                <a:lnTo>
                  <a:pt x="9766" y="59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2" name="Google Shape;1152;p53"/>
          <p:cNvSpPr/>
          <p:nvPr/>
        </p:nvSpPr>
        <p:spPr>
          <a:xfrm>
            <a:off x="12312147" y="4224077"/>
            <a:ext cx="453714" cy="81954"/>
          </a:xfrm>
          <a:custGeom>
            <a:avLst/>
            <a:gdLst/>
            <a:ahLst/>
            <a:cxnLst/>
            <a:rect l="l" t="t" r="r" b="b"/>
            <a:pathLst>
              <a:path w="453714" h="81954" extrusionOk="0">
                <a:moveTo>
                  <a:pt x="2552" y="79603"/>
                </a:moveTo>
                <a:cubicBezTo>
                  <a:pt x="1286" y="79603"/>
                  <a:pt x="201" y="78518"/>
                  <a:pt x="20" y="77071"/>
                </a:cubicBezTo>
                <a:cubicBezTo>
                  <a:pt x="-161" y="75625"/>
                  <a:pt x="924" y="74359"/>
                  <a:pt x="2190" y="74178"/>
                </a:cubicBezTo>
                <a:lnTo>
                  <a:pt x="450528" y="28"/>
                </a:lnTo>
                <a:cubicBezTo>
                  <a:pt x="451794" y="-153"/>
                  <a:pt x="453061" y="570"/>
                  <a:pt x="453603" y="1836"/>
                </a:cubicBezTo>
                <a:cubicBezTo>
                  <a:pt x="453965" y="3102"/>
                  <a:pt x="453422" y="4549"/>
                  <a:pt x="452337" y="5091"/>
                </a:cubicBezTo>
                <a:lnTo>
                  <a:pt x="304217" y="81593"/>
                </a:lnTo>
                <a:cubicBezTo>
                  <a:pt x="303856" y="81774"/>
                  <a:pt x="303313" y="81955"/>
                  <a:pt x="302951" y="81955"/>
                </a:cubicBezTo>
                <a:lnTo>
                  <a:pt x="2552" y="79603"/>
                </a:lnTo>
                <a:cubicBezTo>
                  <a:pt x="2733" y="79603"/>
                  <a:pt x="2733" y="79603"/>
                  <a:pt x="2552" y="79603"/>
                </a:cubicBezTo>
                <a:close/>
                <a:moveTo>
                  <a:pt x="434613" y="8166"/>
                </a:moveTo>
                <a:lnTo>
                  <a:pt x="34020" y="74539"/>
                </a:lnTo>
                <a:lnTo>
                  <a:pt x="302408" y="76710"/>
                </a:lnTo>
                <a:lnTo>
                  <a:pt x="434613" y="816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3" name="Google Shape;1153;p53"/>
          <p:cNvSpPr/>
          <p:nvPr/>
        </p:nvSpPr>
        <p:spPr>
          <a:xfrm>
            <a:off x="12312209" y="4298254"/>
            <a:ext cx="496708" cy="367380"/>
          </a:xfrm>
          <a:custGeom>
            <a:avLst/>
            <a:gdLst/>
            <a:ahLst/>
            <a:cxnLst/>
            <a:rect l="l" t="t" r="r" b="b"/>
            <a:pathLst>
              <a:path w="496708" h="367380" extrusionOk="0">
                <a:moveTo>
                  <a:pt x="493871" y="367315"/>
                </a:moveTo>
                <a:cubicBezTo>
                  <a:pt x="493329" y="367315"/>
                  <a:pt x="492786" y="367135"/>
                  <a:pt x="492425" y="366773"/>
                </a:cubicBezTo>
                <a:lnTo>
                  <a:pt x="1043" y="4883"/>
                </a:lnTo>
                <a:cubicBezTo>
                  <a:pt x="139" y="4160"/>
                  <a:pt x="-223" y="2894"/>
                  <a:pt x="139" y="1809"/>
                </a:cubicBezTo>
                <a:cubicBezTo>
                  <a:pt x="500" y="724"/>
                  <a:pt x="1585" y="0"/>
                  <a:pt x="2671" y="0"/>
                </a:cubicBezTo>
                <a:lnTo>
                  <a:pt x="302889" y="2351"/>
                </a:lnTo>
                <a:cubicBezTo>
                  <a:pt x="303974" y="2351"/>
                  <a:pt x="304697" y="2894"/>
                  <a:pt x="305240" y="3798"/>
                </a:cubicBezTo>
                <a:lnTo>
                  <a:pt x="496403" y="363337"/>
                </a:lnTo>
                <a:cubicBezTo>
                  <a:pt x="496946" y="364422"/>
                  <a:pt x="496765" y="365869"/>
                  <a:pt x="495861" y="366592"/>
                </a:cubicBezTo>
                <a:cubicBezTo>
                  <a:pt x="495137" y="367315"/>
                  <a:pt x="494595" y="367496"/>
                  <a:pt x="493871" y="367315"/>
                </a:cubicBezTo>
                <a:close/>
                <a:moveTo>
                  <a:pt x="10990" y="5606"/>
                </a:moveTo>
                <a:lnTo>
                  <a:pt x="486094" y="355560"/>
                </a:lnTo>
                <a:lnTo>
                  <a:pt x="301261" y="7777"/>
                </a:lnTo>
                <a:lnTo>
                  <a:pt x="10990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4" name="Google Shape;1154;p53"/>
          <p:cNvSpPr/>
          <p:nvPr/>
        </p:nvSpPr>
        <p:spPr>
          <a:xfrm>
            <a:off x="10225106" y="3577622"/>
            <a:ext cx="898800" cy="781941"/>
          </a:xfrm>
          <a:custGeom>
            <a:avLst/>
            <a:gdLst/>
            <a:ahLst/>
            <a:cxnLst/>
            <a:rect l="l" t="t" r="r" b="b"/>
            <a:pathLst>
              <a:path w="898800" h="781941" extrusionOk="0">
                <a:moveTo>
                  <a:pt x="895953" y="781942"/>
                </a:moveTo>
                <a:cubicBezTo>
                  <a:pt x="895592" y="781942"/>
                  <a:pt x="895230" y="781761"/>
                  <a:pt x="895049" y="781761"/>
                </a:cubicBezTo>
                <a:lnTo>
                  <a:pt x="1447" y="359104"/>
                </a:lnTo>
                <a:cubicBezTo>
                  <a:pt x="543" y="358743"/>
                  <a:pt x="0" y="357838"/>
                  <a:pt x="0" y="356934"/>
                </a:cubicBezTo>
                <a:cubicBezTo>
                  <a:pt x="0" y="356030"/>
                  <a:pt x="362" y="355125"/>
                  <a:pt x="1085" y="354583"/>
                </a:cubicBezTo>
                <a:lnTo>
                  <a:pt x="487584" y="470"/>
                </a:lnTo>
                <a:cubicBezTo>
                  <a:pt x="488307" y="-73"/>
                  <a:pt x="489031" y="-73"/>
                  <a:pt x="489754" y="108"/>
                </a:cubicBezTo>
                <a:cubicBezTo>
                  <a:pt x="490478" y="289"/>
                  <a:pt x="491201" y="832"/>
                  <a:pt x="491563" y="1555"/>
                </a:cubicBezTo>
                <a:lnTo>
                  <a:pt x="898485" y="778506"/>
                </a:lnTo>
                <a:cubicBezTo>
                  <a:pt x="899028" y="779591"/>
                  <a:pt x="898847" y="780857"/>
                  <a:pt x="898124" y="781580"/>
                </a:cubicBezTo>
                <a:cubicBezTo>
                  <a:pt x="897581" y="781580"/>
                  <a:pt x="896858" y="781942"/>
                  <a:pt x="895953" y="781942"/>
                </a:cubicBezTo>
                <a:close/>
                <a:moveTo>
                  <a:pt x="7958" y="356030"/>
                </a:moveTo>
                <a:lnTo>
                  <a:pt x="890166" y="773261"/>
                </a:lnTo>
                <a:lnTo>
                  <a:pt x="488307" y="6257"/>
                </a:lnTo>
                <a:lnTo>
                  <a:pt x="7958" y="3560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5" name="Google Shape;1155;p53"/>
          <p:cNvSpPr/>
          <p:nvPr/>
        </p:nvSpPr>
        <p:spPr>
          <a:xfrm>
            <a:off x="10711667" y="3430146"/>
            <a:ext cx="412647" cy="929418"/>
          </a:xfrm>
          <a:custGeom>
            <a:avLst/>
            <a:gdLst/>
            <a:ahLst/>
            <a:cxnLst/>
            <a:rect l="l" t="t" r="r" b="b"/>
            <a:pathLst>
              <a:path w="412647" h="929418" extrusionOk="0">
                <a:moveTo>
                  <a:pt x="409393" y="929418"/>
                </a:moveTo>
                <a:cubicBezTo>
                  <a:pt x="408488" y="929418"/>
                  <a:pt x="407584" y="928876"/>
                  <a:pt x="407222" y="927971"/>
                </a:cubicBezTo>
                <a:lnTo>
                  <a:pt x="299" y="151021"/>
                </a:lnTo>
                <a:cubicBezTo>
                  <a:pt x="-62" y="150297"/>
                  <a:pt x="-62" y="149574"/>
                  <a:pt x="119" y="148850"/>
                </a:cubicBezTo>
                <a:cubicBezTo>
                  <a:pt x="481" y="148127"/>
                  <a:pt x="1023" y="147585"/>
                  <a:pt x="1746" y="147223"/>
                </a:cubicBezTo>
                <a:lnTo>
                  <a:pt x="391850" y="188"/>
                </a:lnTo>
                <a:cubicBezTo>
                  <a:pt x="392754" y="-174"/>
                  <a:pt x="393658" y="7"/>
                  <a:pt x="394382" y="550"/>
                </a:cubicBezTo>
                <a:cubicBezTo>
                  <a:pt x="395105" y="1092"/>
                  <a:pt x="395467" y="1816"/>
                  <a:pt x="395647" y="2720"/>
                </a:cubicBezTo>
                <a:lnTo>
                  <a:pt x="412648" y="926705"/>
                </a:lnTo>
                <a:cubicBezTo>
                  <a:pt x="412648" y="927971"/>
                  <a:pt x="411743" y="929057"/>
                  <a:pt x="410658" y="929418"/>
                </a:cubicBezTo>
                <a:cubicBezTo>
                  <a:pt x="409935" y="929418"/>
                  <a:pt x="409754" y="929418"/>
                  <a:pt x="409393" y="929418"/>
                </a:cubicBezTo>
                <a:close/>
                <a:moveTo>
                  <a:pt x="6449" y="151202"/>
                </a:moveTo>
                <a:lnTo>
                  <a:pt x="406680" y="915312"/>
                </a:lnTo>
                <a:lnTo>
                  <a:pt x="390041" y="6699"/>
                </a:lnTo>
                <a:lnTo>
                  <a:pt x="6449" y="15120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6" name="Google Shape;1156;p53"/>
          <p:cNvSpPr/>
          <p:nvPr/>
        </p:nvSpPr>
        <p:spPr>
          <a:xfrm>
            <a:off x="11101527" y="3430334"/>
            <a:ext cx="321667" cy="929230"/>
          </a:xfrm>
          <a:custGeom>
            <a:avLst/>
            <a:gdLst/>
            <a:ahLst/>
            <a:cxnLst/>
            <a:rect l="l" t="t" r="r" b="b"/>
            <a:pathLst>
              <a:path w="321667" h="929230" extrusionOk="0">
                <a:moveTo>
                  <a:pt x="19532" y="929230"/>
                </a:moveTo>
                <a:cubicBezTo>
                  <a:pt x="19532" y="929230"/>
                  <a:pt x="19351" y="929230"/>
                  <a:pt x="19351" y="929230"/>
                </a:cubicBezTo>
                <a:cubicBezTo>
                  <a:pt x="18085" y="929049"/>
                  <a:pt x="17000" y="927964"/>
                  <a:pt x="17000" y="926698"/>
                </a:cubicBezTo>
                <a:lnTo>
                  <a:pt x="0" y="2713"/>
                </a:lnTo>
                <a:cubicBezTo>
                  <a:pt x="0" y="1989"/>
                  <a:pt x="362" y="1266"/>
                  <a:pt x="723" y="723"/>
                </a:cubicBezTo>
                <a:cubicBezTo>
                  <a:pt x="1266" y="181"/>
                  <a:pt x="1989" y="0"/>
                  <a:pt x="2713" y="0"/>
                </a:cubicBezTo>
                <a:lnTo>
                  <a:pt x="319208" y="16277"/>
                </a:lnTo>
                <a:cubicBezTo>
                  <a:pt x="320293" y="16458"/>
                  <a:pt x="320836" y="16819"/>
                  <a:pt x="321198" y="17362"/>
                </a:cubicBezTo>
                <a:cubicBezTo>
                  <a:pt x="321740" y="18085"/>
                  <a:pt x="321740" y="18990"/>
                  <a:pt x="321559" y="19713"/>
                </a:cubicBezTo>
                <a:lnTo>
                  <a:pt x="22064" y="927241"/>
                </a:lnTo>
                <a:cubicBezTo>
                  <a:pt x="21883" y="928507"/>
                  <a:pt x="20798" y="929230"/>
                  <a:pt x="19532" y="929230"/>
                </a:cubicBezTo>
                <a:close/>
                <a:moveTo>
                  <a:pt x="5606" y="5426"/>
                </a:moveTo>
                <a:lnTo>
                  <a:pt x="22245" y="910602"/>
                </a:lnTo>
                <a:lnTo>
                  <a:pt x="315772" y="21341"/>
                </a:lnTo>
                <a:lnTo>
                  <a:pt x="5606" y="542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7" name="Google Shape;1157;p53"/>
          <p:cNvSpPr/>
          <p:nvPr/>
        </p:nvSpPr>
        <p:spPr>
          <a:xfrm>
            <a:off x="11118534" y="4298254"/>
            <a:ext cx="1198905" cy="296676"/>
          </a:xfrm>
          <a:custGeom>
            <a:avLst/>
            <a:gdLst/>
            <a:ahLst/>
            <a:cxnLst/>
            <a:rect l="l" t="t" r="r" b="b"/>
            <a:pathLst>
              <a:path w="1198905" h="296676" extrusionOk="0">
                <a:moveTo>
                  <a:pt x="273265" y="296601"/>
                </a:moveTo>
                <a:cubicBezTo>
                  <a:pt x="272723" y="296601"/>
                  <a:pt x="272180" y="296420"/>
                  <a:pt x="271637" y="295878"/>
                </a:cubicBezTo>
                <a:lnTo>
                  <a:pt x="898" y="60406"/>
                </a:lnTo>
                <a:cubicBezTo>
                  <a:pt x="-6" y="59682"/>
                  <a:pt x="-187" y="58597"/>
                  <a:pt x="175" y="57512"/>
                </a:cubicBezTo>
                <a:cubicBezTo>
                  <a:pt x="536" y="56427"/>
                  <a:pt x="1441" y="55703"/>
                  <a:pt x="2526" y="55703"/>
                </a:cubicBezTo>
                <a:lnTo>
                  <a:pt x="1196166" y="0"/>
                </a:lnTo>
                <a:cubicBezTo>
                  <a:pt x="1197612" y="0"/>
                  <a:pt x="1198697" y="904"/>
                  <a:pt x="1198878" y="2170"/>
                </a:cubicBezTo>
                <a:cubicBezTo>
                  <a:pt x="1199059" y="3436"/>
                  <a:pt x="1198336" y="4883"/>
                  <a:pt x="1197070" y="5245"/>
                </a:cubicBezTo>
                <a:lnTo>
                  <a:pt x="274169" y="296420"/>
                </a:lnTo>
                <a:cubicBezTo>
                  <a:pt x="273988" y="296601"/>
                  <a:pt x="273627" y="296782"/>
                  <a:pt x="273265" y="296601"/>
                </a:cubicBezTo>
                <a:close/>
                <a:moveTo>
                  <a:pt x="9579" y="60948"/>
                </a:moveTo>
                <a:lnTo>
                  <a:pt x="273988" y="290995"/>
                </a:lnTo>
                <a:lnTo>
                  <a:pt x="1175729" y="6511"/>
                </a:lnTo>
                <a:lnTo>
                  <a:pt x="9579" y="609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8" name="Google Shape;1158;p53"/>
          <p:cNvSpPr/>
          <p:nvPr/>
        </p:nvSpPr>
        <p:spPr>
          <a:xfrm>
            <a:off x="11101747" y="3147886"/>
            <a:ext cx="338367" cy="303970"/>
          </a:xfrm>
          <a:custGeom>
            <a:avLst/>
            <a:gdLst/>
            <a:ahLst/>
            <a:cxnLst/>
            <a:rect l="l" t="t" r="r" b="b"/>
            <a:pathLst>
              <a:path w="338367" h="303970" extrusionOk="0">
                <a:moveTo>
                  <a:pt x="2493" y="287693"/>
                </a:moveTo>
                <a:cubicBezTo>
                  <a:pt x="1408" y="287693"/>
                  <a:pt x="503" y="286970"/>
                  <a:pt x="142" y="285885"/>
                </a:cubicBezTo>
                <a:cubicBezTo>
                  <a:pt x="-220" y="284800"/>
                  <a:pt x="142" y="283714"/>
                  <a:pt x="865" y="282991"/>
                </a:cubicBezTo>
                <a:lnTo>
                  <a:pt x="333999" y="677"/>
                </a:lnTo>
                <a:cubicBezTo>
                  <a:pt x="334904" y="-46"/>
                  <a:pt x="335989" y="-227"/>
                  <a:pt x="336893" y="315"/>
                </a:cubicBezTo>
                <a:cubicBezTo>
                  <a:pt x="337797" y="858"/>
                  <a:pt x="338521" y="1762"/>
                  <a:pt x="338340" y="2847"/>
                </a:cubicBezTo>
                <a:lnTo>
                  <a:pt x="321701" y="301438"/>
                </a:lnTo>
                <a:cubicBezTo>
                  <a:pt x="321701" y="302885"/>
                  <a:pt x="320435" y="303970"/>
                  <a:pt x="318807" y="303970"/>
                </a:cubicBezTo>
                <a:lnTo>
                  <a:pt x="2493" y="287693"/>
                </a:lnTo>
                <a:cubicBezTo>
                  <a:pt x="2493" y="287693"/>
                  <a:pt x="2493" y="287693"/>
                  <a:pt x="2493" y="287693"/>
                </a:cubicBezTo>
                <a:close/>
                <a:moveTo>
                  <a:pt x="332552" y="8816"/>
                </a:moveTo>
                <a:lnTo>
                  <a:pt x="9546" y="282629"/>
                </a:lnTo>
                <a:lnTo>
                  <a:pt x="316637" y="298544"/>
                </a:lnTo>
                <a:lnTo>
                  <a:pt x="332552" y="881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9" name="Google Shape;1159;p53"/>
          <p:cNvSpPr/>
          <p:nvPr/>
        </p:nvSpPr>
        <p:spPr>
          <a:xfrm>
            <a:off x="11434661" y="1766902"/>
            <a:ext cx="796011" cy="1386362"/>
          </a:xfrm>
          <a:custGeom>
            <a:avLst/>
            <a:gdLst/>
            <a:ahLst/>
            <a:cxnLst/>
            <a:rect l="l" t="t" r="r" b="b"/>
            <a:pathLst>
              <a:path w="796011" h="1386362" extrusionOk="0">
                <a:moveTo>
                  <a:pt x="2532" y="1386363"/>
                </a:moveTo>
                <a:cubicBezTo>
                  <a:pt x="1989" y="1386363"/>
                  <a:pt x="1628" y="1386182"/>
                  <a:pt x="1085" y="1385820"/>
                </a:cubicBezTo>
                <a:cubicBezTo>
                  <a:pt x="362" y="1385277"/>
                  <a:pt x="0" y="1384373"/>
                  <a:pt x="0" y="1383469"/>
                </a:cubicBezTo>
                <a:lnTo>
                  <a:pt x="81565" y="2464"/>
                </a:lnTo>
                <a:cubicBezTo>
                  <a:pt x="81565" y="1379"/>
                  <a:pt x="82470" y="294"/>
                  <a:pt x="83555" y="113"/>
                </a:cubicBezTo>
                <a:cubicBezTo>
                  <a:pt x="84640" y="-248"/>
                  <a:pt x="85906" y="294"/>
                  <a:pt x="86448" y="1198"/>
                </a:cubicBezTo>
                <a:lnTo>
                  <a:pt x="795579" y="1056484"/>
                </a:lnTo>
                <a:cubicBezTo>
                  <a:pt x="795941" y="1057208"/>
                  <a:pt x="796121" y="1057931"/>
                  <a:pt x="795941" y="1058835"/>
                </a:cubicBezTo>
                <a:cubicBezTo>
                  <a:pt x="795760" y="1059559"/>
                  <a:pt x="795217" y="1060282"/>
                  <a:pt x="794313" y="1060463"/>
                </a:cubicBezTo>
                <a:lnTo>
                  <a:pt x="3617" y="1386182"/>
                </a:lnTo>
                <a:cubicBezTo>
                  <a:pt x="3436" y="1386363"/>
                  <a:pt x="2894" y="1386363"/>
                  <a:pt x="2532" y="1386363"/>
                </a:cubicBezTo>
                <a:close/>
                <a:moveTo>
                  <a:pt x="86448" y="10784"/>
                </a:moveTo>
                <a:lnTo>
                  <a:pt x="5606" y="1379490"/>
                </a:lnTo>
                <a:lnTo>
                  <a:pt x="789430" y="1056665"/>
                </a:lnTo>
                <a:lnTo>
                  <a:pt x="86448" y="107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0" name="Google Shape;1160;p53"/>
          <p:cNvSpPr/>
          <p:nvPr/>
        </p:nvSpPr>
        <p:spPr>
          <a:xfrm>
            <a:off x="11418023" y="3147952"/>
            <a:ext cx="434989" cy="303974"/>
          </a:xfrm>
          <a:custGeom>
            <a:avLst/>
            <a:gdLst/>
            <a:ahLst/>
            <a:cxnLst/>
            <a:rect l="l" t="t" r="r" b="b"/>
            <a:pathLst>
              <a:path w="434989" h="303974" extrusionOk="0">
                <a:moveTo>
                  <a:pt x="2532" y="303903"/>
                </a:moveTo>
                <a:cubicBezTo>
                  <a:pt x="2170" y="303903"/>
                  <a:pt x="1628" y="303722"/>
                  <a:pt x="1266" y="303542"/>
                </a:cubicBezTo>
                <a:cubicBezTo>
                  <a:pt x="362" y="302999"/>
                  <a:pt x="0" y="302095"/>
                  <a:pt x="0" y="301190"/>
                </a:cubicBezTo>
                <a:lnTo>
                  <a:pt x="16639" y="2600"/>
                </a:lnTo>
                <a:cubicBezTo>
                  <a:pt x="16639" y="1876"/>
                  <a:pt x="17000" y="1153"/>
                  <a:pt x="17724" y="610"/>
                </a:cubicBezTo>
                <a:cubicBezTo>
                  <a:pt x="18266" y="68"/>
                  <a:pt x="18990" y="-113"/>
                  <a:pt x="19894" y="68"/>
                </a:cubicBezTo>
                <a:lnTo>
                  <a:pt x="432785" y="72229"/>
                </a:lnTo>
                <a:cubicBezTo>
                  <a:pt x="433870" y="72410"/>
                  <a:pt x="434774" y="73314"/>
                  <a:pt x="434955" y="74399"/>
                </a:cubicBezTo>
                <a:cubicBezTo>
                  <a:pt x="435136" y="75484"/>
                  <a:pt x="434593" y="76750"/>
                  <a:pt x="433508" y="77112"/>
                </a:cubicBezTo>
                <a:lnTo>
                  <a:pt x="3979" y="303542"/>
                </a:lnTo>
                <a:cubicBezTo>
                  <a:pt x="3617" y="303903"/>
                  <a:pt x="3074" y="304084"/>
                  <a:pt x="2532" y="303903"/>
                </a:cubicBezTo>
                <a:close/>
                <a:moveTo>
                  <a:pt x="21883" y="5855"/>
                </a:moveTo>
                <a:lnTo>
                  <a:pt x="5606" y="296669"/>
                </a:lnTo>
                <a:lnTo>
                  <a:pt x="423923" y="76207"/>
                </a:lnTo>
                <a:lnTo>
                  <a:pt x="21883" y="58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1" name="Google Shape;1161;p53"/>
          <p:cNvSpPr/>
          <p:nvPr/>
        </p:nvSpPr>
        <p:spPr>
          <a:xfrm>
            <a:off x="11434814" y="2822414"/>
            <a:ext cx="796067" cy="403192"/>
          </a:xfrm>
          <a:custGeom>
            <a:avLst/>
            <a:gdLst/>
            <a:ahLst/>
            <a:cxnLst/>
            <a:rect l="l" t="t" r="r" b="b"/>
            <a:pathLst>
              <a:path w="796067" h="403192" extrusionOk="0">
                <a:moveTo>
                  <a:pt x="415450" y="403193"/>
                </a:moveTo>
                <a:cubicBezTo>
                  <a:pt x="415270" y="403193"/>
                  <a:pt x="415270" y="403193"/>
                  <a:pt x="415089" y="403193"/>
                </a:cubicBezTo>
                <a:lnTo>
                  <a:pt x="2198" y="331032"/>
                </a:lnTo>
                <a:cubicBezTo>
                  <a:pt x="932" y="330851"/>
                  <a:pt x="209" y="329947"/>
                  <a:pt x="28" y="328681"/>
                </a:cubicBezTo>
                <a:cubicBezTo>
                  <a:pt x="-153" y="327415"/>
                  <a:pt x="570" y="326330"/>
                  <a:pt x="1656" y="325968"/>
                </a:cubicBezTo>
                <a:lnTo>
                  <a:pt x="792351" y="249"/>
                </a:lnTo>
                <a:cubicBezTo>
                  <a:pt x="793437" y="-293"/>
                  <a:pt x="794883" y="68"/>
                  <a:pt x="795607" y="1154"/>
                </a:cubicBezTo>
                <a:cubicBezTo>
                  <a:pt x="796330" y="2239"/>
                  <a:pt x="796149" y="3686"/>
                  <a:pt x="795426" y="4590"/>
                </a:cubicBezTo>
                <a:lnTo>
                  <a:pt x="417621" y="402469"/>
                </a:lnTo>
                <a:cubicBezTo>
                  <a:pt x="416897" y="402831"/>
                  <a:pt x="416174" y="403193"/>
                  <a:pt x="415450" y="403193"/>
                </a:cubicBezTo>
                <a:close/>
                <a:moveTo>
                  <a:pt x="12145" y="327234"/>
                </a:moveTo>
                <a:lnTo>
                  <a:pt x="414546" y="397586"/>
                </a:lnTo>
                <a:lnTo>
                  <a:pt x="782766" y="9835"/>
                </a:lnTo>
                <a:lnTo>
                  <a:pt x="12145" y="32723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2" name="Google Shape;1162;p53"/>
          <p:cNvSpPr/>
          <p:nvPr/>
        </p:nvSpPr>
        <p:spPr>
          <a:xfrm>
            <a:off x="11847867" y="2822159"/>
            <a:ext cx="424512" cy="644164"/>
          </a:xfrm>
          <a:custGeom>
            <a:avLst/>
            <a:gdLst/>
            <a:ahLst/>
            <a:cxnLst/>
            <a:rect l="l" t="t" r="r" b="b"/>
            <a:pathLst>
              <a:path w="424512" h="644164" extrusionOk="0">
                <a:moveTo>
                  <a:pt x="421438" y="644165"/>
                </a:moveTo>
                <a:cubicBezTo>
                  <a:pt x="421076" y="644165"/>
                  <a:pt x="420714" y="643984"/>
                  <a:pt x="420353" y="643803"/>
                </a:cubicBezTo>
                <a:lnTo>
                  <a:pt x="1313" y="402905"/>
                </a:lnTo>
                <a:cubicBezTo>
                  <a:pt x="590" y="402543"/>
                  <a:pt x="47" y="401820"/>
                  <a:pt x="47" y="400915"/>
                </a:cubicBezTo>
                <a:cubicBezTo>
                  <a:pt x="-134" y="400192"/>
                  <a:pt x="228" y="399288"/>
                  <a:pt x="770" y="398745"/>
                </a:cubicBezTo>
                <a:lnTo>
                  <a:pt x="378575" y="865"/>
                </a:lnTo>
                <a:cubicBezTo>
                  <a:pt x="379299" y="142"/>
                  <a:pt x="380384" y="-220"/>
                  <a:pt x="381469" y="142"/>
                </a:cubicBezTo>
                <a:cubicBezTo>
                  <a:pt x="382554" y="504"/>
                  <a:pt x="383097" y="1408"/>
                  <a:pt x="383278" y="2493"/>
                </a:cubicBezTo>
                <a:lnTo>
                  <a:pt x="424513" y="641271"/>
                </a:lnTo>
                <a:cubicBezTo>
                  <a:pt x="424513" y="642175"/>
                  <a:pt x="424151" y="643260"/>
                  <a:pt x="423247" y="643803"/>
                </a:cubicBezTo>
                <a:cubicBezTo>
                  <a:pt x="422523" y="644165"/>
                  <a:pt x="421980" y="644165"/>
                  <a:pt x="421438" y="644165"/>
                </a:cubicBezTo>
                <a:close/>
                <a:moveTo>
                  <a:pt x="6739" y="400011"/>
                </a:moveTo>
                <a:lnTo>
                  <a:pt x="418544" y="636569"/>
                </a:lnTo>
                <a:lnTo>
                  <a:pt x="378033" y="9004"/>
                </a:lnTo>
                <a:lnTo>
                  <a:pt x="6739" y="40001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3" name="Google Shape;1163;p53"/>
          <p:cNvSpPr/>
          <p:nvPr/>
        </p:nvSpPr>
        <p:spPr>
          <a:xfrm>
            <a:off x="11847696" y="3220166"/>
            <a:ext cx="424572" cy="326818"/>
          </a:xfrm>
          <a:custGeom>
            <a:avLst/>
            <a:gdLst/>
            <a:ahLst/>
            <a:cxnLst/>
            <a:rect l="l" t="t" r="r" b="b"/>
            <a:pathLst>
              <a:path w="424572" h="326818" extrusionOk="0">
                <a:moveTo>
                  <a:pt x="367714" y="326819"/>
                </a:moveTo>
                <a:cubicBezTo>
                  <a:pt x="367171" y="326819"/>
                  <a:pt x="366628" y="326638"/>
                  <a:pt x="366086" y="326095"/>
                </a:cubicBezTo>
                <a:lnTo>
                  <a:pt x="941" y="4717"/>
                </a:lnTo>
                <a:cubicBezTo>
                  <a:pt x="-144" y="3813"/>
                  <a:pt x="-325" y="2185"/>
                  <a:pt x="579" y="1100"/>
                </a:cubicBezTo>
                <a:cubicBezTo>
                  <a:pt x="1302" y="15"/>
                  <a:pt x="2930" y="-347"/>
                  <a:pt x="4196" y="376"/>
                </a:cubicBezTo>
                <a:lnTo>
                  <a:pt x="423236" y="241274"/>
                </a:lnTo>
                <a:cubicBezTo>
                  <a:pt x="423959" y="241636"/>
                  <a:pt x="424321" y="242360"/>
                  <a:pt x="424502" y="243083"/>
                </a:cubicBezTo>
                <a:cubicBezTo>
                  <a:pt x="424683" y="243806"/>
                  <a:pt x="424502" y="244530"/>
                  <a:pt x="424140" y="245253"/>
                </a:cubicBezTo>
                <a:lnTo>
                  <a:pt x="370245" y="325733"/>
                </a:lnTo>
                <a:cubicBezTo>
                  <a:pt x="369884" y="326457"/>
                  <a:pt x="369160" y="326819"/>
                  <a:pt x="368437" y="326819"/>
                </a:cubicBezTo>
                <a:cubicBezTo>
                  <a:pt x="368075" y="326819"/>
                  <a:pt x="367894" y="326819"/>
                  <a:pt x="367714" y="326819"/>
                </a:cubicBezTo>
                <a:close/>
                <a:moveTo>
                  <a:pt x="24633" y="18462"/>
                </a:moveTo>
                <a:lnTo>
                  <a:pt x="367352" y="320127"/>
                </a:lnTo>
                <a:lnTo>
                  <a:pt x="417991" y="244530"/>
                </a:lnTo>
                <a:lnTo>
                  <a:pt x="24633" y="1846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4" name="Google Shape;1164;p53"/>
          <p:cNvSpPr/>
          <p:nvPr/>
        </p:nvSpPr>
        <p:spPr>
          <a:xfrm>
            <a:off x="12225538" y="2820096"/>
            <a:ext cx="271650" cy="646255"/>
          </a:xfrm>
          <a:custGeom>
            <a:avLst/>
            <a:gdLst/>
            <a:ahLst/>
            <a:cxnLst/>
            <a:rect l="l" t="t" r="r" b="b"/>
            <a:pathLst>
              <a:path w="271650" h="646255" extrusionOk="0">
                <a:moveTo>
                  <a:pt x="43766" y="646228"/>
                </a:moveTo>
                <a:cubicBezTo>
                  <a:pt x="43766" y="646228"/>
                  <a:pt x="43586" y="646228"/>
                  <a:pt x="43586" y="646228"/>
                </a:cubicBezTo>
                <a:cubicBezTo>
                  <a:pt x="42320" y="646047"/>
                  <a:pt x="41415" y="644962"/>
                  <a:pt x="41235" y="643696"/>
                </a:cubicBezTo>
                <a:lnTo>
                  <a:pt x="0" y="4918"/>
                </a:lnTo>
                <a:cubicBezTo>
                  <a:pt x="0" y="4195"/>
                  <a:pt x="180" y="3471"/>
                  <a:pt x="723" y="2929"/>
                </a:cubicBezTo>
                <a:cubicBezTo>
                  <a:pt x="1266" y="2386"/>
                  <a:pt x="1989" y="2024"/>
                  <a:pt x="2713" y="2024"/>
                </a:cubicBezTo>
                <a:lnTo>
                  <a:pt x="268931" y="35"/>
                </a:lnTo>
                <a:cubicBezTo>
                  <a:pt x="270016" y="-146"/>
                  <a:pt x="270558" y="397"/>
                  <a:pt x="271101" y="1120"/>
                </a:cubicBezTo>
                <a:cubicBezTo>
                  <a:pt x="271643" y="1844"/>
                  <a:pt x="271824" y="2748"/>
                  <a:pt x="271462" y="3652"/>
                </a:cubicBezTo>
                <a:lnTo>
                  <a:pt x="46479" y="644419"/>
                </a:lnTo>
                <a:cubicBezTo>
                  <a:pt x="46118" y="645685"/>
                  <a:pt x="44852" y="646409"/>
                  <a:pt x="43766" y="646228"/>
                </a:cubicBezTo>
                <a:close/>
                <a:moveTo>
                  <a:pt x="5425" y="7450"/>
                </a:moveTo>
                <a:lnTo>
                  <a:pt x="45575" y="630132"/>
                </a:lnTo>
                <a:lnTo>
                  <a:pt x="264771" y="5461"/>
                </a:lnTo>
                <a:lnTo>
                  <a:pt x="5425" y="745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5" name="Google Shape;1165;p53"/>
          <p:cNvSpPr/>
          <p:nvPr/>
        </p:nvSpPr>
        <p:spPr>
          <a:xfrm>
            <a:off x="12212988" y="3461119"/>
            <a:ext cx="580801" cy="341086"/>
          </a:xfrm>
          <a:custGeom>
            <a:avLst/>
            <a:gdLst/>
            <a:ahLst/>
            <a:cxnLst/>
            <a:rect l="l" t="t" r="r" b="b"/>
            <a:pathLst>
              <a:path w="580801" h="341086" extrusionOk="0">
                <a:moveTo>
                  <a:pt x="577901" y="341051"/>
                </a:moveTo>
                <a:cubicBezTo>
                  <a:pt x="577539" y="341051"/>
                  <a:pt x="577358" y="340870"/>
                  <a:pt x="576997" y="340870"/>
                </a:cubicBezTo>
                <a:lnTo>
                  <a:pt x="1518" y="85504"/>
                </a:lnTo>
                <a:cubicBezTo>
                  <a:pt x="794" y="85142"/>
                  <a:pt x="252" y="84600"/>
                  <a:pt x="71" y="83876"/>
                </a:cubicBezTo>
                <a:cubicBezTo>
                  <a:pt x="-110" y="83153"/>
                  <a:pt x="71" y="82248"/>
                  <a:pt x="433" y="81706"/>
                </a:cubicBezTo>
                <a:lnTo>
                  <a:pt x="54327" y="1226"/>
                </a:lnTo>
                <a:cubicBezTo>
                  <a:pt x="55231" y="-40"/>
                  <a:pt x="56859" y="-402"/>
                  <a:pt x="57944" y="502"/>
                </a:cubicBezTo>
                <a:lnTo>
                  <a:pt x="579528" y="336349"/>
                </a:lnTo>
                <a:cubicBezTo>
                  <a:pt x="580795" y="337072"/>
                  <a:pt x="581157" y="338700"/>
                  <a:pt x="580433" y="339966"/>
                </a:cubicBezTo>
                <a:cubicBezTo>
                  <a:pt x="579891" y="340689"/>
                  <a:pt x="578986" y="341232"/>
                  <a:pt x="577901" y="341051"/>
                </a:cubicBezTo>
                <a:close/>
                <a:moveTo>
                  <a:pt x="6582" y="81887"/>
                </a:moveTo>
                <a:lnTo>
                  <a:pt x="547336" y="321881"/>
                </a:lnTo>
                <a:lnTo>
                  <a:pt x="57221" y="6290"/>
                </a:lnTo>
                <a:lnTo>
                  <a:pt x="6582" y="8188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6" name="Google Shape;1166;p53"/>
          <p:cNvSpPr/>
          <p:nvPr/>
        </p:nvSpPr>
        <p:spPr>
          <a:xfrm>
            <a:off x="12266818" y="2820312"/>
            <a:ext cx="527103" cy="981929"/>
          </a:xfrm>
          <a:custGeom>
            <a:avLst/>
            <a:gdLst/>
            <a:ahLst/>
            <a:cxnLst/>
            <a:rect l="l" t="t" r="r" b="b"/>
            <a:pathLst>
              <a:path w="527103" h="981929" extrusionOk="0">
                <a:moveTo>
                  <a:pt x="524071" y="981859"/>
                </a:moveTo>
                <a:cubicBezTo>
                  <a:pt x="523710" y="981859"/>
                  <a:pt x="523167" y="981678"/>
                  <a:pt x="522806" y="981497"/>
                </a:cubicBezTo>
                <a:lnTo>
                  <a:pt x="1221" y="645650"/>
                </a:lnTo>
                <a:cubicBezTo>
                  <a:pt x="136" y="644927"/>
                  <a:pt x="-226" y="643661"/>
                  <a:pt x="136" y="642576"/>
                </a:cubicBezTo>
                <a:lnTo>
                  <a:pt x="225119" y="1809"/>
                </a:lnTo>
                <a:cubicBezTo>
                  <a:pt x="225481" y="723"/>
                  <a:pt x="226566" y="0"/>
                  <a:pt x="227651" y="0"/>
                </a:cubicBezTo>
                <a:cubicBezTo>
                  <a:pt x="228917" y="181"/>
                  <a:pt x="229821" y="723"/>
                  <a:pt x="230183" y="1989"/>
                </a:cubicBezTo>
                <a:lnTo>
                  <a:pt x="526965" y="978603"/>
                </a:lnTo>
                <a:cubicBezTo>
                  <a:pt x="527327" y="979688"/>
                  <a:pt x="526965" y="980774"/>
                  <a:pt x="526061" y="981497"/>
                </a:cubicBezTo>
                <a:cubicBezTo>
                  <a:pt x="525337" y="981859"/>
                  <a:pt x="524614" y="982040"/>
                  <a:pt x="524071" y="981859"/>
                </a:cubicBezTo>
                <a:close/>
                <a:moveTo>
                  <a:pt x="5923" y="642214"/>
                </a:moveTo>
                <a:lnTo>
                  <a:pt x="519550" y="972997"/>
                </a:lnTo>
                <a:lnTo>
                  <a:pt x="227289" y="11213"/>
                </a:lnTo>
                <a:lnTo>
                  <a:pt x="5923" y="64221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7" name="Google Shape;1167;p53"/>
          <p:cNvSpPr/>
          <p:nvPr/>
        </p:nvSpPr>
        <p:spPr>
          <a:xfrm>
            <a:off x="8942124" y="4957027"/>
            <a:ext cx="912491" cy="634698"/>
          </a:xfrm>
          <a:custGeom>
            <a:avLst/>
            <a:gdLst/>
            <a:ahLst/>
            <a:cxnLst/>
            <a:rect l="l" t="t" r="r" b="b"/>
            <a:pathLst>
              <a:path w="912491" h="634698" extrusionOk="0">
                <a:moveTo>
                  <a:pt x="642576" y="634699"/>
                </a:moveTo>
                <a:cubicBezTo>
                  <a:pt x="642395" y="634699"/>
                  <a:pt x="642033" y="634699"/>
                  <a:pt x="641853" y="634518"/>
                </a:cubicBezTo>
                <a:lnTo>
                  <a:pt x="1809" y="405194"/>
                </a:lnTo>
                <a:cubicBezTo>
                  <a:pt x="723" y="404832"/>
                  <a:pt x="0" y="403928"/>
                  <a:pt x="0" y="402843"/>
                </a:cubicBezTo>
                <a:cubicBezTo>
                  <a:pt x="0" y="401758"/>
                  <a:pt x="543" y="400673"/>
                  <a:pt x="1628" y="400311"/>
                </a:cubicBezTo>
                <a:lnTo>
                  <a:pt x="908794" y="261"/>
                </a:lnTo>
                <a:cubicBezTo>
                  <a:pt x="909879" y="-281"/>
                  <a:pt x="910964" y="80"/>
                  <a:pt x="911687" y="804"/>
                </a:cubicBezTo>
                <a:cubicBezTo>
                  <a:pt x="912411" y="1527"/>
                  <a:pt x="912773" y="2793"/>
                  <a:pt x="912230" y="3697"/>
                </a:cubicBezTo>
                <a:lnTo>
                  <a:pt x="645108" y="633071"/>
                </a:lnTo>
                <a:cubicBezTo>
                  <a:pt x="644746" y="634156"/>
                  <a:pt x="643661" y="634699"/>
                  <a:pt x="642576" y="634699"/>
                </a:cubicBezTo>
                <a:close/>
                <a:moveTo>
                  <a:pt x="9766" y="402301"/>
                </a:moveTo>
                <a:lnTo>
                  <a:pt x="641129" y="628550"/>
                </a:lnTo>
                <a:lnTo>
                  <a:pt x="904634" y="7676"/>
                </a:lnTo>
                <a:lnTo>
                  <a:pt x="9766" y="40230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8" name="Google Shape;1168;p53"/>
          <p:cNvSpPr/>
          <p:nvPr/>
        </p:nvSpPr>
        <p:spPr>
          <a:xfrm>
            <a:off x="9582169" y="4956988"/>
            <a:ext cx="832654" cy="634737"/>
          </a:xfrm>
          <a:custGeom>
            <a:avLst/>
            <a:gdLst/>
            <a:ahLst/>
            <a:cxnLst/>
            <a:rect l="l" t="t" r="r" b="b"/>
            <a:pathLst>
              <a:path w="832654" h="634737" extrusionOk="0">
                <a:moveTo>
                  <a:pt x="2532" y="634737"/>
                </a:moveTo>
                <a:cubicBezTo>
                  <a:pt x="1809" y="634737"/>
                  <a:pt x="1266" y="634375"/>
                  <a:pt x="723" y="633833"/>
                </a:cubicBezTo>
                <a:cubicBezTo>
                  <a:pt x="0" y="633109"/>
                  <a:pt x="-181" y="631843"/>
                  <a:pt x="181" y="630939"/>
                </a:cubicBezTo>
                <a:lnTo>
                  <a:pt x="267303" y="1566"/>
                </a:lnTo>
                <a:cubicBezTo>
                  <a:pt x="267665" y="842"/>
                  <a:pt x="268207" y="300"/>
                  <a:pt x="268931" y="119"/>
                </a:cubicBezTo>
                <a:cubicBezTo>
                  <a:pt x="269654" y="-62"/>
                  <a:pt x="270378" y="-62"/>
                  <a:pt x="271101" y="300"/>
                </a:cubicBezTo>
                <a:lnTo>
                  <a:pt x="831207" y="314987"/>
                </a:lnTo>
                <a:cubicBezTo>
                  <a:pt x="832112" y="315529"/>
                  <a:pt x="832654" y="316433"/>
                  <a:pt x="832654" y="317519"/>
                </a:cubicBezTo>
                <a:cubicBezTo>
                  <a:pt x="832654" y="318604"/>
                  <a:pt x="831931" y="319508"/>
                  <a:pt x="830846" y="319869"/>
                </a:cubicBezTo>
                <a:lnTo>
                  <a:pt x="3617" y="634556"/>
                </a:lnTo>
                <a:cubicBezTo>
                  <a:pt x="3255" y="634737"/>
                  <a:pt x="2894" y="634737"/>
                  <a:pt x="2532" y="634737"/>
                </a:cubicBezTo>
                <a:close/>
                <a:moveTo>
                  <a:pt x="270920" y="6449"/>
                </a:moveTo>
                <a:lnTo>
                  <a:pt x="7415" y="627322"/>
                </a:lnTo>
                <a:lnTo>
                  <a:pt x="823431" y="316976"/>
                </a:lnTo>
                <a:lnTo>
                  <a:pt x="270920" y="64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9" name="Google Shape;1169;p53"/>
          <p:cNvSpPr/>
          <p:nvPr/>
        </p:nvSpPr>
        <p:spPr>
          <a:xfrm>
            <a:off x="11896931" y="6101781"/>
            <a:ext cx="757350" cy="1017260"/>
          </a:xfrm>
          <a:custGeom>
            <a:avLst/>
            <a:gdLst/>
            <a:ahLst/>
            <a:cxnLst/>
            <a:rect l="l" t="t" r="r" b="b"/>
            <a:pathLst>
              <a:path w="757350" h="1017260" extrusionOk="0">
                <a:moveTo>
                  <a:pt x="408544" y="1017260"/>
                </a:moveTo>
                <a:lnTo>
                  <a:pt x="408544" y="1017260"/>
                </a:lnTo>
                <a:cubicBezTo>
                  <a:pt x="407459" y="1017260"/>
                  <a:pt x="406555" y="1016537"/>
                  <a:pt x="406193" y="1015632"/>
                </a:cubicBezTo>
                <a:lnTo>
                  <a:pt x="175" y="3752"/>
                </a:lnTo>
                <a:cubicBezTo>
                  <a:pt x="-187" y="2667"/>
                  <a:pt x="-6" y="1581"/>
                  <a:pt x="898" y="677"/>
                </a:cubicBezTo>
                <a:cubicBezTo>
                  <a:pt x="1802" y="-46"/>
                  <a:pt x="3068" y="-227"/>
                  <a:pt x="3973" y="315"/>
                </a:cubicBezTo>
                <a:lnTo>
                  <a:pt x="755965" y="400908"/>
                </a:lnTo>
                <a:cubicBezTo>
                  <a:pt x="756689" y="401270"/>
                  <a:pt x="757051" y="401813"/>
                  <a:pt x="757231" y="402536"/>
                </a:cubicBezTo>
                <a:cubicBezTo>
                  <a:pt x="757412" y="403259"/>
                  <a:pt x="757412" y="403983"/>
                  <a:pt x="757051" y="404525"/>
                </a:cubicBezTo>
                <a:lnTo>
                  <a:pt x="411076" y="1015813"/>
                </a:lnTo>
                <a:cubicBezTo>
                  <a:pt x="410534" y="1016718"/>
                  <a:pt x="409629" y="1017260"/>
                  <a:pt x="408544" y="1017260"/>
                </a:cubicBezTo>
                <a:close/>
                <a:moveTo>
                  <a:pt x="8132" y="8454"/>
                </a:moveTo>
                <a:lnTo>
                  <a:pt x="409268" y="1008217"/>
                </a:lnTo>
                <a:lnTo>
                  <a:pt x="751082" y="404163"/>
                </a:lnTo>
                <a:lnTo>
                  <a:pt x="8132" y="84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0" name="Google Shape;1170;p53"/>
          <p:cNvSpPr/>
          <p:nvPr/>
        </p:nvSpPr>
        <p:spPr>
          <a:xfrm>
            <a:off x="9686630" y="4070888"/>
            <a:ext cx="397799" cy="210908"/>
          </a:xfrm>
          <a:custGeom>
            <a:avLst/>
            <a:gdLst/>
            <a:ahLst/>
            <a:cxnLst/>
            <a:rect l="l" t="t" r="r" b="b"/>
            <a:pathLst>
              <a:path w="397799" h="210908" extrusionOk="0">
                <a:moveTo>
                  <a:pt x="243864" y="210908"/>
                </a:moveTo>
                <a:cubicBezTo>
                  <a:pt x="243322" y="210908"/>
                  <a:pt x="242779" y="210727"/>
                  <a:pt x="242237" y="210185"/>
                </a:cubicBezTo>
                <a:lnTo>
                  <a:pt x="977" y="4734"/>
                </a:lnTo>
                <a:cubicBezTo>
                  <a:pt x="-109" y="3830"/>
                  <a:pt x="-289" y="2383"/>
                  <a:pt x="434" y="1298"/>
                </a:cubicBezTo>
                <a:cubicBezTo>
                  <a:pt x="1158" y="213"/>
                  <a:pt x="2604" y="-330"/>
                  <a:pt x="3870" y="213"/>
                </a:cubicBezTo>
                <a:lnTo>
                  <a:pt x="396144" y="170216"/>
                </a:lnTo>
                <a:cubicBezTo>
                  <a:pt x="397229" y="170759"/>
                  <a:pt x="397952" y="171844"/>
                  <a:pt x="397771" y="172929"/>
                </a:cubicBezTo>
                <a:cubicBezTo>
                  <a:pt x="397591" y="174014"/>
                  <a:pt x="396867" y="175099"/>
                  <a:pt x="395782" y="175280"/>
                </a:cubicBezTo>
                <a:lnTo>
                  <a:pt x="244769" y="210727"/>
                </a:lnTo>
                <a:cubicBezTo>
                  <a:pt x="244407" y="210908"/>
                  <a:pt x="244045" y="210908"/>
                  <a:pt x="243864" y="210908"/>
                </a:cubicBezTo>
                <a:close/>
                <a:moveTo>
                  <a:pt x="18339" y="12330"/>
                </a:moveTo>
                <a:lnTo>
                  <a:pt x="244769" y="205302"/>
                </a:lnTo>
                <a:lnTo>
                  <a:pt x="386558" y="172025"/>
                </a:lnTo>
                <a:lnTo>
                  <a:pt x="18339" y="123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1" name="Google Shape;1171;p53"/>
          <p:cNvSpPr/>
          <p:nvPr/>
        </p:nvSpPr>
        <p:spPr>
          <a:xfrm>
            <a:off x="9686702" y="3931524"/>
            <a:ext cx="543705" cy="314853"/>
          </a:xfrm>
          <a:custGeom>
            <a:avLst/>
            <a:gdLst/>
            <a:ahLst/>
            <a:cxnLst/>
            <a:rect l="l" t="t" r="r" b="b"/>
            <a:pathLst>
              <a:path w="543705" h="314853" extrusionOk="0">
                <a:moveTo>
                  <a:pt x="394805" y="314825"/>
                </a:moveTo>
                <a:cubicBezTo>
                  <a:pt x="394444" y="314825"/>
                  <a:pt x="394263" y="314645"/>
                  <a:pt x="393901" y="314645"/>
                </a:cubicBezTo>
                <a:lnTo>
                  <a:pt x="1628" y="144641"/>
                </a:lnTo>
                <a:cubicBezTo>
                  <a:pt x="543" y="144099"/>
                  <a:pt x="0" y="143194"/>
                  <a:pt x="0" y="141929"/>
                </a:cubicBezTo>
                <a:cubicBezTo>
                  <a:pt x="0" y="140662"/>
                  <a:pt x="904" y="139758"/>
                  <a:pt x="1989" y="139577"/>
                </a:cubicBezTo>
                <a:lnTo>
                  <a:pt x="540393" y="139"/>
                </a:lnTo>
                <a:cubicBezTo>
                  <a:pt x="541298" y="-223"/>
                  <a:pt x="542564" y="139"/>
                  <a:pt x="543106" y="1043"/>
                </a:cubicBezTo>
                <a:cubicBezTo>
                  <a:pt x="543829" y="1766"/>
                  <a:pt x="543829" y="3032"/>
                  <a:pt x="543468" y="3937"/>
                </a:cubicBezTo>
                <a:lnTo>
                  <a:pt x="397338" y="313559"/>
                </a:lnTo>
                <a:cubicBezTo>
                  <a:pt x="396976" y="314283"/>
                  <a:pt x="395891" y="315006"/>
                  <a:pt x="394805" y="314825"/>
                </a:cubicBezTo>
                <a:close/>
                <a:moveTo>
                  <a:pt x="11032" y="142833"/>
                </a:moveTo>
                <a:lnTo>
                  <a:pt x="393720" y="308676"/>
                </a:lnTo>
                <a:lnTo>
                  <a:pt x="536234" y="6649"/>
                </a:lnTo>
                <a:lnTo>
                  <a:pt x="11032" y="14283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2" name="Google Shape;1172;p53"/>
          <p:cNvSpPr/>
          <p:nvPr/>
        </p:nvSpPr>
        <p:spPr>
          <a:xfrm>
            <a:off x="9849110" y="4241057"/>
            <a:ext cx="234929" cy="721294"/>
          </a:xfrm>
          <a:custGeom>
            <a:avLst/>
            <a:gdLst/>
            <a:ahLst/>
            <a:cxnLst/>
            <a:rect l="l" t="t" r="r" b="b"/>
            <a:pathLst>
              <a:path w="234929" h="721294" extrusionOk="0">
                <a:moveTo>
                  <a:pt x="2532" y="721294"/>
                </a:moveTo>
                <a:cubicBezTo>
                  <a:pt x="2351" y="721294"/>
                  <a:pt x="2351" y="721294"/>
                  <a:pt x="2170" y="721294"/>
                </a:cubicBezTo>
                <a:cubicBezTo>
                  <a:pt x="904" y="720933"/>
                  <a:pt x="0" y="719667"/>
                  <a:pt x="0" y="718401"/>
                </a:cubicBezTo>
                <a:lnTo>
                  <a:pt x="78672" y="37846"/>
                </a:lnTo>
                <a:cubicBezTo>
                  <a:pt x="78853" y="36761"/>
                  <a:pt x="79576" y="35856"/>
                  <a:pt x="80661" y="35494"/>
                </a:cubicBezTo>
                <a:lnTo>
                  <a:pt x="231675" y="47"/>
                </a:lnTo>
                <a:cubicBezTo>
                  <a:pt x="232579" y="-134"/>
                  <a:pt x="233664" y="228"/>
                  <a:pt x="234207" y="770"/>
                </a:cubicBezTo>
                <a:cubicBezTo>
                  <a:pt x="234930" y="1494"/>
                  <a:pt x="235111" y="2579"/>
                  <a:pt x="234749" y="3483"/>
                </a:cubicBezTo>
                <a:lnTo>
                  <a:pt x="4883" y="719486"/>
                </a:lnTo>
                <a:cubicBezTo>
                  <a:pt x="4883" y="720571"/>
                  <a:pt x="3798" y="721294"/>
                  <a:pt x="2532" y="721294"/>
                </a:cubicBezTo>
                <a:close/>
                <a:moveTo>
                  <a:pt x="83916" y="40197"/>
                </a:moveTo>
                <a:lnTo>
                  <a:pt x="8500" y="691454"/>
                </a:lnTo>
                <a:lnTo>
                  <a:pt x="228419" y="6196"/>
                </a:lnTo>
                <a:lnTo>
                  <a:pt x="83916" y="401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3" name="Google Shape;1173;p53"/>
          <p:cNvSpPr/>
          <p:nvPr/>
        </p:nvSpPr>
        <p:spPr>
          <a:xfrm>
            <a:off x="10078995" y="3931182"/>
            <a:ext cx="1045068" cy="428381"/>
          </a:xfrm>
          <a:custGeom>
            <a:avLst/>
            <a:gdLst/>
            <a:ahLst/>
            <a:cxnLst/>
            <a:rect l="l" t="t" r="r" b="b"/>
            <a:pathLst>
              <a:path w="1045068" h="428381" extrusionOk="0">
                <a:moveTo>
                  <a:pt x="1042064" y="428382"/>
                </a:moveTo>
                <a:cubicBezTo>
                  <a:pt x="1042064" y="428382"/>
                  <a:pt x="1042064" y="428382"/>
                  <a:pt x="1042064" y="428382"/>
                </a:cubicBezTo>
                <a:lnTo>
                  <a:pt x="2332" y="315167"/>
                </a:lnTo>
                <a:cubicBezTo>
                  <a:pt x="1428" y="314986"/>
                  <a:pt x="704" y="314625"/>
                  <a:pt x="342" y="313720"/>
                </a:cubicBezTo>
                <a:cubicBezTo>
                  <a:pt x="-19" y="312997"/>
                  <a:pt x="-200" y="312093"/>
                  <a:pt x="342" y="311188"/>
                </a:cubicBezTo>
                <a:lnTo>
                  <a:pt x="146473" y="1566"/>
                </a:lnTo>
                <a:cubicBezTo>
                  <a:pt x="146835" y="842"/>
                  <a:pt x="147377" y="480"/>
                  <a:pt x="147920" y="119"/>
                </a:cubicBezTo>
                <a:cubicBezTo>
                  <a:pt x="148643" y="-62"/>
                  <a:pt x="149367" y="-62"/>
                  <a:pt x="149909" y="300"/>
                </a:cubicBezTo>
                <a:lnTo>
                  <a:pt x="1043511" y="422957"/>
                </a:lnTo>
                <a:cubicBezTo>
                  <a:pt x="1044777" y="423499"/>
                  <a:pt x="1045320" y="424765"/>
                  <a:pt x="1044958" y="426031"/>
                </a:cubicBezTo>
                <a:cubicBezTo>
                  <a:pt x="1044596" y="427659"/>
                  <a:pt x="1043330" y="428382"/>
                  <a:pt x="1042064" y="428382"/>
                </a:cubicBezTo>
                <a:close/>
                <a:moveTo>
                  <a:pt x="6672" y="310284"/>
                </a:moveTo>
                <a:lnTo>
                  <a:pt x="1026692" y="421329"/>
                </a:lnTo>
                <a:lnTo>
                  <a:pt x="150090" y="6630"/>
                </a:lnTo>
                <a:lnTo>
                  <a:pt x="6672" y="3102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4" name="Google Shape;1174;p53"/>
          <p:cNvSpPr/>
          <p:nvPr/>
        </p:nvSpPr>
        <p:spPr>
          <a:xfrm>
            <a:off x="10167956" y="3097608"/>
            <a:ext cx="548893" cy="839186"/>
          </a:xfrm>
          <a:custGeom>
            <a:avLst/>
            <a:gdLst/>
            <a:ahLst/>
            <a:cxnLst/>
            <a:rect l="l" t="t" r="r" b="b"/>
            <a:pathLst>
              <a:path w="548893" h="839186" extrusionOk="0">
                <a:moveTo>
                  <a:pt x="59682" y="839118"/>
                </a:moveTo>
                <a:cubicBezTo>
                  <a:pt x="59320" y="839118"/>
                  <a:pt x="58958" y="838938"/>
                  <a:pt x="58778" y="838938"/>
                </a:cubicBezTo>
                <a:cubicBezTo>
                  <a:pt x="57873" y="838576"/>
                  <a:pt x="57331" y="837672"/>
                  <a:pt x="57150" y="836586"/>
                </a:cubicBezTo>
                <a:lnTo>
                  <a:pt x="0" y="2847"/>
                </a:lnTo>
                <a:cubicBezTo>
                  <a:pt x="0" y="1762"/>
                  <a:pt x="543" y="677"/>
                  <a:pt x="1447" y="315"/>
                </a:cubicBezTo>
                <a:cubicBezTo>
                  <a:pt x="2351" y="-227"/>
                  <a:pt x="3617" y="-46"/>
                  <a:pt x="4340" y="677"/>
                </a:cubicBezTo>
                <a:lnTo>
                  <a:pt x="547989" y="480303"/>
                </a:lnTo>
                <a:cubicBezTo>
                  <a:pt x="548531" y="480846"/>
                  <a:pt x="548893" y="481569"/>
                  <a:pt x="548893" y="482473"/>
                </a:cubicBezTo>
                <a:cubicBezTo>
                  <a:pt x="548893" y="483378"/>
                  <a:pt x="548531" y="484101"/>
                  <a:pt x="547808" y="484463"/>
                </a:cubicBezTo>
                <a:lnTo>
                  <a:pt x="61310" y="838576"/>
                </a:lnTo>
                <a:cubicBezTo>
                  <a:pt x="60767" y="839118"/>
                  <a:pt x="60224" y="839299"/>
                  <a:pt x="59682" y="839118"/>
                </a:cubicBezTo>
                <a:close/>
                <a:moveTo>
                  <a:pt x="5787" y="8996"/>
                </a:moveTo>
                <a:lnTo>
                  <a:pt x="62214" y="831342"/>
                </a:lnTo>
                <a:lnTo>
                  <a:pt x="542021" y="481931"/>
                </a:lnTo>
                <a:lnTo>
                  <a:pt x="5787" y="89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5" name="Google Shape;1175;p53"/>
          <p:cNvSpPr/>
          <p:nvPr/>
        </p:nvSpPr>
        <p:spPr>
          <a:xfrm>
            <a:off x="10167910" y="2904393"/>
            <a:ext cx="548939" cy="678220"/>
          </a:xfrm>
          <a:custGeom>
            <a:avLst/>
            <a:gdLst/>
            <a:ahLst/>
            <a:cxnLst/>
            <a:rect l="l" t="t" r="r" b="b"/>
            <a:pathLst>
              <a:path w="548939" h="678220" extrusionOk="0">
                <a:moveTo>
                  <a:pt x="546227" y="678220"/>
                </a:moveTo>
                <a:cubicBezTo>
                  <a:pt x="545684" y="678220"/>
                  <a:pt x="545142" y="678040"/>
                  <a:pt x="544599" y="677497"/>
                </a:cubicBezTo>
                <a:lnTo>
                  <a:pt x="950" y="197871"/>
                </a:lnTo>
                <a:cubicBezTo>
                  <a:pt x="227" y="197328"/>
                  <a:pt x="-135" y="196243"/>
                  <a:pt x="46" y="195339"/>
                </a:cubicBezTo>
                <a:cubicBezTo>
                  <a:pt x="227" y="194435"/>
                  <a:pt x="769" y="193711"/>
                  <a:pt x="1674" y="193350"/>
                </a:cubicBezTo>
                <a:lnTo>
                  <a:pt x="512045" y="197"/>
                </a:lnTo>
                <a:cubicBezTo>
                  <a:pt x="512769" y="-165"/>
                  <a:pt x="513673" y="16"/>
                  <a:pt x="514396" y="378"/>
                </a:cubicBezTo>
                <a:cubicBezTo>
                  <a:pt x="515120" y="921"/>
                  <a:pt x="515481" y="1644"/>
                  <a:pt x="515662" y="2548"/>
                </a:cubicBezTo>
                <a:lnTo>
                  <a:pt x="548939" y="675327"/>
                </a:lnTo>
                <a:cubicBezTo>
                  <a:pt x="548939" y="676412"/>
                  <a:pt x="548397" y="677497"/>
                  <a:pt x="547493" y="677859"/>
                </a:cubicBezTo>
                <a:cubicBezTo>
                  <a:pt x="547131" y="678220"/>
                  <a:pt x="546588" y="678220"/>
                  <a:pt x="546227" y="678220"/>
                </a:cubicBezTo>
                <a:close/>
                <a:moveTo>
                  <a:pt x="7823" y="196786"/>
                </a:moveTo>
                <a:lnTo>
                  <a:pt x="543333" y="669178"/>
                </a:lnTo>
                <a:lnTo>
                  <a:pt x="510417" y="6527"/>
                </a:lnTo>
                <a:lnTo>
                  <a:pt x="7823" y="19678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6" name="Google Shape;1176;p53"/>
          <p:cNvSpPr/>
          <p:nvPr/>
        </p:nvSpPr>
        <p:spPr>
          <a:xfrm>
            <a:off x="10500480" y="1766981"/>
            <a:ext cx="1021558" cy="1142888"/>
          </a:xfrm>
          <a:custGeom>
            <a:avLst/>
            <a:gdLst/>
            <a:ahLst/>
            <a:cxnLst/>
            <a:rect l="l" t="t" r="r" b="b"/>
            <a:pathLst>
              <a:path w="1021558" h="1142888" extrusionOk="0">
                <a:moveTo>
                  <a:pt x="180380" y="1142854"/>
                </a:moveTo>
                <a:cubicBezTo>
                  <a:pt x="180199" y="1142854"/>
                  <a:pt x="180018" y="1142854"/>
                  <a:pt x="180018" y="1142854"/>
                </a:cubicBezTo>
                <a:cubicBezTo>
                  <a:pt x="178933" y="1142673"/>
                  <a:pt x="178209" y="1141769"/>
                  <a:pt x="178029" y="1140684"/>
                </a:cubicBezTo>
                <a:lnTo>
                  <a:pt x="68" y="141644"/>
                </a:lnTo>
                <a:cubicBezTo>
                  <a:pt x="-113" y="140920"/>
                  <a:pt x="68" y="140197"/>
                  <a:pt x="610" y="139654"/>
                </a:cubicBezTo>
                <a:cubicBezTo>
                  <a:pt x="972" y="139112"/>
                  <a:pt x="1696" y="138750"/>
                  <a:pt x="2419" y="138569"/>
                </a:cubicBezTo>
                <a:lnTo>
                  <a:pt x="1018460" y="35"/>
                </a:lnTo>
                <a:cubicBezTo>
                  <a:pt x="1019545" y="-146"/>
                  <a:pt x="1020630" y="396"/>
                  <a:pt x="1021172" y="1301"/>
                </a:cubicBezTo>
                <a:cubicBezTo>
                  <a:pt x="1021715" y="2205"/>
                  <a:pt x="1021715" y="3471"/>
                  <a:pt x="1020992" y="4194"/>
                </a:cubicBezTo>
                <a:lnTo>
                  <a:pt x="182912" y="1141769"/>
                </a:lnTo>
                <a:cubicBezTo>
                  <a:pt x="182007" y="1142492"/>
                  <a:pt x="181103" y="1143035"/>
                  <a:pt x="180380" y="1142854"/>
                </a:cubicBezTo>
                <a:close/>
                <a:moveTo>
                  <a:pt x="5674" y="143452"/>
                </a:moveTo>
                <a:lnTo>
                  <a:pt x="182007" y="1133630"/>
                </a:lnTo>
                <a:lnTo>
                  <a:pt x="1012491" y="6184"/>
                </a:lnTo>
                <a:lnTo>
                  <a:pt x="5674" y="1434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7" name="Google Shape;1177;p53"/>
          <p:cNvSpPr/>
          <p:nvPr/>
        </p:nvSpPr>
        <p:spPr>
          <a:xfrm>
            <a:off x="10678328" y="2904421"/>
            <a:ext cx="428873" cy="678192"/>
          </a:xfrm>
          <a:custGeom>
            <a:avLst/>
            <a:gdLst/>
            <a:ahLst/>
            <a:cxnLst/>
            <a:rect l="l" t="t" r="r" b="b"/>
            <a:pathLst>
              <a:path w="428873" h="678192" extrusionOk="0">
                <a:moveTo>
                  <a:pt x="35809" y="678193"/>
                </a:moveTo>
                <a:cubicBezTo>
                  <a:pt x="35267" y="678193"/>
                  <a:pt x="34905" y="678012"/>
                  <a:pt x="34543" y="677831"/>
                </a:cubicBezTo>
                <a:cubicBezTo>
                  <a:pt x="33820" y="677288"/>
                  <a:pt x="33458" y="676565"/>
                  <a:pt x="33277" y="675661"/>
                </a:cubicBezTo>
                <a:lnTo>
                  <a:pt x="0" y="2882"/>
                </a:lnTo>
                <a:cubicBezTo>
                  <a:pt x="0" y="1797"/>
                  <a:pt x="724" y="712"/>
                  <a:pt x="1809" y="169"/>
                </a:cubicBezTo>
                <a:cubicBezTo>
                  <a:pt x="2894" y="-192"/>
                  <a:pt x="4160" y="-12"/>
                  <a:pt x="4883" y="1074"/>
                </a:cubicBezTo>
                <a:lnTo>
                  <a:pt x="428264" y="526817"/>
                </a:lnTo>
                <a:cubicBezTo>
                  <a:pt x="428806" y="527541"/>
                  <a:pt x="428987" y="528445"/>
                  <a:pt x="428806" y="529168"/>
                </a:cubicBezTo>
                <a:cubicBezTo>
                  <a:pt x="428625" y="530073"/>
                  <a:pt x="427902" y="530615"/>
                  <a:pt x="427179" y="530977"/>
                </a:cubicBezTo>
                <a:lnTo>
                  <a:pt x="37075" y="678012"/>
                </a:lnTo>
                <a:cubicBezTo>
                  <a:pt x="36533" y="678193"/>
                  <a:pt x="36171" y="678193"/>
                  <a:pt x="35809" y="678193"/>
                </a:cubicBezTo>
                <a:close/>
                <a:moveTo>
                  <a:pt x="5787" y="11020"/>
                </a:moveTo>
                <a:lnTo>
                  <a:pt x="38522" y="671863"/>
                </a:lnTo>
                <a:lnTo>
                  <a:pt x="421572" y="527360"/>
                </a:lnTo>
                <a:lnTo>
                  <a:pt x="5787" y="110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8" name="Google Shape;1178;p53"/>
          <p:cNvSpPr/>
          <p:nvPr/>
        </p:nvSpPr>
        <p:spPr>
          <a:xfrm>
            <a:off x="10678303" y="2904296"/>
            <a:ext cx="761830" cy="531282"/>
          </a:xfrm>
          <a:custGeom>
            <a:avLst/>
            <a:gdLst/>
            <a:ahLst/>
            <a:cxnLst/>
            <a:rect l="l" t="t" r="r" b="b"/>
            <a:pathLst>
              <a:path w="761830" h="531282" extrusionOk="0">
                <a:moveTo>
                  <a:pt x="425937" y="531283"/>
                </a:moveTo>
                <a:cubicBezTo>
                  <a:pt x="425214" y="531102"/>
                  <a:pt x="424490" y="530921"/>
                  <a:pt x="423948" y="530198"/>
                </a:cubicBezTo>
                <a:lnTo>
                  <a:pt x="568" y="4454"/>
                </a:lnTo>
                <a:cubicBezTo>
                  <a:pt x="-156" y="3549"/>
                  <a:pt x="-156" y="2284"/>
                  <a:pt x="387" y="1198"/>
                </a:cubicBezTo>
                <a:cubicBezTo>
                  <a:pt x="1110" y="294"/>
                  <a:pt x="2376" y="-248"/>
                  <a:pt x="3461" y="113"/>
                </a:cubicBezTo>
                <a:lnTo>
                  <a:pt x="759976" y="243543"/>
                </a:lnTo>
                <a:cubicBezTo>
                  <a:pt x="760880" y="243905"/>
                  <a:pt x="761603" y="244628"/>
                  <a:pt x="761784" y="245533"/>
                </a:cubicBezTo>
                <a:cubicBezTo>
                  <a:pt x="761965" y="246437"/>
                  <a:pt x="761603" y="247522"/>
                  <a:pt x="760880" y="248065"/>
                </a:cubicBezTo>
                <a:lnTo>
                  <a:pt x="427746" y="530379"/>
                </a:lnTo>
                <a:cubicBezTo>
                  <a:pt x="427203" y="531102"/>
                  <a:pt x="426480" y="531283"/>
                  <a:pt x="425937" y="531283"/>
                </a:cubicBezTo>
                <a:close/>
                <a:moveTo>
                  <a:pt x="10334" y="8252"/>
                </a:moveTo>
                <a:lnTo>
                  <a:pt x="426299" y="524772"/>
                </a:lnTo>
                <a:lnTo>
                  <a:pt x="753646" y="247341"/>
                </a:lnTo>
                <a:lnTo>
                  <a:pt x="10334" y="82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9" name="Google Shape;1179;p53"/>
          <p:cNvSpPr/>
          <p:nvPr/>
        </p:nvSpPr>
        <p:spPr>
          <a:xfrm>
            <a:off x="10678039" y="1766877"/>
            <a:ext cx="843432" cy="1386455"/>
          </a:xfrm>
          <a:custGeom>
            <a:avLst/>
            <a:gdLst/>
            <a:ahLst/>
            <a:cxnLst/>
            <a:rect l="l" t="t" r="r" b="b"/>
            <a:pathLst>
              <a:path w="843432" h="1386455" extrusionOk="0">
                <a:moveTo>
                  <a:pt x="759154" y="1386388"/>
                </a:moveTo>
                <a:cubicBezTo>
                  <a:pt x="758974" y="1386388"/>
                  <a:pt x="758793" y="1386388"/>
                  <a:pt x="758431" y="1386207"/>
                </a:cubicBezTo>
                <a:lnTo>
                  <a:pt x="1917" y="1142777"/>
                </a:lnTo>
                <a:cubicBezTo>
                  <a:pt x="1012" y="1142596"/>
                  <a:pt x="470" y="1141873"/>
                  <a:pt x="108" y="1140968"/>
                </a:cubicBezTo>
                <a:cubicBezTo>
                  <a:pt x="-73" y="1140064"/>
                  <a:pt x="-73" y="1139160"/>
                  <a:pt x="470" y="1138617"/>
                </a:cubicBezTo>
                <a:lnTo>
                  <a:pt x="838550" y="1043"/>
                </a:lnTo>
                <a:cubicBezTo>
                  <a:pt x="839273" y="139"/>
                  <a:pt x="840539" y="-223"/>
                  <a:pt x="841624" y="139"/>
                </a:cubicBezTo>
                <a:cubicBezTo>
                  <a:pt x="842709" y="500"/>
                  <a:pt x="843433" y="1585"/>
                  <a:pt x="843433" y="2851"/>
                </a:cubicBezTo>
                <a:lnTo>
                  <a:pt x="761867" y="1383856"/>
                </a:lnTo>
                <a:cubicBezTo>
                  <a:pt x="761867" y="1384760"/>
                  <a:pt x="761325" y="1385484"/>
                  <a:pt x="760782" y="1385845"/>
                </a:cubicBezTo>
                <a:cubicBezTo>
                  <a:pt x="760421" y="1386388"/>
                  <a:pt x="759878" y="1386569"/>
                  <a:pt x="759154" y="1386388"/>
                </a:cubicBezTo>
                <a:close/>
                <a:moveTo>
                  <a:pt x="7342" y="1138979"/>
                </a:moveTo>
                <a:lnTo>
                  <a:pt x="756984" y="1380239"/>
                </a:lnTo>
                <a:lnTo>
                  <a:pt x="837826" y="11713"/>
                </a:lnTo>
                <a:lnTo>
                  <a:pt x="7342" y="113897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0" name="Google Shape;1180;p53"/>
          <p:cNvSpPr/>
          <p:nvPr/>
        </p:nvSpPr>
        <p:spPr>
          <a:xfrm>
            <a:off x="9849223" y="4241004"/>
            <a:ext cx="991831" cy="721347"/>
          </a:xfrm>
          <a:custGeom>
            <a:avLst/>
            <a:gdLst/>
            <a:ahLst/>
            <a:cxnLst/>
            <a:rect l="l" t="t" r="r" b="b"/>
            <a:pathLst>
              <a:path w="991831" h="721347" extrusionOk="0">
                <a:moveTo>
                  <a:pt x="2419" y="721348"/>
                </a:moveTo>
                <a:cubicBezTo>
                  <a:pt x="1695" y="721348"/>
                  <a:pt x="972" y="720986"/>
                  <a:pt x="610" y="720444"/>
                </a:cubicBezTo>
                <a:cubicBezTo>
                  <a:pt x="68" y="719720"/>
                  <a:pt x="-113" y="718816"/>
                  <a:pt x="68" y="717912"/>
                </a:cubicBezTo>
                <a:lnTo>
                  <a:pt x="229934" y="1909"/>
                </a:lnTo>
                <a:cubicBezTo>
                  <a:pt x="230115" y="1005"/>
                  <a:pt x="230838" y="462"/>
                  <a:pt x="231742" y="101"/>
                </a:cubicBezTo>
                <a:cubicBezTo>
                  <a:pt x="232647" y="-80"/>
                  <a:pt x="233551" y="-80"/>
                  <a:pt x="234274" y="643"/>
                </a:cubicBezTo>
                <a:lnTo>
                  <a:pt x="990789" y="593303"/>
                </a:lnTo>
                <a:cubicBezTo>
                  <a:pt x="991693" y="594027"/>
                  <a:pt x="992055" y="595112"/>
                  <a:pt x="991693" y="596197"/>
                </a:cubicBezTo>
                <a:cubicBezTo>
                  <a:pt x="991331" y="597282"/>
                  <a:pt x="990427" y="598005"/>
                  <a:pt x="989342" y="598186"/>
                </a:cubicBezTo>
                <a:lnTo>
                  <a:pt x="2962" y="721348"/>
                </a:lnTo>
                <a:cubicBezTo>
                  <a:pt x="2781" y="721348"/>
                  <a:pt x="2600" y="721348"/>
                  <a:pt x="2419" y="721348"/>
                </a:cubicBezTo>
                <a:close/>
                <a:moveTo>
                  <a:pt x="233913" y="7154"/>
                </a:moveTo>
                <a:lnTo>
                  <a:pt x="6579" y="715380"/>
                </a:lnTo>
                <a:lnTo>
                  <a:pt x="982289" y="593484"/>
                </a:lnTo>
                <a:lnTo>
                  <a:pt x="233913" y="71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1" name="Google Shape;1181;p53"/>
          <p:cNvSpPr/>
          <p:nvPr/>
        </p:nvSpPr>
        <p:spPr>
          <a:xfrm>
            <a:off x="9849360" y="4833736"/>
            <a:ext cx="991861" cy="443302"/>
          </a:xfrm>
          <a:custGeom>
            <a:avLst/>
            <a:gdLst/>
            <a:ahLst/>
            <a:cxnLst/>
            <a:rect l="l" t="t" r="r" b="b"/>
            <a:pathLst>
              <a:path w="991861" h="443302" extrusionOk="0">
                <a:moveTo>
                  <a:pt x="562569" y="443302"/>
                </a:moveTo>
                <a:cubicBezTo>
                  <a:pt x="562207" y="443302"/>
                  <a:pt x="561846" y="443121"/>
                  <a:pt x="561484" y="442940"/>
                </a:cubicBezTo>
                <a:lnTo>
                  <a:pt x="1377" y="128254"/>
                </a:lnTo>
                <a:cubicBezTo>
                  <a:pt x="292" y="127711"/>
                  <a:pt x="-250" y="126445"/>
                  <a:pt x="112" y="125360"/>
                </a:cubicBezTo>
                <a:cubicBezTo>
                  <a:pt x="292" y="124275"/>
                  <a:pt x="1197" y="123371"/>
                  <a:pt x="2463" y="123190"/>
                </a:cubicBezTo>
                <a:lnTo>
                  <a:pt x="988843" y="28"/>
                </a:lnTo>
                <a:cubicBezTo>
                  <a:pt x="989928" y="-153"/>
                  <a:pt x="991013" y="570"/>
                  <a:pt x="991556" y="1475"/>
                </a:cubicBezTo>
                <a:cubicBezTo>
                  <a:pt x="992098" y="2560"/>
                  <a:pt x="991918" y="3826"/>
                  <a:pt x="991013" y="4549"/>
                </a:cubicBezTo>
                <a:lnTo>
                  <a:pt x="564739" y="442398"/>
                </a:lnTo>
                <a:cubicBezTo>
                  <a:pt x="564016" y="442940"/>
                  <a:pt x="563293" y="443302"/>
                  <a:pt x="562569" y="443302"/>
                </a:cubicBezTo>
                <a:close/>
                <a:moveTo>
                  <a:pt x="10963" y="127530"/>
                </a:moveTo>
                <a:lnTo>
                  <a:pt x="562207" y="437153"/>
                </a:lnTo>
                <a:lnTo>
                  <a:pt x="981609" y="6177"/>
                </a:lnTo>
                <a:lnTo>
                  <a:pt x="10963" y="1275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2" name="Google Shape;1182;p53"/>
          <p:cNvSpPr/>
          <p:nvPr/>
        </p:nvSpPr>
        <p:spPr>
          <a:xfrm>
            <a:off x="10079018" y="4241104"/>
            <a:ext cx="1044825" cy="597904"/>
          </a:xfrm>
          <a:custGeom>
            <a:avLst/>
            <a:gdLst/>
            <a:ahLst/>
            <a:cxnLst/>
            <a:rect l="l" t="t" r="r" b="b"/>
            <a:pathLst>
              <a:path w="1044825" h="597904" extrusionOk="0">
                <a:moveTo>
                  <a:pt x="759004" y="597905"/>
                </a:moveTo>
                <a:cubicBezTo>
                  <a:pt x="758461" y="597905"/>
                  <a:pt x="757919" y="597724"/>
                  <a:pt x="757557" y="597362"/>
                </a:cubicBezTo>
                <a:lnTo>
                  <a:pt x="1043" y="4702"/>
                </a:lnTo>
                <a:cubicBezTo>
                  <a:pt x="139" y="3979"/>
                  <a:pt x="-223" y="2713"/>
                  <a:pt x="139" y="1628"/>
                </a:cubicBezTo>
                <a:cubicBezTo>
                  <a:pt x="500" y="543"/>
                  <a:pt x="1766" y="0"/>
                  <a:pt x="2851" y="0"/>
                </a:cubicBezTo>
                <a:lnTo>
                  <a:pt x="1042403" y="113034"/>
                </a:lnTo>
                <a:cubicBezTo>
                  <a:pt x="1043307" y="113215"/>
                  <a:pt x="1044031" y="113757"/>
                  <a:pt x="1044573" y="114481"/>
                </a:cubicBezTo>
                <a:cubicBezTo>
                  <a:pt x="1044935" y="115385"/>
                  <a:pt x="1044935" y="116289"/>
                  <a:pt x="1044392" y="117013"/>
                </a:cubicBezTo>
                <a:lnTo>
                  <a:pt x="761355" y="596639"/>
                </a:lnTo>
                <a:cubicBezTo>
                  <a:pt x="760993" y="597362"/>
                  <a:pt x="760270" y="597724"/>
                  <a:pt x="759547" y="597905"/>
                </a:cubicBezTo>
                <a:cubicBezTo>
                  <a:pt x="759547" y="597905"/>
                  <a:pt x="759185" y="597905"/>
                  <a:pt x="759004" y="597905"/>
                </a:cubicBezTo>
                <a:close/>
                <a:moveTo>
                  <a:pt x="11713" y="6330"/>
                </a:moveTo>
                <a:lnTo>
                  <a:pt x="758461" y="591394"/>
                </a:lnTo>
                <a:lnTo>
                  <a:pt x="1037882" y="118098"/>
                </a:lnTo>
                <a:lnTo>
                  <a:pt x="11713" y="63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3" name="Google Shape;1183;p53"/>
          <p:cNvSpPr/>
          <p:nvPr/>
        </p:nvSpPr>
        <p:spPr>
          <a:xfrm>
            <a:off x="10409332" y="4833860"/>
            <a:ext cx="431695" cy="555307"/>
          </a:xfrm>
          <a:custGeom>
            <a:avLst/>
            <a:gdLst/>
            <a:ahLst/>
            <a:cxnLst/>
            <a:rect l="l" t="t" r="r" b="b"/>
            <a:pathLst>
              <a:path w="431695" h="555307" extrusionOk="0">
                <a:moveTo>
                  <a:pt x="267007" y="555308"/>
                </a:moveTo>
                <a:cubicBezTo>
                  <a:pt x="266645" y="555308"/>
                  <a:pt x="266464" y="555127"/>
                  <a:pt x="266102" y="555127"/>
                </a:cubicBezTo>
                <a:lnTo>
                  <a:pt x="1693" y="442997"/>
                </a:lnTo>
                <a:cubicBezTo>
                  <a:pt x="789" y="442636"/>
                  <a:pt x="246" y="441912"/>
                  <a:pt x="65" y="441008"/>
                </a:cubicBezTo>
                <a:cubicBezTo>
                  <a:pt x="-116" y="440103"/>
                  <a:pt x="65" y="439199"/>
                  <a:pt x="789" y="438657"/>
                </a:cubicBezTo>
                <a:lnTo>
                  <a:pt x="427063" y="808"/>
                </a:lnTo>
                <a:cubicBezTo>
                  <a:pt x="427967" y="-96"/>
                  <a:pt x="429233" y="-277"/>
                  <a:pt x="430318" y="446"/>
                </a:cubicBezTo>
                <a:cubicBezTo>
                  <a:pt x="431403" y="989"/>
                  <a:pt x="431946" y="2255"/>
                  <a:pt x="431584" y="3521"/>
                </a:cubicBezTo>
                <a:lnTo>
                  <a:pt x="269900" y="553499"/>
                </a:lnTo>
                <a:cubicBezTo>
                  <a:pt x="269719" y="554223"/>
                  <a:pt x="269177" y="554765"/>
                  <a:pt x="268453" y="555127"/>
                </a:cubicBezTo>
                <a:cubicBezTo>
                  <a:pt x="267911" y="555127"/>
                  <a:pt x="267368" y="555308"/>
                  <a:pt x="267007" y="555308"/>
                </a:cubicBezTo>
                <a:close/>
                <a:moveTo>
                  <a:pt x="7300" y="439561"/>
                </a:moveTo>
                <a:lnTo>
                  <a:pt x="265379" y="548978"/>
                </a:lnTo>
                <a:lnTo>
                  <a:pt x="423265" y="12202"/>
                </a:lnTo>
                <a:lnTo>
                  <a:pt x="7300" y="43956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4" name="Google Shape;1184;p53"/>
          <p:cNvSpPr/>
          <p:nvPr/>
        </p:nvSpPr>
        <p:spPr>
          <a:xfrm>
            <a:off x="10673738" y="4833898"/>
            <a:ext cx="655846" cy="555270"/>
          </a:xfrm>
          <a:custGeom>
            <a:avLst/>
            <a:gdLst/>
            <a:ahLst/>
            <a:cxnLst/>
            <a:rect l="l" t="t" r="r" b="b"/>
            <a:pathLst>
              <a:path w="655846" h="555270" extrusionOk="0">
                <a:moveTo>
                  <a:pt x="2600" y="555270"/>
                </a:moveTo>
                <a:cubicBezTo>
                  <a:pt x="1876" y="555270"/>
                  <a:pt x="1153" y="554908"/>
                  <a:pt x="611" y="554185"/>
                </a:cubicBezTo>
                <a:cubicBezTo>
                  <a:pt x="68" y="553462"/>
                  <a:pt x="-113" y="552557"/>
                  <a:pt x="68" y="551834"/>
                </a:cubicBezTo>
                <a:lnTo>
                  <a:pt x="161752" y="1855"/>
                </a:lnTo>
                <a:cubicBezTo>
                  <a:pt x="161933" y="951"/>
                  <a:pt x="162837" y="228"/>
                  <a:pt x="163741" y="47"/>
                </a:cubicBezTo>
                <a:cubicBezTo>
                  <a:pt x="164645" y="-134"/>
                  <a:pt x="165731" y="228"/>
                  <a:pt x="166273" y="770"/>
                </a:cubicBezTo>
                <a:lnTo>
                  <a:pt x="655123" y="532844"/>
                </a:lnTo>
                <a:cubicBezTo>
                  <a:pt x="655846" y="533568"/>
                  <a:pt x="656027" y="534653"/>
                  <a:pt x="655665" y="535738"/>
                </a:cubicBezTo>
                <a:cubicBezTo>
                  <a:pt x="655304" y="536642"/>
                  <a:pt x="654400" y="537366"/>
                  <a:pt x="653314" y="537366"/>
                </a:cubicBezTo>
                <a:lnTo>
                  <a:pt x="2781" y="555270"/>
                </a:lnTo>
                <a:cubicBezTo>
                  <a:pt x="2781" y="555270"/>
                  <a:pt x="2600" y="555270"/>
                  <a:pt x="2600" y="555270"/>
                </a:cubicBezTo>
                <a:close/>
                <a:moveTo>
                  <a:pt x="165731" y="7824"/>
                </a:moveTo>
                <a:lnTo>
                  <a:pt x="6398" y="549664"/>
                </a:lnTo>
                <a:lnTo>
                  <a:pt x="647346" y="531940"/>
                </a:lnTo>
                <a:lnTo>
                  <a:pt x="165731" y="782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5" name="Google Shape;1185;p53"/>
          <p:cNvSpPr/>
          <p:nvPr/>
        </p:nvSpPr>
        <p:spPr>
          <a:xfrm>
            <a:off x="10835536" y="4354090"/>
            <a:ext cx="559021" cy="484989"/>
          </a:xfrm>
          <a:custGeom>
            <a:avLst/>
            <a:gdLst/>
            <a:ahLst/>
            <a:cxnLst/>
            <a:rect l="l" t="t" r="r" b="b"/>
            <a:pathLst>
              <a:path w="559021" h="484989" extrusionOk="0">
                <a:moveTo>
                  <a:pt x="2486" y="484919"/>
                </a:moveTo>
                <a:cubicBezTo>
                  <a:pt x="1762" y="484919"/>
                  <a:pt x="1039" y="484557"/>
                  <a:pt x="677" y="484015"/>
                </a:cubicBezTo>
                <a:cubicBezTo>
                  <a:pt x="-46" y="483110"/>
                  <a:pt x="-227" y="481844"/>
                  <a:pt x="315" y="480940"/>
                </a:cubicBezTo>
                <a:lnTo>
                  <a:pt x="283353" y="1314"/>
                </a:lnTo>
                <a:cubicBezTo>
                  <a:pt x="283714" y="591"/>
                  <a:pt x="284438" y="229"/>
                  <a:pt x="285161" y="48"/>
                </a:cubicBezTo>
                <a:cubicBezTo>
                  <a:pt x="285885" y="-133"/>
                  <a:pt x="286789" y="229"/>
                  <a:pt x="287331" y="591"/>
                </a:cubicBezTo>
                <a:lnTo>
                  <a:pt x="558071" y="236063"/>
                </a:lnTo>
                <a:cubicBezTo>
                  <a:pt x="558794" y="236606"/>
                  <a:pt x="559156" y="237510"/>
                  <a:pt x="558975" y="238414"/>
                </a:cubicBezTo>
                <a:cubicBezTo>
                  <a:pt x="558794" y="239319"/>
                  <a:pt x="558252" y="240042"/>
                  <a:pt x="557347" y="240404"/>
                </a:cubicBezTo>
                <a:lnTo>
                  <a:pt x="3571" y="484557"/>
                </a:lnTo>
                <a:cubicBezTo>
                  <a:pt x="3390" y="484919"/>
                  <a:pt x="3028" y="485100"/>
                  <a:pt x="2486" y="484919"/>
                </a:cubicBezTo>
                <a:close/>
                <a:moveTo>
                  <a:pt x="286427" y="6920"/>
                </a:moveTo>
                <a:lnTo>
                  <a:pt x="9358" y="476599"/>
                </a:lnTo>
                <a:lnTo>
                  <a:pt x="551560" y="237510"/>
                </a:lnTo>
                <a:lnTo>
                  <a:pt x="286427" y="69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6" name="Google Shape;1186;p53"/>
          <p:cNvSpPr/>
          <p:nvPr/>
        </p:nvSpPr>
        <p:spPr>
          <a:xfrm>
            <a:off x="10835490" y="4656662"/>
            <a:ext cx="760854" cy="714601"/>
          </a:xfrm>
          <a:custGeom>
            <a:avLst/>
            <a:gdLst/>
            <a:ahLst/>
            <a:cxnLst/>
            <a:rect l="l" t="t" r="r" b="b"/>
            <a:pathLst>
              <a:path w="760854" h="714601" extrusionOk="0">
                <a:moveTo>
                  <a:pt x="491382" y="714602"/>
                </a:moveTo>
                <a:cubicBezTo>
                  <a:pt x="490658" y="714602"/>
                  <a:pt x="490116" y="714240"/>
                  <a:pt x="489573" y="713698"/>
                </a:cubicBezTo>
                <a:lnTo>
                  <a:pt x="723" y="181624"/>
                </a:lnTo>
                <a:cubicBezTo>
                  <a:pt x="0" y="180901"/>
                  <a:pt x="-181" y="179996"/>
                  <a:pt x="181" y="179092"/>
                </a:cubicBezTo>
                <a:cubicBezTo>
                  <a:pt x="542" y="178188"/>
                  <a:pt x="1266" y="177464"/>
                  <a:pt x="2170" y="177284"/>
                </a:cubicBezTo>
                <a:lnTo>
                  <a:pt x="757419" y="46"/>
                </a:lnTo>
                <a:cubicBezTo>
                  <a:pt x="758323" y="-135"/>
                  <a:pt x="759408" y="227"/>
                  <a:pt x="760131" y="950"/>
                </a:cubicBezTo>
                <a:cubicBezTo>
                  <a:pt x="760855" y="1674"/>
                  <a:pt x="761036" y="2759"/>
                  <a:pt x="760674" y="3663"/>
                </a:cubicBezTo>
                <a:lnTo>
                  <a:pt x="494095" y="712794"/>
                </a:lnTo>
                <a:cubicBezTo>
                  <a:pt x="493733" y="713698"/>
                  <a:pt x="493009" y="714240"/>
                  <a:pt x="492105" y="714421"/>
                </a:cubicBezTo>
                <a:cubicBezTo>
                  <a:pt x="491743" y="714602"/>
                  <a:pt x="491563" y="714602"/>
                  <a:pt x="491382" y="714602"/>
                </a:cubicBezTo>
                <a:close/>
                <a:moveTo>
                  <a:pt x="7777" y="181262"/>
                </a:moveTo>
                <a:lnTo>
                  <a:pt x="490477" y="706825"/>
                </a:lnTo>
                <a:lnTo>
                  <a:pt x="753802" y="6376"/>
                </a:lnTo>
                <a:lnTo>
                  <a:pt x="7777" y="18126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7" name="Google Shape;1187;p53"/>
          <p:cNvSpPr/>
          <p:nvPr/>
        </p:nvSpPr>
        <p:spPr>
          <a:xfrm>
            <a:off x="10835561" y="4589492"/>
            <a:ext cx="760784" cy="249597"/>
          </a:xfrm>
          <a:custGeom>
            <a:avLst/>
            <a:gdLst/>
            <a:ahLst/>
            <a:cxnLst/>
            <a:rect l="l" t="t" r="r" b="b"/>
            <a:pathLst>
              <a:path w="760784" h="249597" extrusionOk="0">
                <a:moveTo>
                  <a:pt x="2461" y="249517"/>
                </a:moveTo>
                <a:cubicBezTo>
                  <a:pt x="1376" y="249517"/>
                  <a:pt x="472" y="248794"/>
                  <a:pt x="110" y="247708"/>
                </a:cubicBezTo>
                <a:cubicBezTo>
                  <a:pt x="-252" y="246443"/>
                  <a:pt x="291" y="244996"/>
                  <a:pt x="1557" y="244453"/>
                </a:cubicBezTo>
                <a:lnTo>
                  <a:pt x="555333" y="300"/>
                </a:lnTo>
                <a:cubicBezTo>
                  <a:pt x="555876" y="-62"/>
                  <a:pt x="556599" y="-62"/>
                  <a:pt x="557323" y="119"/>
                </a:cubicBezTo>
                <a:lnTo>
                  <a:pt x="758975" y="67216"/>
                </a:lnTo>
                <a:cubicBezTo>
                  <a:pt x="760060" y="67578"/>
                  <a:pt x="760784" y="68663"/>
                  <a:pt x="760784" y="69929"/>
                </a:cubicBezTo>
                <a:cubicBezTo>
                  <a:pt x="760784" y="71195"/>
                  <a:pt x="759880" y="72099"/>
                  <a:pt x="758795" y="72460"/>
                </a:cubicBezTo>
                <a:lnTo>
                  <a:pt x="3546" y="249517"/>
                </a:lnTo>
                <a:cubicBezTo>
                  <a:pt x="3004" y="249517"/>
                  <a:pt x="2823" y="249698"/>
                  <a:pt x="2461" y="249517"/>
                </a:cubicBezTo>
                <a:close/>
                <a:moveTo>
                  <a:pt x="556599" y="5725"/>
                </a:moveTo>
                <a:lnTo>
                  <a:pt x="30313" y="237761"/>
                </a:lnTo>
                <a:lnTo>
                  <a:pt x="748124" y="69386"/>
                </a:lnTo>
                <a:lnTo>
                  <a:pt x="556599" y="57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8" name="Google Shape;1188;p53"/>
          <p:cNvSpPr/>
          <p:nvPr/>
        </p:nvSpPr>
        <p:spPr>
          <a:xfrm>
            <a:off x="11896925" y="6061766"/>
            <a:ext cx="646006" cy="120991"/>
          </a:xfrm>
          <a:custGeom>
            <a:avLst/>
            <a:gdLst/>
            <a:ahLst/>
            <a:cxnLst/>
            <a:rect l="l" t="t" r="r" b="b"/>
            <a:pathLst>
              <a:path w="646006" h="120991" extrusionOk="0">
                <a:moveTo>
                  <a:pt x="501148" y="120991"/>
                </a:moveTo>
                <a:cubicBezTo>
                  <a:pt x="501148" y="120991"/>
                  <a:pt x="500967" y="120991"/>
                  <a:pt x="500967" y="120991"/>
                </a:cubicBezTo>
                <a:lnTo>
                  <a:pt x="2351" y="45394"/>
                </a:lnTo>
                <a:cubicBezTo>
                  <a:pt x="1085" y="45214"/>
                  <a:pt x="0" y="43947"/>
                  <a:pt x="0" y="42682"/>
                </a:cubicBezTo>
                <a:cubicBezTo>
                  <a:pt x="0" y="41235"/>
                  <a:pt x="1085" y="40150"/>
                  <a:pt x="2532" y="40150"/>
                </a:cubicBezTo>
                <a:lnTo>
                  <a:pt x="643119" y="0"/>
                </a:lnTo>
                <a:cubicBezTo>
                  <a:pt x="644385" y="0"/>
                  <a:pt x="645289" y="543"/>
                  <a:pt x="645831" y="1628"/>
                </a:cubicBezTo>
                <a:cubicBezTo>
                  <a:pt x="646193" y="2713"/>
                  <a:pt x="646012" y="3979"/>
                  <a:pt x="645108" y="4702"/>
                </a:cubicBezTo>
                <a:lnTo>
                  <a:pt x="503137" y="120449"/>
                </a:lnTo>
                <a:cubicBezTo>
                  <a:pt x="502595" y="120811"/>
                  <a:pt x="501871" y="120991"/>
                  <a:pt x="501148" y="120991"/>
                </a:cubicBezTo>
                <a:close/>
                <a:moveTo>
                  <a:pt x="28033" y="43767"/>
                </a:moveTo>
                <a:lnTo>
                  <a:pt x="500605" y="115385"/>
                </a:lnTo>
                <a:lnTo>
                  <a:pt x="635161" y="5606"/>
                </a:lnTo>
                <a:lnTo>
                  <a:pt x="28033" y="437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9" name="Google Shape;1189;p53"/>
          <p:cNvSpPr/>
          <p:nvPr/>
        </p:nvSpPr>
        <p:spPr>
          <a:xfrm>
            <a:off x="11896995" y="6101526"/>
            <a:ext cx="757168" cy="406091"/>
          </a:xfrm>
          <a:custGeom>
            <a:avLst/>
            <a:gdLst/>
            <a:ahLst/>
            <a:cxnLst/>
            <a:rect l="l" t="t" r="r" b="b"/>
            <a:pathLst>
              <a:path w="757168" h="406091" extrusionOk="0">
                <a:moveTo>
                  <a:pt x="754456" y="406046"/>
                </a:moveTo>
                <a:cubicBezTo>
                  <a:pt x="754094" y="406046"/>
                  <a:pt x="753732" y="405865"/>
                  <a:pt x="753371" y="405684"/>
                </a:cubicBezTo>
                <a:lnTo>
                  <a:pt x="1377" y="5091"/>
                </a:lnTo>
                <a:cubicBezTo>
                  <a:pt x="292" y="4549"/>
                  <a:pt x="-250" y="3102"/>
                  <a:pt x="112" y="1836"/>
                </a:cubicBezTo>
                <a:cubicBezTo>
                  <a:pt x="473" y="570"/>
                  <a:pt x="1558" y="-153"/>
                  <a:pt x="3005" y="28"/>
                </a:cubicBezTo>
                <a:lnTo>
                  <a:pt x="501621" y="75625"/>
                </a:lnTo>
                <a:cubicBezTo>
                  <a:pt x="502344" y="75806"/>
                  <a:pt x="502887" y="76167"/>
                  <a:pt x="503249" y="76710"/>
                </a:cubicBezTo>
                <a:lnTo>
                  <a:pt x="756626" y="401525"/>
                </a:lnTo>
                <a:cubicBezTo>
                  <a:pt x="757349" y="402610"/>
                  <a:pt x="757349" y="403875"/>
                  <a:pt x="756626" y="404960"/>
                </a:cubicBezTo>
                <a:cubicBezTo>
                  <a:pt x="756264" y="405865"/>
                  <a:pt x="755360" y="406226"/>
                  <a:pt x="754456" y="406046"/>
                </a:cubicBezTo>
                <a:close/>
                <a:moveTo>
                  <a:pt x="17835" y="7985"/>
                </a:moveTo>
                <a:lnTo>
                  <a:pt x="744689" y="395195"/>
                </a:lnTo>
                <a:lnTo>
                  <a:pt x="499813" y="81231"/>
                </a:lnTo>
                <a:lnTo>
                  <a:pt x="17835" y="79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0" name="Google Shape;1190;p53"/>
          <p:cNvSpPr/>
          <p:nvPr/>
        </p:nvSpPr>
        <p:spPr>
          <a:xfrm>
            <a:off x="7614904" y="4593833"/>
            <a:ext cx="754906" cy="328550"/>
          </a:xfrm>
          <a:custGeom>
            <a:avLst/>
            <a:gdLst/>
            <a:ahLst/>
            <a:cxnLst/>
            <a:rect l="l" t="t" r="r" b="b"/>
            <a:pathLst>
              <a:path w="754906" h="328550" extrusionOk="0">
                <a:moveTo>
                  <a:pt x="2461" y="328369"/>
                </a:moveTo>
                <a:cubicBezTo>
                  <a:pt x="1376" y="328369"/>
                  <a:pt x="472" y="327465"/>
                  <a:pt x="110" y="326380"/>
                </a:cubicBezTo>
                <a:cubicBezTo>
                  <a:pt x="-252" y="325114"/>
                  <a:pt x="291" y="323848"/>
                  <a:pt x="1557" y="323125"/>
                </a:cubicBezTo>
                <a:lnTo>
                  <a:pt x="637622" y="299"/>
                </a:lnTo>
                <a:cubicBezTo>
                  <a:pt x="638165" y="-62"/>
                  <a:pt x="639069" y="-62"/>
                  <a:pt x="639612" y="119"/>
                </a:cubicBezTo>
                <a:cubicBezTo>
                  <a:pt x="640335" y="299"/>
                  <a:pt x="640878" y="842"/>
                  <a:pt x="641239" y="1566"/>
                </a:cubicBezTo>
                <a:lnTo>
                  <a:pt x="754635" y="235410"/>
                </a:lnTo>
                <a:cubicBezTo>
                  <a:pt x="754997" y="236134"/>
                  <a:pt x="754997" y="237038"/>
                  <a:pt x="754635" y="237942"/>
                </a:cubicBezTo>
                <a:cubicBezTo>
                  <a:pt x="754273" y="238666"/>
                  <a:pt x="753369" y="239208"/>
                  <a:pt x="752646" y="239389"/>
                </a:cubicBezTo>
                <a:lnTo>
                  <a:pt x="3004" y="328550"/>
                </a:lnTo>
                <a:cubicBezTo>
                  <a:pt x="2823" y="328369"/>
                  <a:pt x="2642" y="328369"/>
                  <a:pt x="2461" y="328369"/>
                </a:cubicBezTo>
                <a:close/>
                <a:moveTo>
                  <a:pt x="637441" y="6448"/>
                </a:moveTo>
                <a:lnTo>
                  <a:pt x="17291" y="321135"/>
                </a:lnTo>
                <a:lnTo>
                  <a:pt x="748124" y="234325"/>
                </a:lnTo>
                <a:lnTo>
                  <a:pt x="637441" y="64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1" name="Google Shape;1191;p53"/>
          <p:cNvSpPr/>
          <p:nvPr/>
        </p:nvSpPr>
        <p:spPr>
          <a:xfrm>
            <a:off x="8250989" y="4541142"/>
            <a:ext cx="389243" cy="291899"/>
          </a:xfrm>
          <a:custGeom>
            <a:avLst/>
            <a:gdLst/>
            <a:ahLst/>
            <a:cxnLst/>
            <a:rect l="l" t="t" r="r" b="b"/>
            <a:pathLst>
              <a:path w="389243" h="291899" extrusionOk="0">
                <a:moveTo>
                  <a:pt x="115837" y="291899"/>
                </a:moveTo>
                <a:cubicBezTo>
                  <a:pt x="115837" y="291899"/>
                  <a:pt x="115656" y="291899"/>
                  <a:pt x="115656" y="291899"/>
                </a:cubicBezTo>
                <a:cubicBezTo>
                  <a:pt x="114752" y="291718"/>
                  <a:pt x="114029" y="291175"/>
                  <a:pt x="113667" y="290452"/>
                </a:cubicBezTo>
                <a:lnTo>
                  <a:pt x="271" y="56607"/>
                </a:lnTo>
                <a:cubicBezTo>
                  <a:pt x="-90" y="55884"/>
                  <a:pt x="-90" y="54980"/>
                  <a:pt x="271" y="54075"/>
                </a:cubicBezTo>
                <a:cubicBezTo>
                  <a:pt x="633" y="53352"/>
                  <a:pt x="1356" y="52809"/>
                  <a:pt x="2261" y="52629"/>
                </a:cubicBezTo>
                <a:lnTo>
                  <a:pt x="386215" y="0"/>
                </a:lnTo>
                <a:cubicBezTo>
                  <a:pt x="387300" y="0"/>
                  <a:pt x="388385" y="362"/>
                  <a:pt x="388928" y="1447"/>
                </a:cubicBezTo>
                <a:cubicBezTo>
                  <a:pt x="389470" y="2532"/>
                  <a:pt x="389289" y="3617"/>
                  <a:pt x="388566" y="4521"/>
                </a:cubicBezTo>
                <a:lnTo>
                  <a:pt x="118008" y="290995"/>
                </a:lnTo>
                <a:cubicBezTo>
                  <a:pt x="117465" y="291718"/>
                  <a:pt x="116742" y="291899"/>
                  <a:pt x="115837" y="291899"/>
                </a:cubicBezTo>
                <a:close/>
                <a:moveTo>
                  <a:pt x="6601" y="57512"/>
                </a:moveTo>
                <a:lnTo>
                  <a:pt x="116742" y="284484"/>
                </a:lnTo>
                <a:lnTo>
                  <a:pt x="379342" y="6511"/>
                </a:lnTo>
                <a:lnTo>
                  <a:pt x="6601" y="5751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2" name="Google Shape;1192;p53"/>
          <p:cNvSpPr/>
          <p:nvPr/>
        </p:nvSpPr>
        <p:spPr>
          <a:xfrm>
            <a:off x="9529267" y="2916615"/>
            <a:ext cx="152282" cy="457319"/>
          </a:xfrm>
          <a:custGeom>
            <a:avLst/>
            <a:gdLst/>
            <a:ahLst/>
            <a:cxnLst/>
            <a:rect l="l" t="t" r="r" b="b"/>
            <a:pathLst>
              <a:path w="152282" h="457319" extrusionOk="0">
                <a:moveTo>
                  <a:pt x="2624" y="457292"/>
                </a:moveTo>
                <a:cubicBezTo>
                  <a:pt x="2443" y="457292"/>
                  <a:pt x="2262" y="457292"/>
                  <a:pt x="1901" y="457111"/>
                </a:cubicBezTo>
                <a:cubicBezTo>
                  <a:pt x="454" y="456569"/>
                  <a:pt x="-270" y="455122"/>
                  <a:pt x="92" y="453675"/>
                </a:cubicBezTo>
                <a:lnTo>
                  <a:pt x="146946" y="1901"/>
                </a:lnTo>
                <a:cubicBezTo>
                  <a:pt x="147489" y="454"/>
                  <a:pt x="148935" y="-270"/>
                  <a:pt x="150382" y="92"/>
                </a:cubicBezTo>
                <a:cubicBezTo>
                  <a:pt x="151829" y="635"/>
                  <a:pt x="152553" y="2082"/>
                  <a:pt x="152191" y="3528"/>
                </a:cubicBezTo>
                <a:lnTo>
                  <a:pt x="5337" y="455303"/>
                </a:lnTo>
                <a:cubicBezTo>
                  <a:pt x="4975" y="456750"/>
                  <a:pt x="3890" y="457473"/>
                  <a:pt x="2624" y="457292"/>
                </a:cubicBez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3" name="Google Shape;1193;p53"/>
          <p:cNvSpPr/>
          <p:nvPr/>
        </p:nvSpPr>
        <p:spPr>
          <a:xfrm>
            <a:off x="9529398" y="2916589"/>
            <a:ext cx="644164" cy="457318"/>
          </a:xfrm>
          <a:custGeom>
            <a:avLst/>
            <a:gdLst/>
            <a:ahLst/>
            <a:cxnLst/>
            <a:rect l="l" t="t" r="r" b="b"/>
            <a:pathLst>
              <a:path w="644164" h="457318" extrusionOk="0">
                <a:moveTo>
                  <a:pt x="2493" y="457319"/>
                </a:moveTo>
                <a:cubicBezTo>
                  <a:pt x="1950" y="457319"/>
                  <a:pt x="1227" y="456957"/>
                  <a:pt x="865" y="456595"/>
                </a:cubicBezTo>
                <a:cubicBezTo>
                  <a:pt x="142" y="455872"/>
                  <a:pt x="-220" y="454787"/>
                  <a:pt x="142" y="453702"/>
                </a:cubicBezTo>
                <a:lnTo>
                  <a:pt x="146996" y="1927"/>
                </a:lnTo>
                <a:cubicBezTo>
                  <a:pt x="147177" y="1204"/>
                  <a:pt x="147719" y="661"/>
                  <a:pt x="148443" y="300"/>
                </a:cubicBezTo>
                <a:cubicBezTo>
                  <a:pt x="149166" y="-62"/>
                  <a:pt x="149889" y="-62"/>
                  <a:pt x="150613" y="119"/>
                </a:cubicBezTo>
                <a:lnTo>
                  <a:pt x="642356" y="180973"/>
                </a:lnTo>
                <a:cubicBezTo>
                  <a:pt x="643441" y="181335"/>
                  <a:pt x="644165" y="182420"/>
                  <a:pt x="644165" y="183505"/>
                </a:cubicBezTo>
                <a:cubicBezTo>
                  <a:pt x="644165" y="184590"/>
                  <a:pt x="643622" y="185675"/>
                  <a:pt x="642537" y="186037"/>
                </a:cubicBezTo>
                <a:lnTo>
                  <a:pt x="4121" y="456957"/>
                </a:lnTo>
                <a:cubicBezTo>
                  <a:pt x="3397" y="457319"/>
                  <a:pt x="3036" y="457319"/>
                  <a:pt x="2493" y="457319"/>
                </a:cubicBezTo>
                <a:close/>
                <a:moveTo>
                  <a:pt x="151155" y="6268"/>
                </a:moveTo>
                <a:lnTo>
                  <a:pt x="7014" y="449904"/>
                </a:lnTo>
                <a:lnTo>
                  <a:pt x="633675" y="183867"/>
                </a:lnTo>
                <a:lnTo>
                  <a:pt x="151155" y="62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4" name="Google Shape;1194;p53"/>
          <p:cNvSpPr/>
          <p:nvPr/>
        </p:nvSpPr>
        <p:spPr>
          <a:xfrm>
            <a:off x="9529496" y="3368638"/>
            <a:ext cx="700994" cy="598834"/>
          </a:xfrm>
          <a:custGeom>
            <a:avLst/>
            <a:gdLst/>
            <a:ahLst/>
            <a:cxnLst/>
            <a:rect l="l" t="t" r="r" b="b"/>
            <a:pathLst>
              <a:path w="700994" h="598834" extrusionOk="0">
                <a:moveTo>
                  <a:pt x="144005" y="598834"/>
                </a:moveTo>
                <a:cubicBezTo>
                  <a:pt x="142919" y="598834"/>
                  <a:pt x="141834" y="597930"/>
                  <a:pt x="141473" y="596845"/>
                </a:cubicBezTo>
                <a:lnTo>
                  <a:pt x="44" y="3280"/>
                </a:lnTo>
                <a:cubicBezTo>
                  <a:pt x="-136" y="2195"/>
                  <a:pt x="225" y="929"/>
                  <a:pt x="1310" y="387"/>
                </a:cubicBezTo>
                <a:cubicBezTo>
                  <a:pt x="2215" y="-156"/>
                  <a:pt x="3481" y="-156"/>
                  <a:pt x="4385" y="568"/>
                </a:cubicBezTo>
                <a:lnTo>
                  <a:pt x="699951" y="563387"/>
                </a:lnTo>
                <a:cubicBezTo>
                  <a:pt x="700856" y="564110"/>
                  <a:pt x="701217" y="565195"/>
                  <a:pt x="700856" y="566280"/>
                </a:cubicBezTo>
                <a:cubicBezTo>
                  <a:pt x="700494" y="567365"/>
                  <a:pt x="699590" y="568089"/>
                  <a:pt x="698504" y="568089"/>
                </a:cubicBezTo>
                <a:lnTo>
                  <a:pt x="144366" y="598834"/>
                </a:lnTo>
                <a:cubicBezTo>
                  <a:pt x="144185" y="598834"/>
                  <a:pt x="144005" y="598834"/>
                  <a:pt x="144005" y="598834"/>
                </a:cubicBezTo>
                <a:close/>
                <a:moveTo>
                  <a:pt x="7098" y="9791"/>
                </a:moveTo>
                <a:lnTo>
                  <a:pt x="146175" y="593408"/>
                </a:lnTo>
                <a:lnTo>
                  <a:pt x="691089" y="563206"/>
                </a:lnTo>
                <a:lnTo>
                  <a:pt x="7098" y="979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5" name="Google Shape;1195;p53"/>
          <p:cNvSpPr/>
          <p:nvPr/>
        </p:nvSpPr>
        <p:spPr>
          <a:xfrm>
            <a:off x="9529675" y="3097545"/>
            <a:ext cx="701037" cy="839251"/>
          </a:xfrm>
          <a:custGeom>
            <a:avLst/>
            <a:gdLst/>
            <a:ahLst/>
            <a:cxnLst/>
            <a:rect l="l" t="t" r="r" b="b"/>
            <a:pathLst>
              <a:path w="701037" h="839251" extrusionOk="0">
                <a:moveTo>
                  <a:pt x="697964" y="839181"/>
                </a:moveTo>
                <a:cubicBezTo>
                  <a:pt x="697421" y="839181"/>
                  <a:pt x="696878" y="839000"/>
                  <a:pt x="696517" y="838638"/>
                </a:cubicBezTo>
                <a:lnTo>
                  <a:pt x="950" y="275819"/>
                </a:lnTo>
                <a:cubicBezTo>
                  <a:pt x="227" y="275277"/>
                  <a:pt x="-135" y="274373"/>
                  <a:pt x="46" y="273287"/>
                </a:cubicBezTo>
                <a:cubicBezTo>
                  <a:pt x="227" y="272383"/>
                  <a:pt x="769" y="271479"/>
                  <a:pt x="1674" y="271117"/>
                </a:cubicBezTo>
                <a:lnTo>
                  <a:pt x="640090" y="197"/>
                </a:lnTo>
                <a:cubicBezTo>
                  <a:pt x="640814" y="-165"/>
                  <a:pt x="641899" y="16"/>
                  <a:pt x="642622" y="378"/>
                </a:cubicBezTo>
                <a:cubicBezTo>
                  <a:pt x="643346" y="740"/>
                  <a:pt x="643888" y="1644"/>
                  <a:pt x="643888" y="2548"/>
                </a:cubicBezTo>
                <a:lnTo>
                  <a:pt x="701038" y="836287"/>
                </a:lnTo>
                <a:cubicBezTo>
                  <a:pt x="701038" y="837372"/>
                  <a:pt x="700495" y="838277"/>
                  <a:pt x="699591" y="838819"/>
                </a:cubicBezTo>
                <a:cubicBezTo>
                  <a:pt x="698868" y="839181"/>
                  <a:pt x="698325" y="839362"/>
                  <a:pt x="697964" y="839181"/>
                </a:cubicBezTo>
                <a:close/>
                <a:moveTo>
                  <a:pt x="7642" y="274373"/>
                </a:moveTo>
                <a:lnTo>
                  <a:pt x="694889" y="830500"/>
                </a:lnTo>
                <a:lnTo>
                  <a:pt x="638463" y="6527"/>
                </a:lnTo>
                <a:lnTo>
                  <a:pt x="7642" y="27437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6" name="Google Shape;1196;p53"/>
          <p:cNvSpPr/>
          <p:nvPr/>
        </p:nvSpPr>
        <p:spPr>
          <a:xfrm>
            <a:off x="9268153" y="3962046"/>
            <a:ext cx="423829" cy="391007"/>
          </a:xfrm>
          <a:custGeom>
            <a:avLst/>
            <a:gdLst/>
            <a:ahLst/>
            <a:cxnLst/>
            <a:rect l="l" t="t" r="r" b="b"/>
            <a:pathLst>
              <a:path w="423829" h="391007" extrusionOk="0">
                <a:moveTo>
                  <a:pt x="2584" y="391007"/>
                </a:moveTo>
                <a:cubicBezTo>
                  <a:pt x="1860" y="391007"/>
                  <a:pt x="1137" y="390646"/>
                  <a:pt x="594" y="389922"/>
                </a:cubicBezTo>
                <a:cubicBezTo>
                  <a:pt x="-310" y="388837"/>
                  <a:pt x="-129" y="387209"/>
                  <a:pt x="775" y="386305"/>
                </a:cubicBezTo>
                <a:lnTo>
                  <a:pt x="403538" y="723"/>
                </a:lnTo>
                <a:cubicBezTo>
                  <a:pt x="404262" y="0"/>
                  <a:pt x="405347" y="-181"/>
                  <a:pt x="406251" y="181"/>
                </a:cubicBezTo>
                <a:cubicBezTo>
                  <a:pt x="407155" y="543"/>
                  <a:pt x="407879" y="1266"/>
                  <a:pt x="408060" y="2351"/>
                </a:cubicBezTo>
                <a:lnTo>
                  <a:pt x="423794" y="111225"/>
                </a:lnTo>
                <a:cubicBezTo>
                  <a:pt x="423975" y="112311"/>
                  <a:pt x="423432" y="113215"/>
                  <a:pt x="422709" y="113938"/>
                </a:cubicBezTo>
                <a:lnTo>
                  <a:pt x="4212" y="390646"/>
                </a:lnTo>
                <a:cubicBezTo>
                  <a:pt x="3669" y="390826"/>
                  <a:pt x="3126" y="391007"/>
                  <a:pt x="2584" y="391007"/>
                </a:cubicBezTo>
                <a:close/>
                <a:moveTo>
                  <a:pt x="403538" y="8319"/>
                </a:moveTo>
                <a:lnTo>
                  <a:pt x="26095" y="369486"/>
                </a:lnTo>
                <a:lnTo>
                  <a:pt x="418188" y="110321"/>
                </a:lnTo>
                <a:lnTo>
                  <a:pt x="403538" y="831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7" name="Google Shape;1197;p53"/>
          <p:cNvSpPr/>
          <p:nvPr/>
        </p:nvSpPr>
        <p:spPr>
          <a:xfrm>
            <a:off x="9268250" y="4071002"/>
            <a:ext cx="665200" cy="282050"/>
          </a:xfrm>
          <a:custGeom>
            <a:avLst/>
            <a:gdLst/>
            <a:ahLst/>
            <a:cxnLst/>
            <a:rect l="l" t="t" r="r" b="b"/>
            <a:pathLst>
              <a:path w="665200" h="282050" extrusionOk="0">
                <a:moveTo>
                  <a:pt x="2487" y="282051"/>
                </a:moveTo>
                <a:cubicBezTo>
                  <a:pt x="1402" y="282051"/>
                  <a:pt x="497" y="281328"/>
                  <a:pt x="136" y="280242"/>
                </a:cubicBezTo>
                <a:cubicBezTo>
                  <a:pt x="-226" y="279157"/>
                  <a:pt x="136" y="277710"/>
                  <a:pt x="1221" y="277168"/>
                </a:cubicBezTo>
                <a:lnTo>
                  <a:pt x="419718" y="461"/>
                </a:lnTo>
                <a:cubicBezTo>
                  <a:pt x="420803" y="-263"/>
                  <a:pt x="422069" y="-82"/>
                  <a:pt x="422973" y="641"/>
                </a:cubicBezTo>
                <a:lnTo>
                  <a:pt x="664233" y="206092"/>
                </a:lnTo>
                <a:cubicBezTo>
                  <a:pt x="665138" y="206816"/>
                  <a:pt x="665319" y="207901"/>
                  <a:pt x="665138" y="208986"/>
                </a:cubicBezTo>
                <a:cubicBezTo>
                  <a:pt x="664776" y="210071"/>
                  <a:pt x="663872" y="210794"/>
                  <a:pt x="662787" y="210794"/>
                </a:cubicBezTo>
                <a:lnTo>
                  <a:pt x="3029" y="282051"/>
                </a:lnTo>
                <a:cubicBezTo>
                  <a:pt x="2849" y="282051"/>
                  <a:pt x="2668" y="282051"/>
                  <a:pt x="2487" y="282051"/>
                </a:cubicBezTo>
                <a:close/>
                <a:moveTo>
                  <a:pt x="420984" y="6067"/>
                </a:moveTo>
                <a:lnTo>
                  <a:pt x="13338" y="275540"/>
                </a:lnTo>
                <a:lnTo>
                  <a:pt x="655914" y="206092"/>
                </a:lnTo>
                <a:lnTo>
                  <a:pt x="420984" y="60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8" name="Google Shape;1198;p53"/>
          <p:cNvSpPr/>
          <p:nvPr/>
        </p:nvSpPr>
        <p:spPr>
          <a:xfrm>
            <a:off x="9268205" y="4276324"/>
            <a:ext cx="665049" cy="686027"/>
          </a:xfrm>
          <a:custGeom>
            <a:avLst/>
            <a:gdLst/>
            <a:ahLst/>
            <a:cxnLst/>
            <a:rect l="l" t="t" r="r" b="b"/>
            <a:pathLst>
              <a:path w="665049" h="686027" extrusionOk="0">
                <a:moveTo>
                  <a:pt x="583437" y="686028"/>
                </a:moveTo>
                <a:cubicBezTo>
                  <a:pt x="582713" y="686028"/>
                  <a:pt x="582171" y="685666"/>
                  <a:pt x="581628" y="685124"/>
                </a:cubicBezTo>
                <a:lnTo>
                  <a:pt x="723" y="75825"/>
                </a:lnTo>
                <a:cubicBezTo>
                  <a:pt x="0" y="75102"/>
                  <a:pt x="-181" y="74017"/>
                  <a:pt x="181" y="73112"/>
                </a:cubicBezTo>
                <a:cubicBezTo>
                  <a:pt x="543" y="72208"/>
                  <a:pt x="1447" y="71485"/>
                  <a:pt x="2351" y="71304"/>
                </a:cubicBezTo>
                <a:lnTo>
                  <a:pt x="662108" y="47"/>
                </a:lnTo>
                <a:cubicBezTo>
                  <a:pt x="663013" y="-134"/>
                  <a:pt x="663736" y="228"/>
                  <a:pt x="664279" y="770"/>
                </a:cubicBezTo>
                <a:cubicBezTo>
                  <a:pt x="664821" y="1313"/>
                  <a:pt x="665183" y="2217"/>
                  <a:pt x="665002" y="2941"/>
                </a:cubicBezTo>
                <a:lnTo>
                  <a:pt x="586330" y="683496"/>
                </a:lnTo>
                <a:cubicBezTo>
                  <a:pt x="586149" y="684581"/>
                  <a:pt x="585426" y="685485"/>
                  <a:pt x="584522" y="685666"/>
                </a:cubicBezTo>
                <a:cubicBezTo>
                  <a:pt x="584160" y="686028"/>
                  <a:pt x="583798" y="686028"/>
                  <a:pt x="583437" y="686028"/>
                </a:cubicBezTo>
                <a:close/>
                <a:moveTo>
                  <a:pt x="8319" y="76187"/>
                </a:moveTo>
                <a:lnTo>
                  <a:pt x="581628" y="677347"/>
                </a:lnTo>
                <a:lnTo>
                  <a:pt x="659396" y="5834"/>
                </a:lnTo>
                <a:lnTo>
                  <a:pt x="8319" y="7618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9" name="Google Shape;1199;p53"/>
          <p:cNvSpPr/>
          <p:nvPr/>
        </p:nvSpPr>
        <p:spPr>
          <a:xfrm>
            <a:off x="11118464" y="3446764"/>
            <a:ext cx="1016826" cy="912800"/>
          </a:xfrm>
          <a:custGeom>
            <a:avLst/>
            <a:gdLst/>
            <a:ahLst/>
            <a:cxnLst/>
            <a:rect l="l" t="t" r="r" b="b"/>
            <a:pathLst>
              <a:path w="1016826" h="912800" extrusionOk="0">
                <a:moveTo>
                  <a:pt x="2595" y="912800"/>
                </a:moveTo>
                <a:cubicBezTo>
                  <a:pt x="2053" y="912800"/>
                  <a:pt x="1510" y="912619"/>
                  <a:pt x="967" y="912258"/>
                </a:cubicBezTo>
                <a:cubicBezTo>
                  <a:pt x="63" y="911534"/>
                  <a:pt x="-118" y="910449"/>
                  <a:pt x="63" y="909364"/>
                </a:cubicBezTo>
                <a:lnTo>
                  <a:pt x="299558" y="1837"/>
                </a:lnTo>
                <a:cubicBezTo>
                  <a:pt x="299739" y="1113"/>
                  <a:pt x="300281" y="571"/>
                  <a:pt x="301005" y="209"/>
                </a:cubicBezTo>
                <a:cubicBezTo>
                  <a:pt x="301728" y="-153"/>
                  <a:pt x="302452" y="28"/>
                  <a:pt x="303175" y="209"/>
                </a:cubicBezTo>
                <a:lnTo>
                  <a:pt x="1015380" y="352875"/>
                </a:lnTo>
                <a:cubicBezTo>
                  <a:pt x="1016284" y="353237"/>
                  <a:pt x="1016827" y="354141"/>
                  <a:pt x="1016827" y="355226"/>
                </a:cubicBezTo>
                <a:cubicBezTo>
                  <a:pt x="1016827" y="356311"/>
                  <a:pt x="1016284" y="357215"/>
                  <a:pt x="1015380" y="357577"/>
                </a:cubicBezTo>
                <a:lnTo>
                  <a:pt x="3680" y="912439"/>
                </a:lnTo>
                <a:cubicBezTo>
                  <a:pt x="3680" y="912619"/>
                  <a:pt x="3138" y="912800"/>
                  <a:pt x="2595" y="912800"/>
                </a:cubicBezTo>
                <a:close/>
                <a:moveTo>
                  <a:pt x="303899" y="6358"/>
                </a:moveTo>
                <a:lnTo>
                  <a:pt x="7478" y="904481"/>
                </a:lnTo>
                <a:lnTo>
                  <a:pt x="1008689" y="355407"/>
                </a:lnTo>
                <a:lnTo>
                  <a:pt x="303899" y="635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0" name="Google Shape;1200;p53"/>
          <p:cNvSpPr/>
          <p:nvPr/>
        </p:nvSpPr>
        <p:spPr>
          <a:xfrm>
            <a:off x="11118597" y="3799339"/>
            <a:ext cx="1199003" cy="560224"/>
          </a:xfrm>
          <a:custGeom>
            <a:avLst/>
            <a:gdLst/>
            <a:ahLst/>
            <a:cxnLst/>
            <a:rect l="l" t="t" r="r" b="b"/>
            <a:pathLst>
              <a:path w="1199003" h="560224" extrusionOk="0">
                <a:moveTo>
                  <a:pt x="2463" y="560225"/>
                </a:moveTo>
                <a:cubicBezTo>
                  <a:pt x="1378" y="560225"/>
                  <a:pt x="292" y="559321"/>
                  <a:pt x="112" y="558235"/>
                </a:cubicBezTo>
                <a:cubicBezTo>
                  <a:pt x="-250" y="556970"/>
                  <a:pt x="292" y="555704"/>
                  <a:pt x="1378" y="555161"/>
                </a:cubicBezTo>
                <a:lnTo>
                  <a:pt x="1013078" y="300"/>
                </a:lnTo>
                <a:cubicBezTo>
                  <a:pt x="1013801" y="-62"/>
                  <a:pt x="1014524" y="-62"/>
                  <a:pt x="1015248" y="119"/>
                </a:cubicBezTo>
                <a:cubicBezTo>
                  <a:pt x="1015972" y="480"/>
                  <a:pt x="1016514" y="1023"/>
                  <a:pt x="1016876" y="1746"/>
                </a:cubicBezTo>
                <a:lnTo>
                  <a:pt x="1198815" y="500905"/>
                </a:lnTo>
                <a:cubicBezTo>
                  <a:pt x="1199177" y="501628"/>
                  <a:pt x="1198996" y="502532"/>
                  <a:pt x="1198454" y="503256"/>
                </a:cubicBezTo>
                <a:cubicBezTo>
                  <a:pt x="1197911" y="503979"/>
                  <a:pt x="1197188" y="504341"/>
                  <a:pt x="1196284" y="504522"/>
                </a:cubicBezTo>
                <a:lnTo>
                  <a:pt x="2644" y="560225"/>
                </a:lnTo>
                <a:cubicBezTo>
                  <a:pt x="2644" y="560225"/>
                  <a:pt x="2644" y="560225"/>
                  <a:pt x="2463" y="560225"/>
                </a:cubicBezTo>
                <a:close/>
                <a:moveTo>
                  <a:pt x="1012897" y="6449"/>
                </a:moveTo>
                <a:lnTo>
                  <a:pt x="14218" y="554257"/>
                </a:lnTo>
                <a:lnTo>
                  <a:pt x="1192666" y="499096"/>
                </a:lnTo>
                <a:lnTo>
                  <a:pt x="1012897" y="64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1" name="Google Shape;1201;p53"/>
          <p:cNvSpPr/>
          <p:nvPr/>
        </p:nvSpPr>
        <p:spPr>
          <a:xfrm>
            <a:off x="11417928" y="3446249"/>
            <a:ext cx="800265" cy="358272"/>
          </a:xfrm>
          <a:custGeom>
            <a:avLst/>
            <a:gdLst/>
            <a:ahLst/>
            <a:cxnLst/>
            <a:rect l="l" t="t" r="r" b="b"/>
            <a:pathLst>
              <a:path w="800265" h="358272" extrusionOk="0">
                <a:moveTo>
                  <a:pt x="714831" y="358273"/>
                </a:moveTo>
                <a:cubicBezTo>
                  <a:pt x="714469" y="358273"/>
                  <a:pt x="714108" y="358092"/>
                  <a:pt x="713746" y="357911"/>
                </a:cubicBezTo>
                <a:lnTo>
                  <a:pt x="1541" y="5245"/>
                </a:lnTo>
                <a:cubicBezTo>
                  <a:pt x="456" y="4702"/>
                  <a:pt x="-268" y="3255"/>
                  <a:pt x="94" y="1989"/>
                </a:cubicBezTo>
                <a:cubicBezTo>
                  <a:pt x="456" y="723"/>
                  <a:pt x="1360" y="0"/>
                  <a:pt x="2988" y="0"/>
                </a:cubicBezTo>
                <a:lnTo>
                  <a:pt x="797843" y="94949"/>
                </a:lnTo>
                <a:cubicBezTo>
                  <a:pt x="798567" y="95129"/>
                  <a:pt x="799290" y="95491"/>
                  <a:pt x="799832" y="96215"/>
                </a:cubicBezTo>
                <a:cubicBezTo>
                  <a:pt x="800195" y="96938"/>
                  <a:pt x="800375" y="97661"/>
                  <a:pt x="800195" y="98566"/>
                </a:cubicBezTo>
                <a:lnTo>
                  <a:pt x="717544" y="356464"/>
                </a:lnTo>
                <a:cubicBezTo>
                  <a:pt x="717363" y="357188"/>
                  <a:pt x="716820" y="357730"/>
                  <a:pt x="716097" y="358092"/>
                </a:cubicBezTo>
                <a:cubicBezTo>
                  <a:pt x="715735" y="358273"/>
                  <a:pt x="715193" y="358273"/>
                  <a:pt x="714831" y="358273"/>
                </a:cubicBezTo>
                <a:close/>
                <a:moveTo>
                  <a:pt x="17999" y="7596"/>
                </a:moveTo>
                <a:lnTo>
                  <a:pt x="713384" y="351943"/>
                </a:lnTo>
                <a:lnTo>
                  <a:pt x="794046" y="100374"/>
                </a:lnTo>
                <a:lnTo>
                  <a:pt x="17999" y="75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2" name="Google Shape;1202;p53"/>
          <p:cNvSpPr/>
          <p:nvPr/>
        </p:nvSpPr>
        <p:spPr>
          <a:xfrm>
            <a:off x="12130220" y="3541469"/>
            <a:ext cx="663590" cy="263233"/>
          </a:xfrm>
          <a:custGeom>
            <a:avLst/>
            <a:gdLst/>
            <a:ahLst/>
            <a:cxnLst/>
            <a:rect l="l" t="t" r="r" b="b"/>
            <a:pathLst>
              <a:path w="663590" h="263233" extrusionOk="0">
                <a:moveTo>
                  <a:pt x="2539" y="263053"/>
                </a:moveTo>
                <a:cubicBezTo>
                  <a:pt x="1816" y="263053"/>
                  <a:pt x="1092" y="262691"/>
                  <a:pt x="550" y="261968"/>
                </a:cubicBezTo>
                <a:cubicBezTo>
                  <a:pt x="7" y="261244"/>
                  <a:pt x="-173" y="260340"/>
                  <a:pt x="188" y="259617"/>
                </a:cubicBezTo>
                <a:lnTo>
                  <a:pt x="82839" y="1899"/>
                </a:lnTo>
                <a:cubicBezTo>
                  <a:pt x="83019" y="1176"/>
                  <a:pt x="83562" y="633"/>
                  <a:pt x="84285" y="271"/>
                </a:cubicBezTo>
                <a:cubicBezTo>
                  <a:pt x="85009" y="-90"/>
                  <a:pt x="85733" y="-90"/>
                  <a:pt x="86456" y="271"/>
                </a:cubicBezTo>
                <a:lnTo>
                  <a:pt x="661935" y="255638"/>
                </a:lnTo>
                <a:cubicBezTo>
                  <a:pt x="663020" y="256180"/>
                  <a:pt x="663743" y="257446"/>
                  <a:pt x="663562" y="258712"/>
                </a:cubicBezTo>
                <a:cubicBezTo>
                  <a:pt x="663382" y="259978"/>
                  <a:pt x="662296" y="260883"/>
                  <a:pt x="661031" y="260883"/>
                </a:cubicBezTo>
                <a:lnTo>
                  <a:pt x="2901" y="263234"/>
                </a:lnTo>
                <a:cubicBezTo>
                  <a:pt x="2720" y="263053"/>
                  <a:pt x="2539" y="263053"/>
                  <a:pt x="2539" y="263053"/>
                </a:cubicBezTo>
                <a:close/>
                <a:moveTo>
                  <a:pt x="86998" y="6420"/>
                </a:moveTo>
                <a:lnTo>
                  <a:pt x="6518" y="257627"/>
                </a:lnTo>
                <a:lnTo>
                  <a:pt x="648371" y="255276"/>
                </a:lnTo>
                <a:lnTo>
                  <a:pt x="86998" y="64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3" name="Google Shape;1203;p53"/>
          <p:cNvSpPr/>
          <p:nvPr/>
        </p:nvSpPr>
        <p:spPr>
          <a:xfrm>
            <a:off x="12130270" y="3799071"/>
            <a:ext cx="635593" cy="504608"/>
          </a:xfrm>
          <a:custGeom>
            <a:avLst/>
            <a:gdLst/>
            <a:ahLst/>
            <a:cxnLst/>
            <a:rect l="l" t="t" r="r" b="b"/>
            <a:pathLst>
              <a:path w="635593" h="504608" extrusionOk="0">
                <a:moveTo>
                  <a:pt x="184429" y="504609"/>
                </a:moveTo>
                <a:cubicBezTo>
                  <a:pt x="183344" y="504609"/>
                  <a:pt x="182440" y="503886"/>
                  <a:pt x="182078" y="502800"/>
                </a:cubicBezTo>
                <a:lnTo>
                  <a:pt x="139" y="3642"/>
                </a:lnTo>
                <a:cubicBezTo>
                  <a:pt x="-223" y="2557"/>
                  <a:pt x="139" y="1291"/>
                  <a:pt x="1043" y="568"/>
                </a:cubicBezTo>
                <a:cubicBezTo>
                  <a:pt x="1947" y="-156"/>
                  <a:pt x="3213" y="-156"/>
                  <a:pt x="4117" y="387"/>
                </a:cubicBezTo>
                <a:lnTo>
                  <a:pt x="634395" y="425214"/>
                </a:lnTo>
                <a:cubicBezTo>
                  <a:pt x="635299" y="425756"/>
                  <a:pt x="635842" y="427022"/>
                  <a:pt x="635480" y="428107"/>
                </a:cubicBezTo>
                <a:cubicBezTo>
                  <a:pt x="635299" y="429193"/>
                  <a:pt x="634395" y="429916"/>
                  <a:pt x="633310" y="430097"/>
                </a:cubicBezTo>
                <a:lnTo>
                  <a:pt x="185153" y="504247"/>
                </a:lnTo>
                <a:cubicBezTo>
                  <a:pt x="184972" y="504609"/>
                  <a:pt x="184610" y="504609"/>
                  <a:pt x="184429" y="504609"/>
                </a:cubicBezTo>
                <a:close/>
                <a:moveTo>
                  <a:pt x="8096" y="9610"/>
                </a:moveTo>
                <a:lnTo>
                  <a:pt x="186418" y="498822"/>
                </a:lnTo>
                <a:lnTo>
                  <a:pt x="625714" y="426118"/>
                </a:lnTo>
                <a:lnTo>
                  <a:pt x="8096" y="961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4" name="Google Shape;1204;p53"/>
          <p:cNvSpPr/>
          <p:nvPr/>
        </p:nvSpPr>
        <p:spPr>
          <a:xfrm>
            <a:off x="12130295" y="3796745"/>
            <a:ext cx="663487" cy="432784"/>
          </a:xfrm>
          <a:custGeom>
            <a:avLst/>
            <a:gdLst/>
            <a:ahLst/>
            <a:cxnLst/>
            <a:rect l="l" t="t" r="r" b="b"/>
            <a:pathLst>
              <a:path w="663487" h="432784" extrusionOk="0">
                <a:moveTo>
                  <a:pt x="632742" y="432785"/>
                </a:moveTo>
                <a:cubicBezTo>
                  <a:pt x="632200" y="432785"/>
                  <a:pt x="631838" y="432604"/>
                  <a:pt x="631476" y="432242"/>
                </a:cubicBezTo>
                <a:lnTo>
                  <a:pt x="1198" y="7415"/>
                </a:lnTo>
                <a:cubicBezTo>
                  <a:pt x="294" y="6692"/>
                  <a:pt x="-248" y="5606"/>
                  <a:pt x="113" y="4340"/>
                </a:cubicBezTo>
                <a:cubicBezTo>
                  <a:pt x="475" y="3255"/>
                  <a:pt x="1560" y="2351"/>
                  <a:pt x="2645" y="2351"/>
                </a:cubicBezTo>
                <a:lnTo>
                  <a:pt x="660775" y="0"/>
                </a:lnTo>
                <a:cubicBezTo>
                  <a:pt x="661498" y="0"/>
                  <a:pt x="662221" y="362"/>
                  <a:pt x="662764" y="904"/>
                </a:cubicBezTo>
                <a:cubicBezTo>
                  <a:pt x="663307" y="1447"/>
                  <a:pt x="663487" y="2170"/>
                  <a:pt x="663487" y="2894"/>
                </a:cubicBezTo>
                <a:lnTo>
                  <a:pt x="635636" y="430072"/>
                </a:lnTo>
                <a:cubicBezTo>
                  <a:pt x="635636" y="430976"/>
                  <a:pt x="634913" y="431880"/>
                  <a:pt x="634189" y="432242"/>
                </a:cubicBezTo>
                <a:cubicBezTo>
                  <a:pt x="633647" y="432604"/>
                  <a:pt x="633104" y="432785"/>
                  <a:pt x="632742" y="432785"/>
                </a:cubicBezTo>
                <a:close/>
                <a:moveTo>
                  <a:pt x="11507" y="7777"/>
                </a:moveTo>
                <a:lnTo>
                  <a:pt x="630572" y="425189"/>
                </a:lnTo>
                <a:lnTo>
                  <a:pt x="657881" y="5426"/>
                </a:lnTo>
                <a:lnTo>
                  <a:pt x="11507" y="777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5" name="Google Shape;1205;p53"/>
          <p:cNvSpPr/>
          <p:nvPr/>
        </p:nvSpPr>
        <p:spPr>
          <a:xfrm>
            <a:off x="8364210" y="4541323"/>
            <a:ext cx="774711" cy="291718"/>
          </a:xfrm>
          <a:custGeom>
            <a:avLst/>
            <a:gdLst/>
            <a:ahLst/>
            <a:cxnLst/>
            <a:rect l="l" t="t" r="r" b="b"/>
            <a:pathLst>
              <a:path w="774711" h="291718" extrusionOk="0">
                <a:moveTo>
                  <a:pt x="2617" y="291718"/>
                </a:moveTo>
                <a:cubicBezTo>
                  <a:pt x="1712" y="291718"/>
                  <a:pt x="989" y="291176"/>
                  <a:pt x="446" y="290452"/>
                </a:cubicBezTo>
                <a:cubicBezTo>
                  <a:pt x="-277" y="289367"/>
                  <a:pt x="-96" y="288101"/>
                  <a:pt x="808" y="287197"/>
                </a:cubicBezTo>
                <a:lnTo>
                  <a:pt x="271186" y="904"/>
                </a:lnTo>
                <a:cubicBezTo>
                  <a:pt x="271728" y="362"/>
                  <a:pt x="272452" y="0"/>
                  <a:pt x="273356" y="0"/>
                </a:cubicBezTo>
                <a:lnTo>
                  <a:pt x="772153" y="28213"/>
                </a:lnTo>
                <a:cubicBezTo>
                  <a:pt x="772153" y="28213"/>
                  <a:pt x="772153" y="28213"/>
                  <a:pt x="772153" y="28213"/>
                </a:cubicBezTo>
                <a:cubicBezTo>
                  <a:pt x="773418" y="28213"/>
                  <a:pt x="774504" y="29298"/>
                  <a:pt x="774684" y="30564"/>
                </a:cubicBezTo>
                <a:cubicBezTo>
                  <a:pt x="774865" y="31830"/>
                  <a:pt x="774142" y="33096"/>
                  <a:pt x="772876" y="33458"/>
                </a:cubicBezTo>
                <a:lnTo>
                  <a:pt x="3702" y="291537"/>
                </a:lnTo>
                <a:cubicBezTo>
                  <a:pt x="3340" y="291718"/>
                  <a:pt x="2978" y="291718"/>
                  <a:pt x="2617" y="291718"/>
                </a:cubicBezTo>
                <a:close/>
                <a:moveTo>
                  <a:pt x="274441" y="5426"/>
                </a:moveTo>
                <a:lnTo>
                  <a:pt x="12202" y="283037"/>
                </a:lnTo>
                <a:lnTo>
                  <a:pt x="757865" y="32735"/>
                </a:lnTo>
                <a:lnTo>
                  <a:pt x="274441" y="542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6" name="Google Shape;1206;p53"/>
          <p:cNvSpPr/>
          <p:nvPr/>
        </p:nvSpPr>
        <p:spPr>
          <a:xfrm>
            <a:off x="8364333" y="4569536"/>
            <a:ext cx="774702" cy="792865"/>
          </a:xfrm>
          <a:custGeom>
            <a:avLst/>
            <a:gdLst/>
            <a:ahLst/>
            <a:cxnLst/>
            <a:rect l="l" t="t" r="r" b="b"/>
            <a:pathLst>
              <a:path w="774702" h="792865" extrusionOk="0">
                <a:moveTo>
                  <a:pt x="580142" y="792866"/>
                </a:moveTo>
                <a:cubicBezTo>
                  <a:pt x="579600" y="792866"/>
                  <a:pt x="578876" y="792504"/>
                  <a:pt x="578515" y="792142"/>
                </a:cubicBezTo>
                <a:lnTo>
                  <a:pt x="865" y="262781"/>
                </a:lnTo>
                <a:cubicBezTo>
                  <a:pt x="142" y="262058"/>
                  <a:pt x="-220" y="261154"/>
                  <a:pt x="142" y="260249"/>
                </a:cubicBezTo>
                <a:cubicBezTo>
                  <a:pt x="323" y="259345"/>
                  <a:pt x="1046" y="258622"/>
                  <a:pt x="1950" y="258260"/>
                </a:cubicBezTo>
                <a:lnTo>
                  <a:pt x="771125" y="181"/>
                </a:lnTo>
                <a:cubicBezTo>
                  <a:pt x="772029" y="-181"/>
                  <a:pt x="773114" y="0"/>
                  <a:pt x="773837" y="723"/>
                </a:cubicBezTo>
                <a:cubicBezTo>
                  <a:pt x="774561" y="1447"/>
                  <a:pt x="774923" y="2351"/>
                  <a:pt x="774561" y="3255"/>
                </a:cubicBezTo>
                <a:lnTo>
                  <a:pt x="583036" y="790696"/>
                </a:lnTo>
                <a:cubicBezTo>
                  <a:pt x="582855" y="791600"/>
                  <a:pt x="582132" y="792323"/>
                  <a:pt x="581227" y="792685"/>
                </a:cubicBezTo>
                <a:cubicBezTo>
                  <a:pt x="580866" y="792866"/>
                  <a:pt x="580504" y="792866"/>
                  <a:pt x="580142" y="792866"/>
                </a:cubicBezTo>
                <a:close/>
                <a:moveTo>
                  <a:pt x="7919" y="261877"/>
                </a:moveTo>
                <a:lnTo>
                  <a:pt x="578876" y="785089"/>
                </a:lnTo>
                <a:lnTo>
                  <a:pt x="768231" y="6872"/>
                </a:lnTo>
                <a:lnTo>
                  <a:pt x="7919" y="26187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7" name="Google Shape;1207;p53"/>
          <p:cNvSpPr/>
          <p:nvPr/>
        </p:nvSpPr>
        <p:spPr>
          <a:xfrm>
            <a:off x="8634830" y="4347670"/>
            <a:ext cx="638645" cy="227291"/>
          </a:xfrm>
          <a:custGeom>
            <a:avLst/>
            <a:gdLst/>
            <a:ahLst/>
            <a:cxnLst/>
            <a:rect l="l" t="t" r="r" b="b"/>
            <a:pathLst>
              <a:path w="638645" h="227291" extrusionOk="0">
                <a:moveTo>
                  <a:pt x="2555" y="199079"/>
                </a:moveTo>
                <a:cubicBezTo>
                  <a:pt x="1289" y="199079"/>
                  <a:pt x="204" y="197993"/>
                  <a:pt x="23" y="196727"/>
                </a:cubicBezTo>
                <a:cubicBezTo>
                  <a:pt x="-158" y="195461"/>
                  <a:pt x="747" y="194195"/>
                  <a:pt x="1832" y="193834"/>
                </a:cubicBezTo>
                <a:lnTo>
                  <a:pt x="635184" y="139"/>
                </a:lnTo>
                <a:cubicBezTo>
                  <a:pt x="636269" y="-223"/>
                  <a:pt x="637354" y="139"/>
                  <a:pt x="638078" y="1043"/>
                </a:cubicBezTo>
                <a:cubicBezTo>
                  <a:pt x="638801" y="1947"/>
                  <a:pt x="638801" y="3213"/>
                  <a:pt x="638259" y="4117"/>
                </a:cubicBezTo>
                <a:lnTo>
                  <a:pt x="503703" y="226026"/>
                </a:lnTo>
                <a:cubicBezTo>
                  <a:pt x="503160" y="226930"/>
                  <a:pt x="502256" y="227292"/>
                  <a:pt x="501171" y="227292"/>
                </a:cubicBezTo>
                <a:lnTo>
                  <a:pt x="2555" y="199079"/>
                </a:lnTo>
                <a:cubicBezTo>
                  <a:pt x="2555" y="199079"/>
                  <a:pt x="2555" y="199079"/>
                  <a:pt x="2555" y="199079"/>
                </a:cubicBezTo>
                <a:close/>
                <a:moveTo>
                  <a:pt x="630120" y="7373"/>
                </a:moveTo>
                <a:lnTo>
                  <a:pt x="17928" y="194557"/>
                </a:lnTo>
                <a:lnTo>
                  <a:pt x="500086" y="221866"/>
                </a:lnTo>
                <a:lnTo>
                  <a:pt x="630120" y="737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8" name="Google Shape;1208;p53"/>
          <p:cNvSpPr/>
          <p:nvPr/>
        </p:nvSpPr>
        <p:spPr>
          <a:xfrm>
            <a:off x="8941898" y="4569646"/>
            <a:ext cx="912456" cy="792756"/>
          </a:xfrm>
          <a:custGeom>
            <a:avLst/>
            <a:gdLst/>
            <a:ahLst/>
            <a:cxnLst/>
            <a:rect l="l" t="t" r="r" b="b"/>
            <a:pathLst>
              <a:path w="912456" h="792756" extrusionOk="0">
                <a:moveTo>
                  <a:pt x="2578" y="792756"/>
                </a:moveTo>
                <a:cubicBezTo>
                  <a:pt x="2035" y="792756"/>
                  <a:pt x="1493" y="792575"/>
                  <a:pt x="950" y="792214"/>
                </a:cubicBezTo>
                <a:cubicBezTo>
                  <a:pt x="227" y="791490"/>
                  <a:pt x="-135" y="790586"/>
                  <a:pt x="46" y="789501"/>
                </a:cubicBezTo>
                <a:lnTo>
                  <a:pt x="191571" y="2061"/>
                </a:lnTo>
                <a:cubicBezTo>
                  <a:pt x="191752" y="1337"/>
                  <a:pt x="192294" y="614"/>
                  <a:pt x="193018" y="252"/>
                </a:cubicBezTo>
                <a:cubicBezTo>
                  <a:pt x="193741" y="-110"/>
                  <a:pt x="194646" y="-110"/>
                  <a:pt x="195369" y="433"/>
                </a:cubicBezTo>
                <a:lnTo>
                  <a:pt x="911010" y="387823"/>
                </a:lnTo>
                <a:cubicBezTo>
                  <a:pt x="911914" y="388366"/>
                  <a:pt x="912457" y="389270"/>
                  <a:pt x="912457" y="390355"/>
                </a:cubicBezTo>
                <a:cubicBezTo>
                  <a:pt x="912457" y="391440"/>
                  <a:pt x="911734" y="392344"/>
                  <a:pt x="910829" y="392706"/>
                </a:cubicBezTo>
                <a:lnTo>
                  <a:pt x="3844" y="792395"/>
                </a:lnTo>
                <a:cubicBezTo>
                  <a:pt x="3482" y="792575"/>
                  <a:pt x="3121" y="792756"/>
                  <a:pt x="2578" y="792756"/>
                </a:cubicBezTo>
                <a:close/>
                <a:moveTo>
                  <a:pt x="196092" y="6582"/>
                </a:moveTo>
                <a:lnTo>
                  <a:pt x="6738" y="785341"/>
                </a:lnTo>
                <a:lnTo>
                  <a:pt x="903957" y="389632"/>
                </a:lnTo>
                <a:lnTo>
                  <a:pt x="196092" y="658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9" name="Google Shape;1209;p53"/>
          <p:cNvSpPr/>
          <p:nvPr/>
        </p:nvSpPr>
        <p:spPr>
          <a:xfrm>
            <a:off x="9133578" y="4347582"/>
            <a:ext cx="720828" cy="614770"/>
          </a:xfrm>
          <a:custGeom>
            <a:avLst/>
            <a:gdLst/>
            <a:ahLst/>
            <a:cxnLst/>
            <a:rect l="l" t="t" r="r" b="b"/>
            <a:pathLst>
              <a:path w="720828" h="614770" extrusionOk="0">
                <a:moveTo>
                  <a:pt x="718063" y="614770"/>
                </a:moveTo>
                <a:cubicBezTo>
                  <a:pt x="717702" y="614770"/>
                  <a:pt x="717340" y="614589"/>
                  <a:pt x="716978" y="614408"/>
                </a:cubicBezTo>
                <a:lnTo>
                  <a:pt x="1337" y="227018"/>
                </a:lnTo>
                <a:cubicBezTo>
                  <a:pt x="614" y="226657"/>
                  <a:pt x="252" y="226114"/>
                  <a:pt x="71" y="225391"/>
                </a:cubicBezTo>
                <a:cubicBezTo>
                  <a:pt x="-110" y="224667"/>
                  <a:pt x="71" y="223944"/>
                  <a:pt x="433" y="223220"/>
                </a:cubicBezTo>
                <a:lnTo>
                  <a:pt x="134988" y="1312"/>
                </a:lnTo>
                <a:cubicBezTo>
                  <a:pt x="135350" y="589"/>
                  <a:pt x="136074" y="46"/>
                  <a:pt x="136978" y="46"/>
                </a:cubicBezTo>
                <a:cubicBezTo>
                  <a:pt x="137882" y="-135"/>
                  <a:pt x="138606" y="227"/>
                  <a:pt x="139148" y="950"/>
                </a:cubicBezTo>
                <a:lnTo>
                  <a:pt x="720053" y="610249"/>
                </a:lnTo>
                <a:cubicBezTo>
                  <a:pt x="720957" y="611153"/>
                  <a:pt x="721138" y="612600"/>
                  <a:pt x="720234" y="613685"/>
                </a:cubicBezTo>
                <a:cubicBezTo>
                  <a:pt x="719872" y="614408"/>
                  <a:pt x="718968" y="614770"/>
                  <a:pt x="718063" y="614770"/>
                </a:cubicBezTo>
                <a:close/>
                <a:moveTo>
                  <a:pt x="6401" y="223582"/>
                </a:moveTo>
                <a:lnTo>
                  <a:pt x="704499" y="601387"/>
                </a:lnTo>
                <a:lnTo>
                  <a:pt x="137701" y="6918"/>
                </a:lnTo>
                <a:lnTo>
                  <a:pt x="6401" y="22358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0" name="Google Shape;1210;p53"/>
          <p:cNvSpPr/>
          <p:nvPr/>
        </p:nvSpPr>
        <p:spPr>
          <a:xfrm>
            <a:off x="11590919" y="4298301"/>
            <a:ext cx="726848" cy="591347"/>
          </a:xfrm>
          <a:custGeom>
            <a:avLst/>
            <a:gdLst/>
            <a:ahLst/>
            <a:cxnLst/>
            <a:rect l="l" t="t" r="r" b="b"/>
            <a:pathLst>
              <a:path w="726848" h="591347" extrusionOk="0">
                <a:moveTo>
                  <a:pt x="516882" y="591348"/>
                </a:moveTo>
                <a:cubicBezTo>
                  <a:pt x="516521" y="591348"/>
                  <a:pt x="516340" y="591167"/>
                  <a:pt x="515978" y="591167"/>
                </a:cubicBezTo>
                <a:lnTo>
                  <a:pt x="1628" y="363471"/>
                </a:lnTo>
                <a:cubicBezTo>
                  <a:pt x="723" y="363109"/>
                  <a:pt x="0" y="362024"/>
                  <a:pt x="0" y="361120"/>
                </a:cubicBezTo>
                <a:cubicBezTo>
                  <a:pt x="0" y="360035"/>
                  <a:pt x="543" y="359131"/>
                  <a:pt x="1447" y="358588"/>
                </a:cubicBezTo>
                <a:lnTo>
                  <a:pt x="722875" y="315"/>
                </a:lnTo>
                <a:cubicBezTo>
                  <a:pt x="723780" y="-227"/>
                  <a:pt x="725046" y="-46"/>
                  <a:pt x="725950" y="677"/>
                </a:cubicBezTo>
                <a:cubicBezTo>
                  <a:pt x="726854" y="1401"/>
                  <a:pt x="727035" y="2486"/>
                  <a:pt x="726674" y="3571"/>
                </a:cubicBezTo>
                <a:lnTo>
                  <a:pt x="519595" y="589539"/>
                </a:lnTo>
                <a:cubicBezTo>
                  <a:pt x="519414" y="590263"/>
                  <a:pt x="518871" y="590805"/>
                  <a:pt x="518148" y="591167"/>
                </a:cubicBezTo>
                <a:cubicBezTo>
                  <a:pt x="517606" y="591348"/>
                  <a:pt x="517244" y="591348"/>
                  <a:pt x="516882" y="591348"/>
                </a:cubicBezTo>
                <a:close/>
                <a:moveTo>
                  <a:pt x="9043" y="360939"/>
                </a:moveTo>
                <a:lnTo>
                  <a:pt x="515436" y="585018"/>
                </a:lnTo>
                <a:lnTo>
                  <a:pt x="719258" y="8092"/>
                </a:lnTo>
                <a:lnTo>
                  <a:pt x="9043" y="36093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1" name="Google Shape;1211;p53"/>
          <p:cNvSpPr/>
          <p:nvPr/>
        </p:nvSpPr>
        <p:spPr>
          <a:xfrm>
            <a:off x="12105305" y="4298208"/>
            <a:ext cx="619175" cy="591439"/>
          </a:xfrm>
          <a:custGeom>
            <a:avLst/>
            <a:gdLst/>
            <a:ahLst/>
            <a:cxnLst/>
            <a:rect l="l" t="t" r="r" b="b"/>
            <a:pathLst>
              <a:path w="619175" h="591439" extrusionOk="0">
                <a:moveTo>
                  <a:pt x="2497" y="591440"/>
                </a:moveTo>
                <a:cubicBezTo>
                  <a:pt x="1773" y="591440"/>
                  <a:pt x="1050" y="591078"/>
                  <a:pt x="688" y="590536"/>
                </a:cubicBezTo>
                <a:cubicBezTo>
                  <a:pt x="146" y="589812"/>
                  <a:pt x="-216" y="588727"/>
                  <a:pt x="146" y="587823"/>
                </a:cubicBezTo>
                <a:lnTo>
                  <a:pt x="207224" y="1855"/>
                </a:lnTo>
                <a:cubicBezTo>
                  <a:pt x="207586" y="950"/>
                  <a:pt x="208309" y="227"/>
                  <a:pt x="209213" y="46"/>
                </a:cubicBezTo>
                <a:cubicBezTo>
                  <a:pt x="210118" y="-135"/>
                  <a:pt x="211203" y="227"/>
                  <a:pt x="211746" y="950"/>
                </a:cubicBezTo>
                <a:lnTo>
                  <a:pt x="618487" y="473885"/>
                </a:lnTo>
                <a:cubicBezTo>
                  <a:pt x="619030" y="474608"/>
                  <a:pt x="619391" y="475693"/>
                  <a:pt x="619030" y="476598"/>
                </a:cubicBezTo>
                <a:cubicBezTo>
                  <a:pt x="618668" y="477502"/>
                  <a:pt x="617945" y="478225"/>
                  <a:pt x="617041" y="478406"/>
                </a:cubicBezTo>
                <a:lnTo>
                  <a:pt x="3220" y="591440"/>
                </a:lnTo>
                <a:cubicBezTo>
                  <a:pt x="2858" y="591440"/>
                  <a:pt x="2678" y="591440"/>
                  <a:pt x="2497" y="591440"/>
                </a:cubicBezTo>
                <a:close/>
                <a:moveTo>
                  <a:pt x="210660" y="8184"/>
                </a:moveTo>
                <a:lnTo>
                  <a:pt x="6657" y="585291"/>
                </a:lnTo>
                <a:lnTo>
                  <a:pt x="611253" y="473885"/>
                </a:lnTo>
                <a:lnTo>
                  <a:pt x="210660" y="81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2" name="Google Shape;1212;p53"/>
          <p:cNvSpPr/>
          <p:nvPr/>
        </p:nvSpPr>
        <p:spPr>
          <a:xfrm>
            <a:off x="12105289" y="4884223"/>
            <a:ext cx="770330" cy="680555"/>
          </a:xfrm>
          <a:custGeom>
            <a:avLst/>
            <a:gdLst/>
            <a:ahLst/>
            <a:cxnLst/>
            <a:rect l="l" t="t" r="r" b="b"/>
            <a:pathLst>
              <a:path w="770330" h="680555" extrusionOk="0">
                <a:moveTo>
                  <a:pt x="370371" y="680555"/>
                </a:moveTo>
                <a:cubicBezTo>
                  <a:pt x="369467" y="680555"/>
                  <a:pt x="368562" y="680013"/>
                  <a:pt x="368201" y="679108"/>
                </a:cubicBezTo>
                <a:lnTo>
                  <a:pt x="343" y="3979"/>
                </a:lnTo>
                <a:cubicBezTo>
                  <a:pt x="-200" y="3074"/>
                  <a:pt x="-20" y="2170"/>
                  <a:pt x="343" y="1266"/>
                </a:cubicBezTo>
                <a:cubicBezTo>
                  <a:pt x="885" y="362"/>
                  <a:pt x="1789" y="0"/>
                  <a:pt x="2694" y="0"/>
                </a:cubicBezTo>
                <a:lnTo>
                  <a:pt x="767708" y="24054"/>
                </a:lnTo>
                <a:cubicBezTo>
                  <a:pt x="768793" y="24054"/>
                  <a:pt x="769517" y="24596"/>
                  <a:pt x="770059" y="25500"/>
                </a:cubicBezTo>
                <a:cubicBezTo>
                  <a:pt x="770421" y="26405"/>
                  <a:pt x="770421" y="27309"/>
                  <a:pt x="770059" y="28213"/>
                </a:cubicBezTo>
                <a:lnTo>
                  <a:pt x="372903" y="679289"/>
                </a:lnTo>
                <a:cubicBezTo>
                  <a:pt x="372360" y="680013"/>
                  <a:pt x="371456" y="680555"/>
                  <a:pt x="370371" y="680555"/>
                </a:cubicBezTo>
                <a:cubicBezTo>
                  <a:pt x="370371" y="680555"/>
                  <a:pt x="370371" y="680555"/>
                  <a:pt x="370371" y="680555"/>
                </a:cubicBezTo>
                <a:close/>
                <a:moveTo>
                  <a:pt x="7215" y="5606"/>
                </a:moveTo>
                <a:lnTo>
                  <a:pt x="370552" y="672598"/>
                </a:lnTo>
                <a:lnTo>
                  <a:pt x="763006" y="29479"/>
                </a:lnTo>
                <a:lnTo>
                  <a:pt x="7215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3" name="Google Shape;1213;p53"/>
          <p:cNvSpPr/>
          <p:nvPr/>
        </p:nvSpPr>
        <p:spPr>
          <a:xfrm>
            <a:off x="12105250" y="4771123"/>
            <a:ext cx="770453" cy="142578"/>
          </a:xfrm>
          <a:custGeom>
            <a:avLst/>
            <a:gdLst/>
            <a:ahLst/>
            <a:cxnLst/>
            <a:rect l="l" t="t" r="r" b="b"/>
            <a:pathLst>
              <a:path w="770453" h="142578" extrusionOk="0">
                <a:moveTo>
                  <a:pt x="2552" y="118525"/>
                </a:moveTo>
                <a:cubicBezTo>
                  <a:pt x="1286" y="118525"/>
                  <a:pt x="201" y="117440"/>
                  <a:pt x="20" y="115993"/>
                </a:cubicBezTo>
                <a:cubicBezTo>
                  <a:pt x="-161" y="114546"/>
                  <a:pt x="924" y="113461"/>
                  <a:pt x="2190" y="113099"/>
                </a:cubicBezTo>
                <a:lnTo>
                  <a:pt x="616011" y="65"/>
                </a:lnTo>
                <a:cubicBezTo>
                  <a:pt x="616915" y="-116"/>
                  <a:pt x="617638" y="65"/>
                  <a:pt x="618361" y="789"/>
                </a:cubicBezTo>
                <a:lnTo>
                  <a:pt x="769556" y="137876"/>
                </a:lnTo>
                <a:cubicBezTo>
                  <a:pt x="770460" y="138600"/>
                  <a:pt x="770641" y="139866"/>
                  <a:pt x="770280" y="140951"/>
                </a:cubicBezTo>
                <a:cubicBezTo>
                  <a:pt x="769917" y="142036"/>
                  <a:pt x="768832" y="142578"/>
                  <a:pt x="767747" y="142578"/>
                </a:cubicBezTo>
                <a:lnTo>
                  <a:pt x="2552" y="118525"/>
                </a:lnTo>
                <a:cubicBezTo>
                  <a:pt x="2552" y="118525"/>
                  <a:pt x="2552" y="118525"/>
                  <a:pt x="2552" y="118525"/>
                </a:cubicBezTo>
                <a:close/>
                <a:moveTo>
                  <a:pt x="615649" y="5672"/>
                </a:moveTo>
                <a:lnTo>
                  <a:pt x="27871" y="114003"/>
                </a:lnTo>
                <a:lnTo>
                  <a:pt x="760513" y="136972"/>
                </a:lnTo>
                <a:lnTo>
                  <a:pt x="615649" y="567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4" name="Google Shape;1214;p53"/>
          <p:cNvSpPr/>
          <p:nvPr/>
        </p:nvSpPr>
        <p:spPr>
          <a:xfrm>
            <a:off x="9676206" y="2612322"/>
            <a:ext cx="525758" cy="309810"/>
          </a:xfrm>
          <a:custGeom>
            <a:avLst/>
            <a:gdLst/>
            <a:ahLst/>
            <a:cxnLst/>
            <a:rect l="l" t="t" r="r" b="b"/>
            <a:pathLst>
              <a:path w="525758" h="309810" extrusionOk="0">
                <a:moveTo>
                  <a:pt x="2539" y="309811"/>
                </a:moveTo>
                <a:cubicBezTo>
                  <a:pt x="1635" y="309811"/>
                  <a:pt x="911" y="309268"/>
                  <a:pt x="369" y="308545"/>
                </a:cubicBezTo>
                <a:cubicBezTo>
                  <a:pt x="-355" y="307279"/>
                  <a:pt x="7" y="305651"/>
                  <a:pt x="1273" y="304928"/>
                </a:cubicBezTo>
                <a:lnTo>
                  <a:pt x="521772" y="369"/>
                </a:lnTo>
                <a:cubicBezTo>
                  <a:pt x="523038" y="-355"/>
                  <a:pt x="524666" y="7"/>
                  <a:pt x="525389" y="1273"/>
                </a:cubicBezTo>
                <a:cubicBezTo>
                  <a:pt x="526113" y="2539"/>
                  <a:pt x="525751" y="4167"/>
                  <a:pt x="524485" y="4890"/>
                </a:cubicBezTo>
                <a:lnTo>
                  <a:pt x="3986" y="309449"/>
                </a:lnTo>
                <a:cubicBezTo>
                  <a:pt x="3624" y="309811"/>
                  <a:pt x="3082" y="309811"/>
                  <a:pt x="2539" y="309811"/>
                </a:cubicBez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5" name="Google Shape;1215;p53"/>
          <p:cNvSpPr/>
          <p:nvPr/>
        </p:nvSpPr>
        <p:spPr>
          <a:xfrm>
            <a:off x="9676213" y="2612103"/>
            <a:ext cx="525744" cy="490884"/>
          </a:xfrm>
          <a:custGeom>
            <a:avLst/>
            <a:gdLst/>
            <a:ahLst/>
            <a:cxnLst/>
            <a:rect l="l" t="t" r="r" b="b"/>
            <a:pathLst>
              <a:path w="525744" h="490884" extrusionOk="0">
                <a:moveTo>
                  <a:pt x="494276" y="490884"/>
                </a:moveTo>
                <a:cubicBezTo>
                  <a:pt x="494094" y="490884"/>
                  <a:pt x="493733" y="490884"/>
                  <a:pt x="493552" y="490703"/>
                </a:cubicBezTo>
                <a:lnTo>
                  <a:pt x="1809" y="309849"/>
                </a:lnTo>
                <a:cubicBezTo>
                  <a:pt x="904" y="309487"/>
                  <a:pt x="181" y="308583"/>
                  <a:pt x="0" y="307498"/>
                </a:cubicBezTo>
                <a:cubicBezTo>
                  <a:pt x="0" y="306413"/>
                  <a:pt x="362" y="305508"/>
                  <a:pt x="1266" y="304966"/>
                </a:cubicBezTo>
                <a:lnTo>
                  <a:pt x="521765" y="407"/>
                </a:lnTo>
                <a:cubicBezTo>
                  <a:pt x="522670" y="-136"/>
                  <a:pt x="523755" y="-136"/>
                  <a:pt x="524478" y="407"/>
                </a:cubicBezTo>
                <a:cubicBezTo>
                  <a:pt x="525383" y="949"/>
                  <a:pt x="525744" y="1854"/>
                  <a:pt x="525744" y="2939"/>
                </a:cubicBezTo>
                <a:lnTo>
                  <a:pt x="496988" y="488352"/>
                </a:lnTo>
                <a:cubicBezTo>
                  <a:pt x="496988" y="489256"/>
                  <a:pt x="496446" y="489980"/>
                  <a:pt x="495722" y="490522"/>
                </a:cubicBezTo>
                <a:cubicBezTo>
                  <a:pt x="495361" y="490703"/>
                  <a:pt x="494818" y="490884"/>
                  <a:pt x="494276" y="490884"/>
                </a:cubicBezTo>
                <a:close/>
                <a:moveTo>
                  <a:pt x="9043" y="306774"/>
                </a:moveTo>
                <a:lnTo>
                  <a:pt x="491924" y="484373"/>
                </a:lnTo>
                <a:lnTo>
                  <a:pt x="520318" y="7641"/>
                </a:lnTo>
                <a:lnTo>
                  <a:pt x="9043" y="30677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6" name="Google Shape;1216;p53"/>
          <p:cNvSpPr/>
          <p:nvPr/>
        </p:nvSpPr>
        <p:spPr>
          <a:xfrm>
            <a:off x="10167956" y="2612239"/>
            <a:ext cx="515831" cy="490748"/>
          </a:xfrm>
          <a:custGeom>
            <a:avLst/>
            <a:gdLst/>
            <a:ahLst/>
            <a:cxnLst/>
            <a:rect l="l" t="t" r="r" b="b"/>
            <a:pathLst>
              <a:path w="515831" h="490748" extrusionOk="0">
                <a:moveTo>
                  <a:pt x="2532" y="490748"/>
                </a:moveTo>
                <a:cubicBezTo>
                  <a:pt x="1989" y="490748"/>
                  <a:pt x="1447" y="490568"/>
                  <a:pt x="1085" y="490206"/>
                </a:cubicBezTo>
                <a:cubicBezTo>
                  <a:pt x="362" y="489663"/>
                  <a:pt x="0" y="488759"/>
                  <a:pt x="0" y="487855"/>
                </a:cubicBezTo>
                <a:lnTo>
                  <a:pt x="28756" y="2442"/>
                </a:lnTo>
                <a:cubicBezTo>
                  <a:pt x="28756" y="1537"/>
                  <a:pt x="29298" y="633"/>
                  <a:pt x="30203" y="271"/>
                </a:cubicBezTo>
                <a:cubicBezTo>
                  <a:pt x="31107" y="-90"/>
                  <a:pt x="32011" y="-90"/>
                  <a:pt x="32915" y="271"/>
                </a:cubicBezTo>
                <a:lnTo>
                  <a:pt x="514531" y="292532"/>
                </a:lnTo>
                <a:cubicBezTo>
                  <a:pt x="515435" y="293075"/>
                  <a:pt x="515978" y="293979"/>
                  <a:pt x="515797" y="295064"/>
                </a:cubicBezTo>
                <a:cubicBezTo>
                  <a:pt x="515616" y="296149"/>
                  <a:pt x="515074" y="297053"/>
                  <a:pt x="513988" y="297415"/>
                </a:cubicBezTo>
                <a:lnTo>
                  <a:pt x="3617" y="490568"/>
                </a:lnTo>
                <a:cubicBezTo>
                  <a:pt x="3255" y="490748"/>
                  <a:pt x="2893" y="490748"/>
                  <a:pt x="2532" y="490748"/>
                </a:cubicBezTo>
                <a:close/>
                <a:moveTo>
                  <a:pt x="33820" y="7325"/>
                </a:moveTo>
                <a:lnTo>
                  <a:pt x="5606" y="484057"/>
                </a:lnTo>
                <a:lnTo>
                  <a:pt x="506935" y="294341"/>
                </a:lnTo>
                <a:lnTo>
                  <a:pt x="33820" y="73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7" name="Google Shape;1217;p53"/>
          <p:cNvSpPr/>
          <p:nvPr/>
        </p:nvSpPr>
        <p:spPr>
          <a:xfrm>
            <a:off x="10196689" y="1827586"/>
            <a:ext cx="309012" cy="790016"/>
          </a:xfrm>
          <a:custGeom>
            <a:avLst/>
            <a:gdLst/>
            <a:ahLst/>
            <a:cxnLst/>
            <a:rect l="l" t="t" r="r" b="b"/>
            <a:pathLst>
              <a:path w="309012" h="790016" extrusionOk="0">
                <a:moveTo>
                  <a:pt x="2555" y="789988"/>
                </a:moveTo>
                <a:cubicBezTo>
                  <a:pt x="2374" y="789988"/>
                  <a:pt x="2193" y="789988"/>
                  <a:pt x="2012" y="789988"/>
                </a:cubicBezTo>
                <a:cubicBezTo>
                  <a:pt x="746" y="789627"/>
                  <a:pt x="-158" y="788361"/>
                  <a:pt x="23" y="787095"/>
                </a:cubicBezTo>
                <a:lnTo>
                  <a:pt x="99855" y="2367"/>
                </a:lnTo>
                <a:cubicBezTo>
                  <a:pt x="100036" y="1463"/>
                  <a:pt x="100397" y="740"/>
                  <a:pt x="101121" y="378"/>
                </a:cubicBezTo>
                <a:cubicBezTo>
                  <a:pt x="101844" y="16"/>
                  <a:pt x="102748" y="-165"/>
                  <a:pt x="103472" y="197"/>
                </a:cubicBezTo>
                <a:lnTo>
                  <a:pt x="307295" y="78145"/>
                </a:lnTo>
                <a:cubicBezTo>
                  <a:pt x="308018" y="78326"/>
                  <a:pt x="308561" y="78869"/>
                  <a:pt x="308742" y="79592"/>
                </a:cubicBezTo>
                <a:cubicBezTo>
                  <a:pt x="309103" y="80316"/>
                  <a:pt x="309103" y="81039"/>
                  <a:pt x="308742" y="81763"/>
                </a:cubicBezTo>
                <a:lnTo>
                  <a:pt x="5087" y="788542"/>
                </a:lnTo>
                <a:cubicBezTo>
                  <a:pt x="4725" y="789446"/>
                  <a:pt x="3640" y="790169"/>
                  <a:pt x="2555" y="789988"/>
                </a:cubicBezTo>
                <a:close/>
                <a:moveTo>
                  <a:pt x="104738" y="6346"/>
                </a:moveTo>
                <a:lnTo>
                  <a:pt x="7800" y="768648"/>
                </a:lnTo>
                <a:lnTo>
                  <a:pt x="302773" y="82124"/>
                </a:lnTo>
                <a:lnTo>
                  <a:pt x="104738" y="634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8" name="Google Shape;1218;p53"/>
          <p:cNvSpPr/>
          <p:nvPr/>
        </p:nvSpPr>
        <p:spPr>
          <a:xfrm>
            <a:off x="10196680" y="1905342"/>
            <a:ext cx="486937" cy="1004561"/>
          </a:xfrm>
          <a:custGeom>
            <a:avLst/>
            <a:gdLst/>
            <a:ahLst/>
            <a:cxnLst/>
            <a:rect l="l" t="t" r="r" b="b"/>
            <a:pathLst>
              <a:path w="486937" h="1004561" extrusionOk="0">
                <a:moveTo>
                  <a:pt x="484180" y="1004493"/>
                </a:moveTo>
                <a:cubicBezTo>
                  <a:pt x="483818" y="1004493"/>
                  <a:pt x="483275" y="1004312"/>
                  <a:pt x="482914" y="1004132"/>
                </a:cubicBezTo>
                <a:lnTo>
                  <a:pt x="1298" y="711871"/>
                </a:lnTo>
                <a:cubicBezTo>
                  <a:pt x="213" y="711147"/>
                  <a:pt x="-330" y="709701"/>
                  <a:pt x="213" y="708435"/>
                </a:cubicBezTo>
                <a:lnTo>
                  <a:pt x="303868" y="1655"/>
                </a:lnTo>
                <a:cubicBezTo>
                  <a:pt x="304410" y="570"/>
                  <a:pt x="305314" y="-153"/>
                  <a:pt x="306580" y="28"/>
                </a:cubicBezTo>
                <a:cubicBezTo>
                  <a:pt x="307847" y="209"/>
                  <a:pt x="308751" y="1113"/>
                  <a:pt x="308932" y="2198"/>
                </a:cubicBezTo>
                <a:lnTo>
                  <a:pt x="486892" y="1001238"/>
                </a:lnTo>
                <a:cubicBezTo>
                  <a:pt x="487073" y="1002323"/>
                  <a:pt x="486712" y="1003408"/>
                  <a:pt x="485807" y="1003951"/>
                </a:cubicBezTo>
                <a:cubicBezTo>
                  <a:pt x="485265" y="1004493"/>
                  <a:pt x="484722" y="1004674"/>
                  <a:pt x="484180" y="1004493"/>
                </a:cubicBezTo>
                <a:close/>
                <a:moveTo>
                  <a:pt x="6181" y="708435"/>
                </a:moveTo>
                <a:lnTo>
                  <a:pt x="480562" y="996355"/>
                </a:lnTo>
                <a:lnTo>
                  <a:pt x="305314" y="11964"/>
                </a:lnTo>
                <a:lnTo>
                  <a:pt x="6181" y="70843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9" name="Google Shape;1219;p53"/>
          <p:cNvSpPr/>
          <p:nvPr/>
        </p:nvSpPr>
        <p:spPr>
          <a:xfrm>
            <a:off x="11324266" y="4656673"/>
            <a:ext cx="540899" cy="714590"/>
          </a:xfrm>
          <a:custGeom>
            <a:avLst/>
            <a:gdLst/>
            <a:ahLst/>
            <a:cxnLst/>
            <a:rect l="l" t="t" r="r" b="b"/>
            <a:pathLst>
              <a:path w="540899" h="714590" extrusionOk="0">
                <a:moveTo>
                  <a:pt x="2606" y="714591"/>
                </a:moveTo>
                <a:cubicBezTo>
                  <a:pt x="2063" y="714591"/>
                  <a:pt x="1521" y="714410"/>
                  <a:pt x="978" y="714048"/>
                </a:cubicBezTo>
                <a:cubicBezTo>
                  <a:pt x="74" y="713325"/>
                  <a:pt x="-288" y="712059"/>
                  <a:pt x="255" y="710974"/>
                </a:cubicBezTo>
                <a:lnTo>
                  <a:pt x="266834" y="1843"/>
                </a:lnTo>
                <a:cubicBezTo>
                  <a:pt x="267196" y="939"/>
                  <a:pt x="268100" y="216"/>
                  <a:pt x="269005" y="35"/>
                </a:cubicBezTo>
                <a:cubicBezTo>
                  <a:pt x="269909" y="-146"/>
                  <a:pt x="270994" y="397"/>
                  <a:pt x="271537" y="1120"/>
                </a:cubicBezTo>
                <a:lnTo>
                  <a:pt x="540467" y="393755"/>
                </a:lnTo>
                <a:cubicBezTo>
                  <a:pt x="540829" y="394298"/>
                  <a:pt x="541010" y="395202"/>
                  <a:pt x="540829" y="395925"/>
                </a:cubicBezTo>
                <a:cubicBezTo>
                  <a:pt x="540648" y="396649"/>
                  <a:pt x="540287" y="397191"/>
                  <a:pt x="539563" y="397734"/>
                </a:cubicBezTo>
                <a:lnTo>
                  <a:pt x="4053" y="714229"/>
                </a:lnTo>
                <a:cubicBezTo>
                  <a:pt x="3691" y="714410"/>
                  <a:pt x="3149" y="714591"/>
                  <a:pt x="2606" y="714591"/>
                </a:cubicBezTo>
                <a:close/>
                <a:moveTo>
                  <a:pt x="269909" y="8354"/>
                </a:moveTo>
                <a:lnTo>
                  <a:pt x="7851" y="705548"/>
                </a:lnTo>
                <a:lnTo>
                  <a:pt x="534318" y="394479"/>
                </a:lnTo>
                <a:lnTo>
                  <a:pt x="269909" y="83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0" name="Google Shape;1220;p53"/>
          <p:cNvSpPr/>
          <p:nvPr/>
        </p:nvSpPr>
        <p:spPr>
          <a:xfrm>
            <a:off x="11324305" y="5049298"/>
            <a:ext cx="540789" cy="482564"/>
          </a:xfrm>
          <a:custGeom>
            <a:avLst/>
            <a:gdLst/>
            <a:ahLst/>
            <a:cxnLst/>
            <a:rect l="l" t="t" r="r" b="b"/>
            <a:pathLst>
              <a:path w="540789" h="482564" extrusionOk="0">
                <a:moveTo>
                  <a:pt x="515470" y="482565"/>
                </a:moveTo>
                <a:cubicBezTo>
                  <a:pt x="515289" y="482565"/>
                  <a:pt x="515108" y="482565"/>
                  <a:pt x="514927" y="482384"/>
                </a:cubicBezTo>
                <a:lnTo>
                  <a:pt x="1843" y="321785"/>
                </a:lnTo>
                <a:cubicBezTo>
                  <a:pt x="758" y="321424"/>
                  <a:pt x="35" y="320519"/>
                  <a:pt x="35" y="319434"/>
                </a:cubicBezTo>
                <a:cubicBezTo>
                  <a:pt x="-146" y="318349"/>
                  <a:pt x="396" y="317264"/>
                  <a:pt x="1301" y="316902"/>
                </a:cubicBezTo>
                <a:lnTo>
                  <a:pt x="536811" y="407"/>
                </a:lnTo>
                <a:cubicBezTo>
                  <a:pt x="537715" y="-136"/>
                  <a:pt x="538800" y="-136"/>
                  <a:pt x="539524" y="407"/>
                </a:cubicBezTo>
                <a:cubicBezTo>
                  <a:pt x="540428" y="949"/>
                  <a:pt x="540790" y="1854"/>
                  <a:pt x="540790" y="2758"/>
                </a:cubicBezTo>
                <a:lnTo>
                  <a:pt x="518183" y="479852"/>
                </a:lnTo>
                <a:cubicBezTo>
                  <a:pt x="518183" y="480756"/>
                  <a:pt x="517640" y="481480"/>
                  <a:pt x="517098" y="482022"/>
                </a:cubicBezTo>
                <a:cubicBezTo>
                  <a:pt x="516736" y="482384"/>
                  <a:pt x="516194" y="482565"/>
                  <a:pt x="515470" y="482565"/>
                </a:cubicBezTo>
                <a:close/>
                <a:moveTo>
                  <a:pt x="9258" y="318530"/>
                </a:moveTo>
                <a:lnTo>
                  <a:pt x="513119" y="476416"/>
                </a:lnTo>
                <a:lnTo>
                  <a:pt x="535364" y="7641"/>
                </a:lnTo>
                <a:lnTo>
                  <a:pt x="9258" y="3185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1" name="Google Shape;1221;p53"/>
          <p:cNvSpPr/>
          <p:nvPr/>
        </p:nvSpPr>
        <p:spPr>
          <a:xfrm>
            <a:off x="11591001" y="4656815"/>
            <a:ext cx="519693" cy="397953"/>
          </a:xfrm>
          <a:custGeom>
            <a:avLst/>
            <a:gdLst/>
            <a:ahLst/>
            <a:cxnLst/>
            <a:rect l="l" t="t" r="r" b="b"/>
            <a:pathLst>
              <a:path w="519693" h="397953" extrusionOk="0">
                <a:moveTo>
                  <a:pt x="271380" y="397954"/>
                </a:moveTo>
                <a:cubicBezTo>
                  <a:pt x="270657" y="397954"/>
                  <a:pt x="269753" y="397411"/>
                  <a:pt x="269391" y="396869"/>
                </a:cubicBezTo>
                <a:lnTo>
                  <a:pt x="460" y="4234"/>
                </a:lnTo>
                <a:cubicBezTo>
                  <a:pt x="-263" y="3330"/>
                  <a:pt x="-82" y="1883"/>
                  <a:pt x="641" y="978"/>
                </a:cubicBezTo>
                <a:cubicBezTo>
                  <a:pt x="1365" y="74"/>
                  <a:pt x="2812" y="-288"/>
                  <a:pt x="3716" y="255"/>
                </a:cubicBezTo>
                <a:lnTo>
                  <a:pt x="518066" y="227951"/>
                </a:lnTo>
                <a:cubicBezTo>
                  <a:pt x="518970" y="228312"/>
                  <a:pt x="519513" y="229217"/>
                  <a:pt x="519694" y="230121"/>
                </a:cubicBezTo>
                <a:cubicBezTo>
                  <a:pt x="519694" y="231025"/>
                  <a:pt x="519332" y="232110"/>
                  <a:pt x="518428" y="232653"/>
                </a:cubicBezTo>
                <a:lnTo>
                  <a:pt x="273008" y="397773"/>
                </a:lnTo>
                <a:cubicBezTo>
                  <a:pt x="272647" y="397773"/>
                  <a:pt x="271923" y="397954"/>
                  <a:pt x="271380" y="397954"/>
                </a:cubicBezTo>
                <a:close/>
                <a:moveTo>
                  <a:pt x="10046" y="8755"/>
                </a:moveTo>
                <a:lnTo>
                  <a:pt x="272285" y="391443"/>
                </a:lnTo>
                <a:lnTo>
                  <a:pt x="511375" y="230483"/>
                </a:lnTo>
                <a:lnTo>
                  <a:pt x="10046" y="87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2" name="Google Shape;1222;p53"/>
          <p:cNvSpPr/>
          <p:nvPr/>
        </p:nvSpPr>
        <p:spPr>
          <a:xfrm>
            <a:off x="11837196" y="5049496"/>
            <a:ext cx="186073" cy="482366"/>
          </a:xfrm>
          <a:custGeom>
            <a:avLst/>
            <a:gdLst/>
            <a:ahLst/>
            <a:cxnLst/>
            <a:rect l="l" t="t" r="r" b="b"/>
            <a:pathLst>
              <a:path w="186073" h="482366" extrusionOk="0">
                <a:moveTo>
                  <a:pt x="2579" y="482366"/>
                </a:moveTo>
                <a:cubicBezTo>
                  <a:pt x="1856" y="482366"/>
                  <a:pt x="1313" y="482005"/>
                  <a:pt x="771" y="481643"/>
                </a:cubicBezTo>
                <a:cubicBezTo>
                  <a:pt x="228" y="481100"/>
                  <a:pt x="-134" y="480377"/>
                  <a:pt x="47" y="479653"/>
                </a:cubicBezTo>
                <a:lnTo>
                  <a:pt x="22654" y="2559"/>
                </a:lnTo>
                <a:cubicBezTo>
                  <a:pt x="22654" y="1293"/>
                  <a:pt x="23739" y="208"/>
                  <a:pt x="25005" y="28"/>
                </a:cubicBezTo>
                <a:cubicBezTo>
                  <a:pt x="26271" y="-153"/>
                  <a:pt x="27537" y="570"/>
                  <a:pt x="27899" y="1836"/>
                </a:cubicBezTo>
                <a:lnTo>
                  <a:pt x="185965" y="471334"/>
                </a:lnTo>
                <a:cubicBezTo>
                  <a:pt x="186146" y="472057"/>
                  <a:pt x="186146" y="472962"/>
                  <a:pt x="185604" y="473685"/>
                </a:cubicBezTo>
                <a:cubicBezTo>
                  <a:pt x="185061" y="474409"/>
                  <a:pt x="184338" y="474770"/>
                  <a:pt x="183433" y="474770"/>
                </a:cubicBezTo>
                <a:lnTo>
                  <a:pt x="2760" y="482366"/>
                </a:lnTo>
                <a:cubicBezTo>
                  <a:pt x="2760" y="482366"/>
                  <a:pt x="2760" y="482366"/>
                  <a:pt x="2579" y="482366"/>
                </a:cubicBezTo>
                <a:close/>
                <a:moveTo>
                  <a:pt x="27356" y="16847"/>
                </a:moveTo>
                <a:lnTo>
                  <a:pt x="5654" y="476760"/>
                </a:lnTo>
                <a:lnTo>
                  <a:pt x="179816" y="469345"/>
                </a:lnTo>
                <a:lnTo>
                  <a:pt x="27356" y="1684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3" name="Google Shape;1223;p53"/>
          <p:cNvSpPr/>
          <p:nvPr/>
        </p:nvSpPr>
        <p:spPr>
          <a:xfrm>
            <a:off x="11859895" y="5049425"/>
            <a:ext cx="618731" cy="515353"/>
          </a:xfrm>
          <a:custGeom>
            <a:avLst/>
            <a:gdLst/>
            <a:ahLst/>
            <a:cxnLst/>
            <a:rect l="l" t="t" r="r" b="b"/>
            <a:pathLst>
              <a:path w="618731" h="515353" extrusionOk="0">
                <a:moveTo>
                  <a:pt x="615764" y="515353"/>
                </a:moveTo>
                <a:cubicBezTo>
                  <a:pt x="615764" y="515353"/>
                  <a:pt x="615583" y="515353"/>
                  <a:pt x="615764" y="515353"/>
                </a:cubicBezTo>
                <a:lnTo>
                  <a:pt x="160554" y="474842"/>
                </a:lnTo>
                <a:cubicBezTo>
                  <a:pt x="159468" y="474661"/>
                  <a:pt x="158564" y="474118"/>
                  <a:pt x="158202" y="473033"/>
                </a:cubicBezTo>
                <a:lnTo>
                  <a:pt x="136" y="3535"/>
                </a:lnTo>
                <a:cubicBezTo>
                  <a:pt x="-226" y="2450"/>
                  <a:pt x="136" y="1184"/>
                  <a:pt x="1221" y="460"/>
                </a:cubicBezTo>
                <a:cubicBezTo>
                  <a:pt x="2306" y="-263"/>
                  <a:pt x="3572" y="-82"/>
                  <a:pt x="4476" y="641"/>
                </a:cubicBezTo>
                <a:lnTo>
                  <a:pt x="617754" y="510651"/>
                </a:lnTo>
                <a:cubicBezTo>
                  <a:pt x="618658" y="511374"/>
                  <a:pt x="619020" y="512640"/>
                  <a:pt x="618477" y="513725"/>
                </a:cubicBezTo>
                <a:cubicBezTo>
                  <a:pt x="617934" y="514811"/>
                  <a:pt x="616849" y="515353"/>
                  <a:pt x="615764" y="515353"/>
                </a:cubicBezTo>
                <a:close/>
                <a:moveTo>
                  <a:pt x="162905" y="469597"/>
                </a:moveTo>
                <a:lnTo>
                  <a:pt x="607626" y="509204"/>
                </a:lnTo>
                <a:lnTo>
                  <a:pt x="8274" y="10769"/>
                </a:lnTo>
                <a:lnTo>
                  <a:pt x="162905" y="4695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4" name="Google Shape;1224;p53"/>
          <p:cNvSpPr/>
          <p:nvPr/>
        </p:nvSpPr>
        <p:spPr>
          <a:xfrm>
            <a:off x="11859804" y="4884333"/>
            <a:ext cx="618864" cy="680445"/>
          </a:xfrm>
          <a:custGeom>
            <a:avLst/>
            <a:gdLst/>
            <a:ahLst/>
            <a:cxnLst/>
            <a:rect l="l" t="t" r="r" b="b"/>
            <a:pathLst>
              <a:path w="618864" h="680445" extrusionOk="0">
                <a:moveTo>
                  <a:pt x="615856" y="680445"/>
                </a:moveTo>
                <a:cubicBezTo>
                  <a:pt x="615313" y="680445"/>
                  <a:pt x="614771" y="680264"/>
                  <a:pt x="614228" y="679903"/>
                </a:cubicBezTo>
                <a:lnTo>
                  <a:pt x="950" y="169893"/>
                </a:lnTo>
                <a:cubicBezTo>
                  <a:pt x="227" y="169351"/>
                  <a:pt x="-135" y="168446"/>
                  <a:pt x="46" y="167723"/>
                </a:cubicBezTo>
                <a:cubicBezTo>
                  <a:pt x="46" y="166819"/>
                  <a:pt x="589" y="166095"/>
                  <a:pt x="1312" y="165553"/>
                </a:cubicBezTo>
                <a:lnTo>
                  <a:pt x="246732" y="433"/>
                </a:lnTo>
                <a:cubicBezTo>
                  <a:pt x="247274" y="71"/>
                  <a:pt x="248179" y="-110"/>
                  <a:pt x="248902" y="71"/>
                </a:cubicBezTo>
                <a:cubicBezTo>
                  <a:pt x="249625" y="252"/>
                  <a:pt x="250349" y="794"/>
                  <a:pt x="250710" y="1337"/>
                </a:cubicBezTo>
                <a:lnTo>
                  <a:pt x="618568" y="676466"/>
                </a:lnTo>
                <a:cubicBezTo>
                  <a:pt x="619111" y="677552"/>
                  <a:pt x="618930" y="678998"/>
                  <a:pt x="617845" y="679903"/>
                </a:cubicBezTo>
                <a:cubicBezTo>
                  <a:pt x="617122" y="680264"/>
                  <a:pt x="616398" y="680445"/>
                  <a:pt x="615856" y="680445"/>
                </a:cubicBezTo>
                <a:close/>
                <a:moveTo>
                  <a:pt x="7280" y="167904"/>
                </a:moveTo>
                <a:lnTo>
                  <a:pt x="606994" y="666700"/>
                </a:lnTo>
                <a:lnTo>
                  <a:pt x="247274" y="6582"/>
                </a:lnTo>
                <a:lnTo>
                  <a:pt x="7280" y="16790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5" name="Google Shape;1225;p53"/>
          <p:cNvSpPr/>
          <p:nvPr/>
        </p:nvSpPr>
        <p:spPr>
          <a:xfrm>
            <a:off x="8081934" y="5740317"/>
            <a:ext cx="716257" cy="486569"/>
          </a:xfrm>
          <a:custGeom>
            <a:avLst/>
            <a:gdLst/>
            <a:ahLst/>
            <a:cxnLst/>
            <a:rect l="l" t="t" r="r" b="b"/>
            <a:pathLst>
              <a:path w="716257" h="486569" extrusionOk="0">
                <a:moveTo>
                  <a:pt x="2397" y="486569"/>
                </a:moveTo>
                <a:cubicBezTo>
                  <a:pt x="1855" y="486569"/>
                  <a:pt x="1312" y="486388"/>
                  <a:pt x="950" y="486027"/>
                </a:cubicBezTo>
                <a:cubicBezTo>
                  <a:pt x="227" y="485484"/>
                  <a:pt x="-135" y="484399"/>
                  <a:pt x="46" y="483314"/>
                </a:cubicBezTo>
                <a:lnTo>
                  <a:pt x="94452" y="2241"/>
                </a:lnTo>
                <a:cubicBezTo>
                  <a:pt x="94633" y="1518"/>
                  <a:pt x="94995" y="975"/>
                  <a:pt x="95718" y="433"/>
                </a:cubicBezTo>
                <a:cubicBezTo>
                  <a:pt x="96261" y="71"/>
                  <a:pt x="97165" y="-110"/>
                  <a:pt x="97888" y="71"/>
                </a:cubicBezTo>
                <a:lnTo>
                  <a:pt x="714241" y="154520"/>
                </a:lnTo>
                <a:cubicBezTo>
                  <a:pt x="715326" y="154882"/>
                  <a:pt x="716230" y="155787"/>
                  <a:pt x="716230" y="156872"/>
                </a:cubicBezTo>
                <a:cubicBezTo>
                  <a:pt x="716411" y="157957"/>
                  <a:pt x="715687" y="159042"/>
                  <a:pt x="714602" y="159584"/>
                </a:cubicBezTo>
                <a:lnTo>
                  <a:pt x="3844" y="486208"/>
                </a:lnTo>
                <a:cubicBezTo>
                  <a:pt x="3301" y="486569"/>
                  <a:pt x="2759" y="486569"/>
                  <a:pt x="2397" y="486569"/>
                </a:cubicBezTo>
                <a:close/>
                <a:moveTo>
                  <a:pt x="98974" y="6039"/>
                </a:moveTo>
                <a:lnTo>
                  <a:pt x="6195" y="479154"/>
                </a:lnTo>
                <a:lnTo>
                  <a:pt x="705198" y="157957"/>
                </a:lnTo>
                <a:lnTo>
                  <a:pt x="98974" y="603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6" name="Google Shape;1226;p53"/>
          <p:cNvSpPr/>
          <p:nvPr/>
        </p:nvSpPr>
        <p:spPr>
          <a:xfrm>
            <a:off x="8081800" y="5894938"/>
            <a:ext cx="716137" cy="511536"/>
          </a:xfrm>
          <a:custGeom>
            <a:avLst/>
            <a:gdLst/>
            <a:ahLst/>
            <a:cxnLst/>
            <a:rect l="l" t="t" r="r" b="b"/>
            <a:pathLst>
              <a:path w="716137" h="511536" extrusionOk="0">
                <a:moveTo>
                  <a:pt x="442732" y="511536"/>
                </a:moveTo>
                <a:cubicBezTo>
                  <a:pt x="442370" y="511536"/>
                  <a:pt x="442189" y="511536"/>
                  <a:pt x="441828" y="511356"/>
                </a:cubicBezTo>
                <a:lnTo>
                  <a:pt x="1628" y="331767"/>
                </a:lnTo>
                <a:cubicBezTo>
                  <a:pt x="543" y="331406"/>
                  <a:pt x="0" y="330321"/>
                  <a:pt x="0" y="329416"/>
                </a:cubicBezTo>
                <a:cubicBezTo>
                  <a:pt x="0" y="328331"/>
                  <a:pt x="543" y="327427"/>
                  <a:pt x="1628" y="326884"/>
                </a:cubicBezTo>
                <a:lnTo>
                  <a:pt x="712386" y="261"/>
                </a:lnTo>
                <a:cubicBezTo>
                  <a:pt x="713471" y="-281"/>
                  <a:pt x="714737" y="80"/>
                  <a:pt x="715460" y="804"/>
                </a:cubicBezTo>
                <a:cubicBezTo>
                  <a:pt x="716184" y="1708"/>
                  <a:pt x="716365" y="2974"/>
                  <a:pt x="715822" y="3878"/>
                </a:cubicBezTo>
                <a:lnTo>
                  <a:pt x="445264" y="510090"/>
                </a:lnTo>
                <a:cubicBezTo>
                  <a:pt x="444721" y="511175"/>
                  <a:pt x="443817" y="511536"/>
                  <a:pt x="442732" y="511536"/>
                </a:cubicBezTo>
                <a:close/>
                <a:moveTo>
                  <a:pt x="9404" y="329055"/>
                </a:moveTo>
                <a:lnTo>
                  <a:pt x="441647" y="505388"/>
                </a:lnTo>
                <a:lnTo>
                  <a:pt x="707141" y="8400"/>
                </a:lnTo>
                <a:lnTo>
                  <a:pt x="9404" y="3290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7" name="Google Shape;1227;p53"/>
          <p:cNvSpPr/>
          <p:nvPr/>
        </p:nvSpPr>
        <p:spPr>
          <a:xfrm>
            <a:off x="8176171" y="5561769"/>
            <a:ext cx="621729" cy="338494"/>
          </a:xfrm>
          <a:custGeom>
            <a:avLst/>
            <a:gdLst/>
            <a:ahLst/>
            <a:cxnLst/>
            <a:rect l="l" t="t" r="r" b="b"/>
            <a:pathLst>
              <a:path w="621729" h="338494" extrusionOk="0">
                <a:moveTo>
                  <a:pt x="618918" y="338494"/>
                </a:moveTo>
                <a:cubicBezTo>
                  <a:pt x="618738" y="338494"/>
                  <a:pt x="618557" y="338494"/>
                  <a:pt x="618376" y="338494"/>
                </a:cubicBezTo>
                <a:lnTo>
                  <a:pt x="2024" y="184044"/>
                </a:lnTo>
                <a:cubicBezTo>
                  <a:pt x="939" y="183863"/>
                  <a:pt x="215" y="182778"/>
                  <a:pt x="34" y="181693"/>
                </a:cubicBezTo>
                <a:cubicBezTo>
                  <a:pt x="-147" y="180608"/>
                  <a:pt x="396" y="179523"/>
                  <a:pt x="1481" y="178981"/>
                </a:cubicBezTo>
                <a:lnTo>
                  <a:pt x="336424" y="296"/>
                </a:lnTo>
                <a:cubicBezTo>
                  <a:pt x="337509" y="-246"/>
                  <a:pt x="338956" y="-66"/>
                  <a:pt x="339679" y="1020"/>
                </a:cubicBezTo>
                <a:lnTo>
                  <a:pt x="621089" y="334154"/>
                </a:lnTo>
                <a:cubicBezTo>
                  <a:pt x="621812" y="335058"/>
                  <a:pt x="621993" y="336324"/>
                  <a:pt x="621269" y="337409"/>
                </a:cubicBezTo>
                <a:cubicBezTo>
                  <a:pt x="620727" y="338132"/>
                  <a:pt x="619823" y="338494"/>
                  <a:pt x="618918" y="338494"/>
                </a:cubicBezTo>
                <a:close/>
                <a:moveTo>
                  <a:pt x="9981" y="180427"/>
                </a:moveTo>
                <a:lnTo>
                  <a:pt x="611503" y="331260"/>
                </a:lnTo>
                <a:lnTo>
                  <a:pt x="336785" y="6083"/>
                </a:lnTo>
                <a:lnTo>
                  <a:pt x="9981" y="18042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8" name="Google Shape;1228;p53"/>
          <p:cNvSpPr/>
          <p:nvPr/>
        </p:nvSpPr>
        <p:spPr>
          <a:xfrm>
            <a:off x="8511230" y="5561816"/>
            <a:ext cx="286847" cy="338446"/>
          </a:xfrm>
          <a:custGeom>
            <a:avLst/>
            <a:gdLst/>
            <a:ahLst/>
            <a:cxnLst/>
            <a:rect l="l" t="t" r="r" b="b"/>
            <a:pathLst>
              <a:path w="286847" h="338446" extrusionOk="0">
                <a:moveTo>
                  <a:pt x="283860" y="338447"/>
                </a:moveTo>
                <a:cubicBezTo>
                  <a:pt x="283136" y="338447"/>
                  <a:pt x="282413" y="338085"/>
                  <a:pt x="282051" y="337543"/>
                </a:cubicBezTo>
                <a:lnTo>
                  <a:pt x="641" y="4409"/>
                </a:lnTo>
                <a:cubicBezTo>
                  <a:pt x="-82" y="3504"/>
                  <a:pt x="-263" y="2058"/>
                  <a:pt x="461" y="1154"/>
                </a:cubicBezTo>
                <a:cubicBezTo>
                  <a:pt x="1184" y="68"/>
                  <a:pt x="2450" y="-293"/>
                  <a:pt x="3716" y="249"/>
                </a:cubicBezTo>
                <a:lnTo>
                  <a:pt x="229603" y="88325"/>
                </a:lnTo>
                <a:cubicBezTo>
                  <a:pt x="230507" y="88687"/>
                  <a:pt x="231050" y="89410"/>
                  <a:pt x="231231" y="90315"/>
                </a:cubicBezTo>
                <a:lnTo>
                  <a:pt x="286753" y="335372"/>
                </a:lnTo>
                <a:cubicBezTo>
                  <a:pt x="287115" y="336639"/>
                  <a:pt x="286392" y="337904"/>
                  <a:pt x="285306" y="338447"/>
                </a:cubicBezTo>
                <a:cubicBezTo>
                  <a:pt x="284764" y="338266"/>
                  <a:pt x="284221" y="338447"/>
                  <a:pt x="283860" y="338447"/>
                </a:cubicBezTo>
                <a:close/>
                <a:moveTo>
                  <a:pt x="11312" y="8930"/>
                </a:moveTo>
                <a:lnTo>
                  <a:pt x="278796" y="325606"/>
                </a:lnTo>
                <a:lnTo>
                  <a:pt x="225986" y="92666"/>
                </a:lnTo>
                <a:lnTo>
                  <a:pt x="11312" y="89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9" name="Google Shape;1229;p53"/>
          <p:cNvSpPr/>
          <p:nvPr/>
        </p:nvSpPr>
        <p:spPr>
          <a:xfrm>
            <a:off x="8522056" y="5812887"/>
            <a:ext cx="1036532" cy="593587"/>
          </a:xfrm>
          <a:custGeom>
            <a:avLst/>
            <a:gdLst/>
            <a:ahLst/>
            <a:cxnLst/>
            <a:rect l="l" t="t" r="r" b="b"/>
            <a:pathLst>
              <a:path w="1036532" h="593587" extrusionOk="0">
                <a:moveTo>
                  <a:pt x="2475" y="593587"/>
                </a:moveTo>
                <a:cubicBezTo>
                  <a:pt x="1933" y="593587"/>
                  <a:pt x="1209" y="593226"/>
                  <a:pt x="848" y="592864"/>
                </a:cubicBezTo>
                <a:cubicBezTo>
                  <a:pt x="-57" y="591960"/>
                  <a:pt x="-237" y="590694"/>
                  <a:pt x="305" y="589608"/>
                </a:cubicBezTo>
                <a:lnTo>
                  <a:pt x="270864" y="83397"/>
                </a:lnTo>
                <a:cubicBezTo>
                  <a:pt x="271225" y="82674"/>
                  <a:pt x="272130" y="82131"/>
                  <a:pt x="273034" y="81950"/>
                </a:cubicBezTo>
                <a:lnTo>
                  <a:pt x="1033527" y="23"/>
                </a:lnTo>
                <a:cubicBezTo>
                  <a:pt x="1034793" y="-158"/>
                  <a:pt x="1036059" y="747"/>
                  <a:pt x="1036421" y="1832"/>
                </a:cubicBezTo>
                <a:cubicBezTo>
                  <a:pt x="1036782" y="3098"/>
                  <a:pt x="1036240" y="4364"/>
                  <a:pt x="1035155" y="5087"/>
                </a:cubicBezTo>
                <a:lnTo>
                  <a:pt x="4103" y="593226"/>
                </a:lnTo>
                <a:cubicBezTo>
                  <a:pt x="3561" y="593587"/>
                  <a:pt x="3018" y="593587"/>
                  <a:pt x="2475" y="593587"/>
                </a:cubicBezTo>
                <a:close/>
                <a:moveTo>
                  <a:pt x="274842" y="87195"/>
                </a:moveTo>
                <a:lnTo>
                  <a:pt x="9348" y="584002"/>
                </a:lnTo>
                <a:lnTo>
                  <a:pt x="1021048" y="6896"/>
                </a:lnTo>
                <a:lnTo>
                  <a:pt x="274842" y="8719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30" name="Google Shape;1230;p53"/>
          <p:cNvSpPr/>
          <p:nvPr/>
        </p:nvSpPr>
        <p:spPr>
          <a:xfrm>
            <a:off x="8736970" y="5649714"/>
            <a:ext cx="821506" cy="250548"/>
          </a:xfrm>
          <a:custGeom>
            <a:avLst/>
            <a:gdLst/>
            <a:ahLst/>
            <a:cxnLst/>
            <a:rect l="l" t="t" r="r" b="b"/>
            <a:pathLst>
              <a:path w="821506" h="250548" extrusionOk="0">
                <a:moveTo>
                  <a:pt x="58120" y="250549"/>
                </a:moveTo>
                <a:cubicBezTo>
                  <a:pt x="56854" y="250549"/>
                  <a:pt x="55949" y="249644"/>
                  <a:pt x="55588" y="248378"/>
                </a:cubicBezTo>
                <a:lnTo>
                  <a:pt x="65" y="3321"/>
                </a:lnTo>
                <a:cubicBezTo>
                  <a:pt x="-116" y="2416"/>
                  <a:pt x="65" y="1512"/>
                  <a:pt x="789" y="789"/>
                </a:cubicBezTo>
                <a:cubicBezTo>
                  <a:pt x="1512" y="65"/>
                  <a:pt x="2235" y="-116"/>
                  <a:pt x="3321" y="65"/>
                </a:cubicBezTo>
                <a:lnTo>
                  <a:pt x="819336" y="163196"/>
                </a:lnTo>
                <a:cubicBezTo>
                  <a:pt x="820602" y="163377"/>
                  <a:pt x="821506" y="164643"/>
                  <a:pt x="821506" y="165909"/>
                </a:cubicBezTo>
                <a:cubicBezTo>
                  <a:pt x="821506" y="167175"/>
                  <a:pt x="820421" y="168260"/>
                  <a:pt x="819155" y="168441"/>
                </a:cubicBezTo>
                <a:lnTo>
                  <a:pt x="58662" y="250368"/>
                </a:lnTo>
                <a:cubicBezTo>
                  <a:pt x="58300" y="250549"/>
                  <a:pt x="58120" y="250549"/>
                  <a:pt x="58120" y="250549"/>
                </a:cubicBezTo>
                <a:close/>
                <a:moveTo>
                  <a:pt x="6214" y="6214"/>
                </a:moveTo>
                <a:lnTo>
                  <a:pt x="60290" y="244942"/>
                </a:lnTo>
                <a:lnTo>
                  <a:pt x="801070" y="165185"/>
                </a:lnTo>
                <a:lnTo>
                  <a:pt x="6214" y="621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grpSp>
        <p:nvGrpSpPr>
          <p:cNvPr id="1231" name="Google Shape;1231;p53"/>
          <p:cNvGrpSpPr/>
          <p:nvPr/>
        </p:nvGrpSpPr>
        <p:grpSpPr>
          <a:xfrm>
            <a:off x="7397166" y="1622082"/>
            <a:ext cx="5364974" cy="5709390"/>
            <a:chOff x="7397166" y="1244711"/>
            <a:chExt cx="5364974" cy="5709390"/>
          </a:xfrm>
        </p:grpSpPr>
        <p:sp>
          <p:nvSpPr>
            <p:cNvPr id="1232" name="Google Shape;1232;p53"/>
            <p:cNvSpPr/>
            <p:nvPr/>
          </p:nvSpPr>
          <p:spPr>
            <a:xfrm>
              <a:off x="7569239" y="4550419"/>
              <a:ext cx="23729" cy="23729"/>
            </a:xfrm>
            <a:custGeom>
              <a:avLst/>
              <a:gdLst/>
              <a:ahLst/>
              <a:cxnLst/>
              <a:rect l="l" t="t" r="r" b="b"/>
              <a:pathLst>
                <a:path w="23729" h="23729" extrusionOk="0">
                  <a:moveTo>
                    <a:pt x="23711" y="12679"/>
                  </a:moveTo>
                  <a:cubicBezTo>
                    <a:pt x="24073" y="6168"/>
                    <a:pt x="19189" y="562"/>
                    <a:pt x="12679" y="19"/>
                  </a:cubicBezTo>
                  <a:cubicBezTo>
                    <a:pt x="6168" y="-343"/>
                    <a:pt x="561" y="4540"/>
                    <a:pt x="19" y="11051"/>
                  </a:cubicBezTo>
                  <a:cubicBezTo>
                    <a:pt x="-343" y="17562"/>
                    <a:pt x="4540" y="23168"/>
                    <a:pt x="11051" y="23711"/>
                  </a:cubicBezTo>
                  <a:cubicBezTo>
                    <a:pt x="17743" y="24073"/>
                    <a:pt x="23349" y="19190"/>
                    <a:pt x="23711" y="126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3" name="Google Shape;1233;p53"/>
            <p:cNvSpPr/>
            <p:nvPr/>
          </p:nvSpPr>
          <p:spPr>
            <a:xfrm>
              <a:off x="10938181" y="5497719"/>
              <a:ext cx="28824" cy="28824"/>
            </a:xfrm>
            <a:custGeom>
              <a:avLst/>
              <a:gdLst/>
              <a:ahLst/>
              <a:cxnLst/>
              <a:rect l="l" t="t" r="r" b="b"/>
              <a:pathLst>
                <a:path w="28824" h="28824" extrusionOk="0">
                  <a:moveTo>
                    <a:pt x="28790" y="15407"/>
                  </a:moveTo>
                  <a:cubicBezTo>
                    <a:pt x="29333" y="7449"/>
                    <a:pt x="23364" y="577"/>
                    <a:pt x="15407" y="34"/>
                  </a:cubicBezTo>
                  <a:cubicBezTo>
                    <a:pt x="7449" y="-508"/>
                    <a:pt x="577" y="5460"/>
                    <a:pt x="34" y="13418"/>
                  </a:cubicBezTo>
                  <a:cubicBezTo>
                    <a:pt x="-508" y="21375"/>
                    <a:pt x="5460" y="28247"/>
                    <a:pt x="13417" y="28790"/>
                  </a:cubicBezTo>
                  <a:cubicBezTo>
                    <a:pt x="21375" y="29333"/>
                    <a:pt x="28248" y="23365"/>
                    <a:pt x="28790" y="154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4" name="Google Shape;1234;p53"/>
            <p:cNvSpPr/>
            <p:nvPr/>
          </p:nvSpPr>
          <p:spPr>
            <a:xfrm>
              <a:off x="10741924" y="5956697"/>
              <a:ext cx="61980" cy="62001"/>
            </a:xfrm>
            <a:custGeom>
              <a:avLst/>
              <a:gdLst/>
              <a:ahLst/>
              <a:cxnLst/>
              <a:rect l="l" t="t" r="r" b="b"/>
              <a:pathLst>
                <a:path w="61980" h="62001" extrusionOk="0">
                  <a:moveTo>
                    <a:pt x="61916" y="32980"/>
                  </a:moveTo>
                  <a:cubicBezTo>
                    <a:pt x="63001" y="15799"/>
                    <a:pt x="50161" y="1149"/>
                    <a:pt x="32980" y="64"/>
                  </a:cubicBezTo>
                  <a:cubicBezTo>
                    <a:pt x="15799" y="-1021"/>
                    <a:pt x="1149" y="11820"/>
                    <a:pt x="64" y="29001"/>
                  </a:cubicBezTo>
                  <a:cubicBezTo>
                    <a:pt x="-1021" y="46182"/>
                    <a:pt x="11820" y="60831"/>
                    <a:pt x="29001" y="61916"/>
                  </a:cubicBezTo>
                  <a:cubicBezTo>
                    <a:pt x="46001" y="63183"/>
                    <a:pt x="60650" y="50161"/>
                    <a:pt x="61916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5" name="Google Shape;1235;p53"/>
            <p:cNvSpPr/>
            <p:nvPr/>
          </p:nvSpPr>
          <p:spPr>
            <a:xfrm>
              <a:off x="10468879" y="5332071"/>
              <a:ext cx="22826" cy="22826"/>
            </a:xfrm>
            <a:custGeom>
              <a:avLst/>
              <a:gdLst/>
              <a:ahLst/>
              <a:cxnLst/>
              <a:rect l="l" t="t" r="r" b="b"/>
              <a:pathLst>
                <a:path w="22826" h="22826" extrusionOk="0">
                  <a:moveTo>
                    <a:pt x="22807" y="12137"/>
                  </a:moveTo>
                  <a:cubicBezTo>
                    <a:pt x="23169" y="5807"/>
                    <a:pt x="18467" y="381"/>
                    <a:pt x="12137" y="20"/>
                  </a:cubicBezTo>
                  <a:cubicBezTo>
                    <a:pt x="5807" y="-342"/>
                    <a:pt x="381" y="4360"/>
                    <a:pt x="20" y="10690"/>
                  </a:cubicBezTo>
                  <a:cubicBezTo>
                    <a:pt x="-342" y="17020"/>
                    <a:pt x="4360" y="22446"/>
                    <a:pt x="10690" y="22807"/>
                  </a:cubicBezTo>
                  <a:cubicBezTo>
                    <a:pt x="16839" y="23169"/>
                    <a:pt x="22265" y="18286"/>
                    <a:pt x="22807" y="121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6" name="Google Shape;1236;p53"/>
            <p:cNvSpPr/>
            <p:nvPr/>
          </p:nvSpPr>
          <p:spPr>
            <a:xfrm>
              <a:off x="12213387" y="2432780"/>
              <a:ext cx="29727" cy="29708"/>
            </a:xfrm>
            <a:custGeom>
              <a:avLst/>
              <a:gdLst/>
              <a:ahLst/>
              <a:cxnLst/>
              <a:rect l="l" t="t" r="r" b="b"/>
              <a:pathLst>
                <a:path w="29727" h="29708" extrusionOk="0">
                  <a:moveTo>
                    <a:pt x="29694" y="15768"/>
                  </a:moveTo>
                  <a:cubicBezTo>
                    <a:pt x="30236" y="7629"/>
                    <a:pt x="24087" y="576"/>
                    <a:pt x="15768" y="33"/>
                  </a:cubicBezTo>
                  <a:cubicBezTo>
                    <a:pt x="7629" y="-509"/>
                    <a:pt x="576" y="5640"/>
                    <a:pt x="33" y="13959"/>
                  </a:cubicBezTo>
                  <a:cubicBezTo>
                    <a:pt x="-509" y="22098"/>
                    <a:pt x="5640" y="29151"/>
                    <a:pt x="13959" y="29693"/>
                  </a:cubicBezTo>
                  <a:cubicBezTo>
                    <a:pt x="22098" y="30055"/>
                    <a:pt x="29151" y="23906"/>
                    <a:pt x="29694" y="157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7" name="Google Shape;1237;p53"/>
            <p:cNvSpPr/>
            <p:nvPr/>
          </p:nvSpPr>
          <p:spPr>
            <a:xfrm>
              <a:off x="12486304" y="2437489"/>
              <a:ext cx="15967" cy="15768"/>
            </a:xfrm>
            <a:custGeom>
              <a:avLst/>
              <a:gdLst/>
              <a:ahLst/>
              <a:cxnLst/>
              <a:rect l="l" t="t" r="r" b="b"/>
              <a:pathLst>
                <a:path w="15967" h="15768" extrusionOk="0">
                  <a:moveTo>
                    <a:pt x="15941" y="8526"/>
                  </a:moveTo>
                  <a:cubicBezTo>
                    <a:pt x="16303" y="4186"/>
                    <a:pt x="12867" y="388"/>
                    <a:pt x="8526" y="26"/>
                  </a:cubicBezTo>
                  <a:cubicBezTo>
                    <a:pt x="4186" y="-335"/>
                    <a:pt x="388" y="3101"/>
                    <a:pt x="26" y="7441"/>
                  </a:cubicBezTo>
                  <a:cubicBezTo>
                    <a:pt x="-335" y="11782"/>
                    <a:pt x="3101" y="15580"/>
                    <a:pt x="7441" y="15761"/>
                  </a:cubicBezTo>
                  <a:cubicBezTo>
                    <a:pt x="11782" y="15941"/>
                    <a:pt x="15580" y="12867"/>
                    <a:pt x="15941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8" name="Google Shape;1238;p53"/>
            <p:cNvSpPr/>
            <p:nvPr/>
          </p:nvSpPr>
          <p:spPr>
            <a:xfrm>
              <a:off x="12208538" y="2427930"/>
              <a:ext cx="39426" cy="39426"/>
            </a:xfrm>
            <a:custGeom>
              <a:avLst/>
              <a:gdLst/>
              <a:ahLst/>
              <a:cxnLst/>
              <a:rect l="l" t="t" r="r" b="b"/>
              <a:pathLst>
                <a:path w="39426" h="39426" extrusionOk="0">
                  <a:moveTo>
                    <a:pt x="39426" y="19713"/>
                  </a:moveTo>
                  <a:cubicBezTo>
                    <a:pt x="39426" y="30600"/>
                    <a:pt x="30600" y="39426"/>
                    <a:pt x="19713" y="39426"/>
                  </a:cubicBezTo>
                  <a:cubicBezTo>
                    <a:pt x="8826" y="39426"/>
                    <a:pt x="0" y="30600"/>
                    <a:pt x="0" y="19713"/>
                  </a:cubicBezTo>
                  <a:cubicBezTo>
                    <a:pt x="0" y="8826"/>
                    <a:pt x="8826" y="0"/>
                    <a:pt x="19713" y="0"/>
                  </a:cubicBezTo>
                  <a:cubicBezTo>
                    <a:pt x="30600" y="0"/>
                    <a:pt x="39426" y="8826"/>
                    <a:pt x="39426" y="197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9" name="Google Shape;1239;p53"/>
            <p:cNvSpPr/>
            <p:nvPr/>
          </p:nvSpPr>
          <p:spPr>
            <a:xfrm>
              <a:off x="9568394" y="5195334"/>
              <a:ext cx="32794" cy="32794"/>
            </a:xfrm>
            <a:custGeom>
              <a:avLst/>
              <a:gdLst/>
              <a:ahLst/>
              <a:cxnLst/>
              <a:rect l="l" t="t" r="r" b="b"/>
              <a:pathLst>
                <a:path w="32794" h="32794" extrusionOk="0">
                  <a:moveTo>
                    <a:pt x="32765" y="17392"/>
                  </a:moveTo>
                  <a:cubicBezTo>
                    <a:pt x="33307" y="8349"/>
                    <a:pt x="26435" y="573"/>
                    <a:pt x="17392" y="30"/>
                  </a:cubicBezTo>
                  <a:cubicBezTo>
                    <a:pt x="8349" y="-513"/>
                    <a:pt x="573" y="6360"/>
                    <a:pt x="30" y="15403"/>
                  </a:cubicBezTo>
                  <a:cubicBezTo>
                    <a:pt x="-513" y="24445"/>
                    <a:pt x="6360" y="32222"/>
                    <a:pt x="15403" y="32765"/>
                  </a:cubicBezTo>
                  <a:cubicBezTo>
                    <a:pt x="24446" y="33307"/>
                    <a:pt x="32222" y="26435"/>
                    <a:pt x="32765" y="173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0" name="Google Shape;1240;p53"/>
            <p:cNvSpPr/>
            <p:nvPr/>
          </p:nvSpPr>
          <p:spPr>
            <a:xfrm>
              <a:off x="9490696" y="5373184"/>
              <a:ext cx="130316" cy="130316"/>
            </a:xfrm>
            <a:custGeom>
              <a:avLst/>
              <a:gdLst/>
              <a:ahLst/>
              <a:cxnLst/>
              <a:rect l="l" t="t" r="r" b="b"/>
              <a:pathLst>
                <a:path w="130316" h="130316" extrusionOk="0">
                  <a:moveTo>
                    <a:pt x="130176" y="69408"/>
                  </a:moveTo>
                  <a:cubicBezTo>
                    <a:pt x="132527" y="33419"/>
                    <a:pt x="105218" y="2492"/>
                    <a:pt x="69408" y="141"/>
                  </a:cubicBezTo>
                  <a:cubicBezTo>
                    <a:pt x="33418" y="-2210"/>
                    <a:pt x="2492" y="25099"/>
                    <a:pt x="141" y="60908"/>
                  </a:cubicBezTo>
                  <a:cubicBezTo>
                    <a:pt x="-2210" y="96898"/>
                    <a:pt x="25099" y="127825"/>
                    <a:pt x="60908" y="130175"/>
                  </a:cubicBezTo>
                  <a:cubicBezTo>
                    <a:pt x="96717" y="132527"/>
                    <a:pt x="127824" y="105218"/>
                    <a:pt x="130176" y="694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1" name="Google Shape;1241;p53"/>
            <p:cNvSpPr/>
            <p:nvPr/>
          </p:nvSpPr>
          <p:spPr>
            <a:xfrm>
              <a:off x="8695881" y="5231254"/>
              <a:ext cx="87554" cy="87554"/>
            </a:xfrm>
            <a:custGeom>
              <a:avLst/>
              <a:gdLst/>
              <a:ahLst/>
              <a:cxnLst/>
              <a:rect l="l" t="t" r="r" b="b"/>
              <a:pathLst>
                <a:path w="87554" h="87554" extrusionOk="0">
                  <a:moveTo>
                    <a:pt x="87454" y="46580"/>
                  </a:moveTo>
                  <a:cubicBezTo>
                    <a:pt x="89081" y="22527"/>
                    <a:pt x="70815" y="1548"/>
                    <a:pt x="46580" y="101"/>
                  </a:cubicBezTo>
                  <a:cubicBezTo>
                    <a:pt x="22527" y="-1527"/>
                    <a:pt x="1548" y="16739"/>
                    <a:pt x="101" y="40974"/>
                  </a:cubicBezTo>
                  <a:cubicBezTo>
                    <a:pt x="-1527" y="65028"/>
                    <a:pt x="16739" y="86007"/>
                    <a:pt x="40974" y="87454"/>
                  </a:cubicBezTo>
                  <a:cubicBezTo>
                    <a:pt x="65028" y="89081"/>
                    <a:pt x="85826" y="70815"/>
                    <a:pt x="87454" y="465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2" name="Google Shape;1242;p53"/>
            <p:cNvSpPr/>
            <p:nvPr/>
          </p:nvSpPr>
          <p:spPr>
            <a:xfrm>
              <a:off x="9532510" y="5159270"/>
              <a:ext cx="104742" cy="104763"/>
            </a:xfrm>
            <a:custGeom>
              <a:avLst/>
              <a:gdLst/>
              <a:ahLst/>
              <a:cxnLst/>
              <a:rect l="l" t="t" r="r" b="b"/>
              <a:pathLst>
                <a:path w="104742" h="104763" extrusionOk="0">
                  <a:moveTo>
                    <a:pt x="104638" y="55807"/>
                  </a:moveTo>
                  <a:cubicBezTo>
                    <a:pt x="106447" y="26871"/>
                    <a:pt x="84564" y="1913"/>
                    <a:pt x="55808" y="105"/>
                  </a:cubicBezTo>
                  <a:cubicBezTo>
                    <a:pt x="27052" y="-1704"/>
                    <a:pt x="1913" y="20179"/>
                    <a:pt x="104" y="48935"/>
                  </a:cubicBezTo>
                  <a:cubicBezTo>
                    <a:pt x="-1704" y="77872"/>
                    <a:pt x="20179" y="102830"/>
                    <a:pt x="48935" y="104638"/>
                  </a:cubicBezTo>
                  <a:cubicBezTo>
                    <a:pt x="77691" y="106628"/>
                    <a:pt x="102649" y="84744"/>
                    <a:pt x="104638" y="558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3" name="Google Shape;1243;p53"/>
            <p:cNvSpPr/>
            <p:nvPr/>
          </p:nvSpPr>
          <p:spPr>
            <a:xfrm>
              <a:off x="10467795" y="5330987"/>
              <a:ext cx="24813" cy="24813"/>
            </a:xfrm>
            <a:custGeom>
              <a:avLst/>
              <a:gdLst/>
              <a:ahLst/>
              <a:cxnLst/>
              <a:rect l="l" t="t" r="r" b="b"/>
              <a:pathLst>
                <a:path w="24813" h="24813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1"/>
                    <a:pt x="18" y="11593"/>
                  </a:cubicBezTo>
                  <a:cubicBezTo>
                    <a:pt x="-343" y="18465"/>
                    <a:pt x="4721" y="24253"/>
                    <a:pt x="11593" y="24795"/>
                  </a:cubicBezTo>
                  <a:cubicBezTo>
                    <a:pt x="18465" y="25157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4" name="Google Shape;1244;p53"/>
            <p:cNvSpPr/>
            <p:nvPr/>
          </p:nvSpPr>
          <p:spPr>
            <a:xfrm>
              <a:off x="9525135" y="5407624"/>
              <a:ext cx="61256" cy="61257"/>
            </a:xfrm>
            <a:custGeom>
              <a:avLst/>
              <a:gdLst/>
              <a:ahLst/>
              <a:cxnLst/>
              <a:rect l="l" t="t" r="r" b="b"/>
              <a:pathLst>
                <a:path w="61256" h="61257" extrusionOk="0">
                  <a:moveTo>
                    <a:pt x="61193" y="32618"/>
                  </a:moveTo>
                  <a:cubicBezTo>
                    <a:pt x="62278" y="15798"/>
                    <a:pt x="49437" y="1149"/>
                    <a:pt x="32618" y="64"/>
                  </a:cubicBezTo>
                  <a:cubicBezTo>
                    <a:pt x="15798" y="-1021"/>
                    <a:pt x="1149" y="11819"/>
                    <a:pt x="64" y="28639"/>
                  </a:cubicBezTo>
                  <a:cubicBezTo>
                    <a:pt x="-1021" y="45458"/>
                    <a:pt x="11820" y="60108"/>
                    <a:pt x="28639" y="61193"/>
                  </a:cubicBezTo>
                  <a:cubicBezTo>
                    <a:pt x="45459" y="62278"/>
                    <a:pt x="60108" y="49618"/>
                    <a:pt x="61193" y="326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5" name="Google Shape;1245;p53"/>
            <p:cNvSpPr/>
            <p:nvPr/>
          </p:nvSpPr>
          <p:spPr>
            <a:xfrm>
              <a:off x="9556600" y="5183360"/>
              <a:ext cx="56563" cy="56563"/>
            </a:xfrm>
            <a:custGeom>
              <a:avLst/>
              <a:gdLst/>
              <a:ahLst/>
              <a:cxnLst/>
              <a:rect l="l" t="t" r="r" b="b"/>
              <a:pathLst>
                <a:path w="56563" h="56563" extrusionOk="0">
                  <a:moveTo>
                    <a:pt x="56495" y="30090"/>
                  </a:moveTo>
                  <a:cubicBezTo>
                    <a:pt x="57580" y="14537"/>
                    <a:pt x="45644" y="973"/>
                    <a:pt x="30090" y="69"/>
                  </a:cubicBezTo>
                  <a:cubicBezTo>
                    <a:pt x="14537" y="-1017"/>
                    <a:pt x="973" y="10920"/>
                    <a:pt x="69" y="26473"/>
                  </a:cubicBezTo>
                  <a:cubicBezTo>
                    <a:pt x="-1017" y="42027"/>
                    <a:pt x="10920" y="55591"/>
                    <a:pt x="26473" y="56495"/>
                  </a:cubicBezTo>
                  <a:cubicBezTo>
                    <a:pt x="42027" y="57580"/>
                    <a:pt x="55410" y="45644"/>
                    <a:pt x="56495" y="3009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6" name="Google Shape;1246;p53"/>
            <p:cNvSpPr/>
            <p:nvPr/>
          </p:nvSpPr>
          <p:spPr>
            <a:xfrm>
              <a:off x="10452009" y="5315202"/>
              <a:ext cx="56203" cy="56203"/>
            </a:xfrm>
            <a:custGeom>
              <a:avLst/>
              <a:gdLst/>
              <a:ahLst/>
              <a:cxnLst/>
              <a:rect l="l" t="t" r="r" b="b"/>
              <a:pathLst>
                <a:path w="56203" h="56203" extrusionOk="0">
                  <a:moveTo>
                    <a:pt x="56134" y="29910"/>
                  </a:moveTo>
                  <a:cubicBezTo>
                    <a:pt x="57220" y="14357"/>
                    <a:pt x="45464" y="1155"/>
                    <a:pt x="29911" y="69"/>
                  </a:cubicBezTo>
                  <a:cubicBezTo>
                    <a:pt x="14357" y="-1016"/>
                    <a:pt x="1155" y="10740"/>
                    <a:pt x="69" y="26293"/>
                  </a:cubicBezTo>
                  <a:cubicBezTo>
                    <a:pt x="-1016" y="41847"/>
                    <a:pt x="10740" y="55049"/>
                    <a:pt x="26293" y="56134"/>
                  </a:cubicBezTo>
                  <a:cubicBezTo>
                    <a:pt x="41847" y="57220"/>
                    <a:pt x="55230" y="45464"/>
                    <a:pt x="56134" y="2991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7" name="Google Shape;1247;p53"/>
            <p:cNvSpPr/>
            <p:nvPr/>
          </p:nvSpPr>
          <p:spPr>
            <a:xfrm>
              <a:off x="10389825" y="4874851"/>
              <a:ext cx="44208" cy="44228"/>
            </a:xfrm>
            <a:custGeom>
              <a:avLst/>
              <a:gdLst/>
              <a:ahLst/>
              <a:cxnLst/>
              <a:rect l="l" t="t" r="r" b="b"/>
              <a:pathLst>
                <a:path w="44208" h="44228" extrusionOk="0">
                  <a:moveTo>
                    <a:pt x="44168" y="23551"/>
                  </a:moveTo>
                  <a:cubicBezTo>
                    <a:pt x="44892" y="11434"/>
                    <a:pt x="35668" y="944"/>
                    <a:pt x="23551" y="40"/>
                  </a:cubicBezTo>
                  <a:cubicBezTo>
                    <a:pt x="11434" y="-684"/>
                    <a:pt x="944" y="8540"/>
                    <a:pt x="40" y="20657"/>
                  </a:cubicBezTo>
                  <a:cubicBezTo>
                    <a:pt x="-684" y="32774"/>
                    <a:pt x="8540" y="43264"/>
                    <a:pt x="20657" y="44168"/>
                  </a:cubicBezTo>
                  <a:cubicBezTo>
                    <a:pt x="32774" y="45073"/>
                    <a:pt x="43445" y="35668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8" name="Google Shape;1248;p53"/>
            <p:cNvSpPr/>
            <p:nvPr/>
          </p:nvSpPr>
          <p:spPr>
            <a:xfrm>
              <a:off x="8028510" y="5790800"/>
              <a:ext cx="112004" cy="112004"/>
            </a:xfrm>
            <a:custGeom>
              <a:avLst/>
              <a:gdLst/>
              <a:ahLst/>
              <a:cxnLst/>
              <a:rect l="l" t="t" r="r" b="b"/>
              <a:pathLst>
                <a:path w="112004" h="112004" extrusionOk="0">
                  <a:moveTo>
                    <a:pt x="111886" y="59619"/>
                  </a:moveTo>
                  <a:cubicBezTo>
                    <a:pt x="113876" y="28693"/>
                    <a:pt x="90546" y="2108"/>
                    <a:pt x="59619" y="118"/>
                  </a:cubicBezTo>
                  <a:cubicBezTo>
                    <a:pt x="28693" y="-1871"/>
                    <a:pt x="2108" y="21459"/>
                    <a:pt x="118" y="52385"/>
                  </a:cubicBezTo>
                  <a:cubicBezTo>
                    <a:pt x="-1871" y="83311"/>
                    <a:pt x="21459" y="109897"/>
                    <a:pt x="52385" y="111886"/>
                  </a:cubicBezTo>
                  <a:cubicBezTo>
                    <a:pt x="83131" y="113876"/>
                    <a:pt x="109716" y="90546"/>
                    <a:pt x="111886" y="596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9" name="Google Shape;1249;p53"/>
            <p:cNvSpPr/>
            <p:nvPr/>
          </p:nvSpPr>
          <p:spPr>
            <a:xfrm>
              <a:off x="7787357" y="5456326"/>
              <a:ext cx="9427" cy="9458"/>
            </a:xfrm>
            <a:custGeom>
              <a:avLst/>
              <a:gdLst/>
              <a:ahLst/>
              <a:cxnLst/>
              <a:rect l="l" t="t" r="r" b="b"/>
              <a:pathLst>
                <a:path w="9427" h="9458" extrusionOk="0">
                  <a:moveTo>
                    <a:pt x="9416" y="5075"/>
                  </a:moveTo>
                  <a:cubicBezTo>
                    <a:pt x="9597" y="2543"/>
                    <a:pt x="7607" y="192"/>
                    <a:pt x="5075" y="11"/>
                  </a:cubicBezTo>
                  <a:cubicBezTo>
                    <a:pt x="2543" y="-170"/>
                    <a:pt x="192" y="1820"/>
                    <a:pt x="11" y="4352"/>
                  </a:cubicBezTo>
                  <a:cubicBezTo>
                    <a:pt x="-169" y="6884"/>
                    <a:pt x="1820" y="9235"/>
                    <a:pt x="4352" y="9416"/>
                  </a:cubicBezTo>
                  <a:cubicBezTo>
                    <a:pt x="7065" y="9777"/>
                    <a:pt x="9235" y="7788"/>
                    <a:pt x="9416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0" name="Google Shape;1250;p53"/>
            <p:cNvSpPr/>
            <p:nvPr/>
          </p:nvSpPr>
          <p:spPr>
            <a:xfrm>
              <a:off x="7397166" y="6185082"/>
              <a:ext cx="88997" cy="88997"/>
            </a:xfrm>
            <a:custGeom>
              <a:avLst/>
              <a:gdLst/>
              <a:ahLst/>
              <a:cxnLst/>
              <a:rect l="l" t="t" r="r" b="b"/>
              <a:pathLst>
                <a:path w="88997" h="88997" extrusionOk="0">
                  <a:moveTo>
                    <a:pt x="88899" y="47483"/>
                  </a:moveTo>
                  <a:cubicBezTo>
                    <a:pt x="90526" y="22887"/>
                    <a:pt x="71898" y="1727"/>
                    <a:pt x="47483" y="99"/>
                  </a:cubicBezTo>
                  <a:cubicBezTo>
                    <a:pt x="23068" y="-1529"/>
                    <a:pt x="1727" y="17099"/>
                    <a:pt x="99" y="41515"/>
                  </a:cubicBezTo>
                  <a:cubicBezTo>
                    <a:pt x="-1529" y="66111"/>
                    <a:pt x="17099" y="87271"/>
                    <a:pt x="41515" y="88899"/>
                  </a:cubicBezTo>
                  <a:cubicBezTo>
                    <a:pt x="65930" y="90526"/>
                    <a:pt x="87271" y="71898"/>
                    <a:pt x="88899" y="474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1" name="Google Shape;1251;p53"/>
            <p:cNvSpPr/>
            <p:nvPr/>
          </p:nvSpPr>
          <p:spPr>
            <a:xfrm>
              <a:off x="10178866" y="6103673"/>
              <a:ext cx="107130" cy="107130"/>
            </a:xfrm>
            <a:custGeom>
              <a:avLst/>
              <a:gdLst/>
              <a:ahLst/>
              <a:cxnLst/>
              <a:rect l="l" t="t" r="r" b="b"/>
              <a:pathLst>
                <a:path w="107130" h="107130" extrusionOk="0">
                  <a:moveTo>
                    <a:pt x="107008" y="57092"/>
                  </a:moveTo>
                  <a:cubicBezTo>
                    <a:pt x="108997" y="27613"/>
                    <a:pt x="86571" y="2112"/>
                    <a:pt x="57092" y="123"/>
                  </a:cubicBezTo>
                  <a:cubicBezTo>
                    <a:pt x="27612" y="-1866"/>
                    <a:pt x="2112" y="20559"/>
                    <a:pt x="123" y="50039"/>
                  </a:cubicBezTo>
                  <a:cubicBezTo>
                    <a:pt x="-1867" y="79518"/>
                    <a:pt x="20559" y="105019"/>
                    <a:pt x="50039" y="107008"/>
                  </a:cubicBezTo>
                  <a:cubicBezTo>
                    <a:pt x="79699" y="108997"/>
                    <a:pt x="105199" y="86571"/>
                    <a:pt x="107008" y="570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2" name="Google Shape;1252;p53"/>
            <p:cNvSpPr/>
            <p:nvPr/>
          </p:nvSpPr>
          <p:spPr>
            <a:xfrm>
              <a:off x="10458007" y="5321018"/>
              <a:ext cx="44569" cy="44591"/>
            </a:xfrm>
            <a:custGeom>
              <a:avLst/>
              <a:gdLst/>
              <a:ahLst/>
              <a:cxnLst/>
              <a:rect l="l" t="t" r="r" b="b"/>
              <a:pathLst>
                <a:path w="44569" h="44591" extrusionOk="0">
                  <a:moveTo>
                    <a:pt x="44530" y="23732"/>
                  </a:moveTo>
                  <a:cubicBezTo>
                    <a:pt x="45253" y="11434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2955" y="45434"/>
                    <a:pt x="43626" y="36211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3" name="Google Shape;1253;p53"/>
            <p:cNvSpPr/>
            <p:nvPr/>
          </p:nvSpPr>
          <p:spPr>
            <a:xfrm>
              <a:off x="9521143" y="5403812"/>
              <a:ext cx="69059" cy="69059"/>
            </a:xfrm>
            <a:custGeom>
              <a:avLst/>
              <a:gdLst/>
              <a:ahLst/>
              <a:cxnLst/>
              <a:rect l="l" t="t" r="r" b="b"/>
              <a:pathLst>
                <a:path w="69059" h="69059" extrusionOk="0">
                  <a:moveTo>
                    <a:pt x="68983" y="36791"/>
                  </a:moveTo>
                  <a:cubicBezTo>
                    <a:pt x="70249" y="17801"/>
                    <a:pt x="55780" y="1343"/>
                    <a:pt x="36791" y="77"/>
                  </a:cubicBezTo>
                  <a:cubicBezTo>
                    <a:pt x="17801" y="-1189"/>
                    <a:pt x="1343" y="13280"/>
                    <a:pt x="77" y="32269"/>
                  </a:cubicBezTo>
                  <a:cubicBezTo>
                    <a:pt x="-1189" y="51259"/>
                    <a:pt x="13280" y="67717"/>
                    <a:pt x="32269" y="68983"/>
                  </a:cubicBezTo>
                  <a:cubicBezTo>
                    <a:pt x="51440" y="70249"/>
                    <a:pt x="67898" y="55780"/>
                    <a:pt x="68983" y="367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4" name="Google Shape;1254;p53"/>
            <p:cNvSpPr/>
            <p:nvPr/>
          </p:nvSpPr>
          <p:spPr>
            <a:xfrm>
              <a:off x="10212042" y="6136850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2"/>
                    <a:pt x="32959" y="766"/>
                    <a:pt x="21746" y="43"/>
                  </a:cubicBezTo>
                  <a:cubicBezTo>
                    <a:pt x="10533" y="-681"/>
                    <a:pt x="767" y="7820"/>
                    <a:pt x="43" y="19032"/>
                  </a:cubicBezTo>
                  <a:cubicBezTo>
                    <a:pt x="-680" y="30245"/>
                    <a:pt x="7820" y="40012"/>
                    <a:pt x="19033" y="40735"/>
                  </a:cubicBezTo>
                  <a:cubicBezTo>
                    <a:pt x="30427" y="41458"/>
                    <a:pt x="40012" y="32958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5" name="Google Shape;1255;p53"/>
            <p:cNvSpPr/>
            <p:nvPr/>
          </p:nvSpPr>
          <p:spPr>
            <a:xfrm>
              <a:off x="10717815" y="5932769"/>
              <a:ext cx="109837" cy="109837"/>
            </a:xfrm>
            <a:custGeom>
              <a:avLst/>
              <a:gdLst/>
              <a:ahLst/>
              <a:cxnLst/>
              <a:rect l="l" t="t" r="r" b="b"/>
              <a:pathLst>
                <a:path w="109837" h="109837" extrusionOk="0">
                  <a:moveTo>
                    <a:pt x="109718" y="58536"/>
                  </a:moveTo>
                  <a:cubicBezTo>
                    <a:pt x="111707" y="28333"/>
                    <a:pt x="88739" y="2109"/>
                    <a:pt x="58536" y="120"/>
                  </a:cubicBezTo>
                  <a:cubicBezTo>
                    <a:pt x="28333" y="-1870"/>
                    <a:pt x="2109" y="21099"/>
                    <a:pt x="120" y="51302"/>
                  </a:cubicBezTo>
                  <a:cubicBezTo>
                    <a:pt x="-1869" y="81505"/>
                    <a:pt x="21099" y="107728"/>
                    <a:pt x="51302" y="109718"/>
                  </a:cubicBezTo>
                  <a:cubicBezTo>
                    <a:pt x="81686" y="111707"/>
                    <a:pt x="107729" y="88739"/>
                    <a:pt x="109718" y="5853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6" name="Google Shape;1256;p53"/>
            <p:cNvSpPr/>
            <p:nvPr/>
          </p:nvSpPr>
          <p:spPr>
            <a:xfrm>
              <a:off x="10313030" y="6273647"/>
              <a:ext cx="140647" cy="140648"/>
            </a:xfrm>
            <a:custGeom>
              <a:avLst/>
              <a:gdLst/>
              <a:ahLst/>
              <a:cxnLst/>
              <a:rect l="l" t="t" r="r" b="b"/>
              <a:pathLst>
                <a:path w="140647" h="140648" extrusionOk="0">
                  <a:moveTo>
                    <a:pt x="140495" y="74845"/>
                  </a:moveTo>
                  <a:cubicBezTo>
                    <a:pt x="143027" y="36143"/>
                    <a:pt x="113729" y="2685"/>
                    <a:pt x="74845" y="152"/>
                  </a:cubicBezTo>
                  <a:cubicBezTo>
                    <a:pt x="36142" y="-2379"/>
                    <a:pt x="2684" y="26919"/>
                    <a:pt x="152" y="65803"/>
                  </a:cubicBezTo>
                  <a:cubicBezTo>
                    <a:pt x="-2379" y="104506"/>
                    <a:pt x="26919" y="137964"/>
                    <a:pt x="65802" y="140496"/>
                  </a:cubicBezTo>
                  <a:cubicBezTo>
                    <a:pt x="104686" y="143028"/>
                    <a:pt x="137964" y="113729"/>
                    <a:pt x="140495" y="748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7" name="Google Shape;1257;p53"/>
            <p:cNvSpPr/>
            <p:nvPr/>
          </p:nvSpPr>
          <p:spPr>
            <a:xfrm>
              <a:off x="10178325" y="6102952"/>
              <a:ext cx="108573" cy="108574"/>
            </a:xfrm>
            <a:custGeom>
              <a:avLst/>
              <a:gdLst/>
              <a:ahLst/>
              <a:cxnLst/>
              <a:rect l="l" t="t" r="r" b="b"/>
              <a:pathLst>
                <a:path w="108573" h="108574" extrusionOk="0">
                  <a:moveTo>
                    <a:pt x="108453" y="57813"/>
                  </a:moveTo>
                  <a:cubicBezTo>
                    <a:pt x="110442" y="27972"/>
                    <a:pt x="87655" y="2110"/>
                    <a:pt x="57814" y="121"/>
                  </a:cubicBezTo>
                  <a:cubicBezTo>
                    <a:pt x="27973" y="-1869"/>
                    <a:pt x="2110" y="20919"/>
                    <a:pt x="121" y="50760"/>
                  </a:cubicBezTo>
                  <a:cubicBezTo>
                    <a:pt x="-1868" y="80601"/>
                    <a:pt x="20919" y="106463"/>
                    <a:pt x="50760" y="108453"/>
                  </a:cubicBezTo>
                  <a:cubicBezTo>
                    <a:pt x="80601" y="110442"/>
                    <a:pt x="106464" y="87835"/>
                    <a:pt x="108453" y="57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8" name="Google Shape;1258;p53"/>
            <p:cNvSpPr/>
            <p:nvPr/>
          </p:nvSpPr>
          <p:spPr>
            <a:xfrm>
              <a:off x="10729408" y="5944363"/>
              <a:ext cx="86831" cy="86811"/>
            </a:xfrm>
            <a:custGeom>
              <a:avLst/>
              <a:gdLst/>
              <a:ahLst/>
              <a:cxnLst/>
              <a:rect l="l" t="t" r="r" b="b"/>
              <a:pathLst>
                <a:path w="86831" h="86811" extrusionOk="0">
                  <a:moveTo>
                    <a:pt x="86730" y="46219"/>
                  </a:moveTo>
                  <a:cubicBezTo>
                    <a:pt x="88358" y="22346"/>
                    <a:pt x="70092" y="1728"/>
                    <a:pt x="46219" y="101"/>
                  </a:cubicBezTo>
                  <a:cubicBezTo>
                    <a:pt x="22346" y="-1527"/>
                    <a:pt x="1729" y="16740"/>
                    <a:pt x="101" y="40612"/>
                  </a:cubicBezTo>
                  <a:cubicBezTo>
                    <a:pt x="-1527" y="64485"/>
                    <a:pt x="16739" y="85103"/>
                    <a:pt x="40612" y="86730"/>
                  </a:cubicBezTo>
                  <a:cubicBezTo>
                    <a:pt x="64485" y="88177"/>
                    <a:pt x="85103" y="70091"/>
                    <a:pt x="86730" y="462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9" name="Google Shape;1259;p53"/>
            <p:cNvSpPr/>
            <p:nvPr/>
          </p:nvSpPr>
          <p:spPr>
            <a:xfrm>
              <a:off x="10455640" y="5318833"/>
              <a:ext cx="48941" cy="48942"/>
            </a:xfrm>
            <a:custGeom>
              <a:avLst/>
              <a:gdLst/>
              <a:ahLst/>
              <a:cxnLst/>
              <a:rect l="l" t="t" r="r" b="b"/>
              <a:pathLst>
                <a:path w="48941" h="48942" extrusionOk="0">
                  <a:moveTo>
                    <a:pt x="48886" y="26098"/>
                  </a:moveTo>
                  <a:cubicBezTo>
                    <a:pt x="49790" y="12715"/>
                    <a:pt x="39482" y="960"/>
                    <a:pt x="26098" y="55"/>
                  </a:cubicBezTo>
                  <a:cubicBezTo>
                    <a:pt x="12715" y="-849"/>
                    <a:pt x="960" y="9460"/>
                    <a:pt x="55" y="22843"/>
                  </a:cubicBezTo>
                  <a:cubicBezTo>
                    <a:pt x="-849" y="36226"/>
                    <a:pt x="9460" y="47982"/>
                    <a:pt x="22843" y="48886"/>
                  </a:cubicBezTo>
                  <a:cubicBezTo>
                    <a:pt x="36407" y="49790"/>
                    <a:pt x="47982" y="39662"/>
                    <a:pt x="48886" y="260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0" name="Google Shape;1260;p53"/>
            <p:cNvSpPr/>
            <p:nvPr/>
          </p:nvSpPr>
          <p:spPr>
            <a:xfrm>
              <a:off x="11829314" y="5656753"/>
              <a:ext cx="140647" cy="140647"/>
            </a:xfrm>
            <a:custGeom>
              <a:avLst/>
              <a:gdLst/>
              <a:ahLst/>
              <a:cxnLst/>
              <a:rect l="l" t="t" r="r" b="b"/>
              <a:pathLst>
                <a:path w="140647" h="140647" extrusionOk="0">
                  <a:moveTo>
                    <a:pt x="140495" y="74845"/>
                  </a:moveTo>
                  <a:cubicBezTo>
                    <a:pt x="143027" y="36143"/>
                    <a:pt x="113729" y="2684"/>
                    <a:pt x="74845" y="152"/>
                  </a:cubicBezTo>
                  <a:cubicBezTo>
                    <a:pt x="36143" y="-2379"/>
                    <a:pt x="2684" y="26919"/>
                    <a:pt x="152" y="65803"/>
                  </a:cubicBezTo>
                  <a:cubicBezTo>
                    <a:pt x="-2379" y="104506"/>
                    <a:pt x="26919" y="137963"/>
                    <a:pt x="65803" y="140495"/>
                  </a:cubicBezTo>
                  <a:cubicBezTo>
                    <a:pt x="104506" y="143027"/>
                    <a:pt x="137964" y="113729"/>
                    <a:pt x="140495" y="748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1" name="Google Shape;1261;p53"/>
            <p:cNvSpPr/>
            <p:nvPr/>
          </p:nvSpPr>
          <p:spPr>
            <a:xfrm>
              <a:off x="10940909" y="5500447"/>
              <a:ext cx="23368" cy="23368"/>
            </a:xfrm>
            <a:custGeom>
              <a:avLst/>
              <a:gdLst/>
              <a:ahLst/>
              <a:cxnLst/>
              <a:rect l="l" t="t" r="r" b="b"/>
              <a:pathLst>
                <a:path w="23368" h="23368" extrusionOk="0">
                  <a:moveTo>
                    <a:pt x="23349" y="12498"/>
                  </a:moveTo>
                  <a:cubicBezTo>
                    <a:pt x="23711" y="5987"/>
                    <a:pt x="18828" y="380"/>
                    <a:pt x="12498" y="19"/>
                  </a:cubicBezTo>
                  <a:cubicBezTo>
                    <a:pt x="5987" y="-343"/>
                    <a:pt x="381" y="4540"/>
                    <a:pt x="19" y="10870"/>
                  </a:cubicBezTo>
                  <a:cubicBezTo>
                    <a:pt x="-343" y="17381"/>
                    <a:pt x="4540" y="22987"/>
                    <a:pt x="10870" y="23349"/>
                  </a:cubicBezTo>
                  <a:cubicBezTo>
                    <a:pt x="17200" y="23711"/>
                    <a:pt x="22987" y="19008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2" name="Google Shape;1262;p53"/>
            <p:cNvSpPr/>
            <p:nvPr/>
          </p:nvSpPr>
          <p:spPr>
            <a:xfrm>
              <a:off x="10761299" y="5976094"/>
              <a:ext cx="23029" cy="23029"/>
            </a:xfrm>
            <a:custGeom>
              <a:avLst/>
              <a:gdLst/>
              <a:ahLst/>
              <a:cxnLst/>
              <a:rect l="l" t="t" r="r" b="b"/>
              <a:pathLst>
                <a:path w="23029" h="23029" extrusionOk="0">
                  <a:moveTo>
                    <a:pt x="23010" y="12317"/>
                  </a:moveTo>
                  <a:cubicBezTo>
                    <a:pt x="23371" y="5988"/>
                    <a:pt x="18669" y="562"/>
                    <a:pt x="12339" y="20"/>
                  </a:cubicBezTo>
                  <a:cubicBezTo>
                    <a:pt x="6009" y="-342"/>
                    <a:pt x="584" y="4360"/>
                    <a:pt x="41" y="10690"/>
                  </a:cubicBezTo>
                  <a:cubicBezTo>
                    <a:pt x="-501" y="17020"/>
                    <a:pt x="4382" y="22445"/>
                    <a:pt x="10712" y="22988"/>
                  </a:cubicBezTo>
                  <a:cubicBezTo>
                    <a:pt x="17042" y="23531"/>
                    <a:pt x="22648" y="18648"/>
                    <a:pt x="23010" y="1231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3" name="Google Shape;1263;p53"/>
            <p:cNvSpPr/>
            <p:nvPr/>
          </p:nvSpPr>
          <p:spPr>
            <a:xfrm>
              <a:off x="11885317" y="5712575"/>
              <a:ext cx="29003" cy="29003"/>
            </a:xfrm>
            <a:custGeom>
              <a:avLst/>
              <a:gdLst/>
              <a:ahLst/>
              <a:cxnLst/>
              <a:rect l="l" t="t" r="r" b="b"/>
              <a:pathLst>
                <a:path w="29003" h="29003" extrusionOk="0">
                  <a:moveTo>
                    <a:pt x="28970" y="15406"/>
                  </a:moveTo>
                  <a:cubicBezTo>
                    <a:pt x="29513" y="7448"/>
                    <a:pt x="23364" y="576"/>
                    <a:pt x="15406" y="33"/>
                  </a:cubicBezTo>
                  <a:cubicBezTo>
                    <a:pt x="7448" y="-509"/>
                    <a:pt x="576" y="5640"/>
                    <a:pt x="33" y="13597"/>
                  </a:cubicBezTo>
                  <a:cubicBezTo>
                    <a:pt x="-509" y="21555"/>
                    <a:pt x="5640" y="28427"/>
                    <a:pt x="13597" y="28970"/>
                  </a:cubicBezTo>
                  <a:cubicBezTo>
                    <a:pt x="21374" y="29512"/>
                    <a:pt x="28428" y="23363"/>
                    <a:pt x="28970" y="154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4" name="Google Shape;1264;p53"/>
            <p:cNvSpPr/>
            <p:nvPr/>
          </p:nvSpPr>
          <p:spPr>
            <a:xfrm>
              <a:off x="11208003" y="5289723"/>
              <a:ext cx="36447" cy="36445"/>
            </a:xfrm>
            <a:custGeom>
              <a:avLst/>
              <a:gdLst/>
              <a:ahLst/>
              <a:cxnLst/>
              <a:rect l="l" t="t" r="r" b="b"/>
              <a:pathLst>
                <a:path w="36447" h="36445" extrusionOk="0">
                  <a:moveTo>
                    <a:pt x="36399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271" y="-676"/>
                    <a:pt x="771" y="6920"/>
                    <a:pt x="48" y="17048"/>
                  </a:cubicBezTo>
                  <a:cubicBezTo>
                    <a:pt x="-676" y="27176"/>
                    <a:pt x="6920" y="35676"/>
                    <a:pt x="17048" y="36399"/>
                  </a:cubicBezTo>
                  <a:cubicBezTo>
                    <a:pt x="27176" y="37123"/>
                    <a:pt x="35676" y="29346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5" name="Google Shape;1265;p53"/>
            <p:cNvSpPr/>
            <p:nvPr/>
          </p:nvSpPr>
          <p:spPr>
            <a:xfrm>
              <a:off x="10939264" y="5498802"/>
              <a:ext cx="26838" cy="26839"/>
            </a:xfrm>
            <a:custGeom>
              <a:avLst/>
              <a:gdLst/>
              <a:ahLst/>
              <a:cxnLst/>
              <a:rect l="l" t="t" r="r" b="b"/>
              <a:pathLst>
                <a:path w="26838" h="26839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345"/>
                    <a:pt x="26260" y="21739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6" name="Google Shape;1266;p53"/>
            <p:cNvSpPr/>
            <p:nvPr/>
          </p:nvSpPr>
          <p:spPr>
            <a:xfrm>
              <a:off x="11830758" y="5658197"/>
              <a:ext cx="137759" cy="137759"/>
            </a:xfrm>
            <a:custGeom>
              <a:avLst/>
              <a:gdLst/>
              <a:ahLst/>
              <a:cxnLst/>
              <a:rect l="l" t="t" r="r" b="b"/>
              <a:pathLst>
                <a:path w="137759" h="137759" extrusionOk="0">
                  <a:moveTo>
                    <a:pt x="137604" y="73401"/>
                  </a:moveTo>
                  <a:cubicBezTo>
                    <a:pt x="140136" y="35422"/>
                    <a:pt x="111381" y="2687"/>
                    <a:pt x="73401" y="155"/>
                  </a:cubicBezTo>
                  <a:cubicBezTo>
                    <a:pt x="35422" y="-2377"/>
                    <a:pt x="2687" y="26379"/>
                    <a:pt x="155" y="64359"/>
                  </a:cubicBezTo>
                  <a:cubicBezTo>
                    <a:pt x="-2377" y="102338"/>
                    <a:pt x="26379" y="135072"/>
                    <a:pt x="64359" y="137604"/>
                  </a:cubicBezTo>
                  <a:cubicBezTo>
                    <a:pt x="102338" y="140136"/>
                    <a:pt x="135254" y="111381"/>
                    <a:pt x="137604" y="734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7" name="Google Shape;1267;p53"/>
            <p:cNvSpPr/>
            <p:nvPr/>
          </p:nvSpPr>
          <p:spPr>
            <a:xfrm>
              <a:off x="11784676" y="5096318"/>
              <a:ext cx="110921" cy="110942"/>
            </a:xfrm>
            <a:custGeom>
              <a:avLst/>
              <a:gdLst/>
              <a:ahLst/>
              <a:cxnLst/>
              <a:rect l="l" t="t" r="r" b="b"/>
              <a:pathLst>
                <a:path w="110921" h="110942" extrusionOk="0">
                  <a:moveTo>
                    <a:pt x="110802" y="59078"/>
                  </a:moveTo>
                  <a:cubicBezTo>
                    <a:pt x="112791" y="28513"/>
                    <a:pt x="89642" y="2109"/>
                    <a:pt x="59078" y="119"/>
                  </a:cubicBezTo>
                  <a:cubicBezTo>
                    <a:pt x="28513" y="-1870"/>
                    <a:pt x="2109" y="21279"/>
                    <a:pt x="119" y="51844"/>
                  </a:cubicBezTo>
                  <a:cubicBezTo>
                    <a:pt x="-1870" y="82408"/>
                    <a:pt x="21279" y="108813"/>
                    <a:pt x="51844" y="110802"/>
                  </a:cubicBezTo>
                  <a:cubicBezTo>
                    <a:pt x="82408" y="112972"/>
                    <a:pt x="108813" y="89642"/>
                    <a:pt x="110802" y="5907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8" name="Google Shape;1268;p53"/>
            <p:cNvSpPr/>
            <p:nvPr/>
          </p:nvSpPr>
          <p:spPr>
            <a:xfrm>
              <a:off x="11200763" y="5282483"/>
              <a:ext cx="50927" cy="50927"/>
            </a:xfrm>
            <a:custGeom>
              <a:avLst/>
              <a:gdLst/>
              <a:ahLst/>
              <a:cxnLst/>
              <a:rect l="l" t="t" r="r" b="b"/>
              <a:pathLst>
                <a:path w="50927" h="50927" extrusionOk="0">
                  <a:moveTo>
                    <a:pt x="50874" y="27182"/>
                  </a:moveTo>
                  <a:cubicBezTo>
                    <a:pt x="51778" y="13075"/>
                    <a:pt x="41107" y="958"/>
                    <a:pt x="27182" y="53"/>
                  </a:cubicBezTo>
                  <a:cubicBezTo>
                    <a:pt x="13075" y="-851"/>
                    <a:pt x="958" y="9820"/>
                    <a:pt x="53" y="23745"/>
                  </a:cubicBezTo>
                  <a:cubicBezTo>
                    <a:pt x="-851" y="37852"/>
                    <a:pt x="9820" y="49969"/>
                    <a:pt x="23745" y="50874"/>
                  </a:cubicBezTo>
                  <a:cubicBezTo>
                    <a:pt x="37852" y="51778"/>
                    <a:pt x="49969" y="41107"/>
                    <a:pt x="50874" y="271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9" name="Google Shape;1269;p53"/>
            <p:cNvSpPr/>
            <p:nvPr/>
          </p:nvSpPr>
          <p:spPr>
            <a:xfrm>
              <a:off x="12698414" y="4373142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4"/>
                    <a:pt x="37676" y="962"/>
                    <a:pt x="24835" y="58"/>
                  </a:cubicBezTo>
                  <a:cubicBezTo>
                    <a:pt x="11995" y="-846"/>
                    <a:pt x="962" y="8920"/>
                    <a:pt x="58" y="21761"/>
                  </a:cubicBezTo>
                  <a:cubicBezTo>
                    <a:pt x="-846" y="34601"/>
                    <a:pt x="8920" y="45633"/>
                    <a:pt x="21760" y="46538"/>
                  </a:cubicBezTo>
                  <a:cubicBezTo>
                    <a:pt x="34601" y="47442"/>
                    <a:pt x="45814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0" name="Google Shape;1270;p53"/>
            <p:cNvSpPr/>
            <p:nvPr/>
          </p:nvSpPr>
          <p:spPr>
            <a:xfrm>
              <a:off x="12286237" y="3894954"/>
              <a:ext cx="57466" cy="57465"/>
            </a:xfrm>
            <a:custGeom>
              <a:avLst/>
              <a:gdLst/>
              <a:ahLst/>
              <a:cxnLst/>
              <a:rect l="l" t="t" r="r" b="b"/>
              <a:pathLst>
                <a:path w="57466" h="57465" extrusionOk="0">
                  <a:moveTo>
                    <a:pt x="57399" y="30632"/>
                  </a:moveTo>
                  <a:cubicBezTo>
                    <a:pt x="58484" y="14717"/>
                    <a:pt x="46366" y="1153"/>
                    <a:pt x="30632" y="68"/>
                  </a:cubicBezTo>
                  <a:cubicBezTo>
                    <a:pt x="14717" y="-1018"/>
                    <a:pt x="1153" y="11100"/>
                    <a:pt x="68" y="26834"/>
                  </a:cubicBezTo>
                  <a:cubicBezTo>
                    <a:pt x="-1018" y="42749"/>
                    <a:pt x="11100" y="56313"/>
                    <a:pt x="26834" y="57398"/>
                  </a:cubicBezTo>
                  <a:cubicBezTo>
                    <a:pt x="42750" y="58483"/>
                    <a:pt x="56314" y="46366"/>
                    <a:pt x="57399" y="306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1" name="Google Shape;1271;p53"/>
            <p:cNvSpPr/>
            <p:nvPr/>
          </p:nvSpPr>
          <p:spPr>
            <a:xfrm>
              <a:off x="12719404" y="5673315"/>
              <a:ext cx="35723" cy="35704"/>
            </a:xfrm>
            <a:custGeom>
              <a:avLst/>
              <a:gdLst/>
              <a:ahLst/>
              <a:cxnLst/>
              <a:rect l="l" t="t" r="r" b="b"/>
              <a:pathLst>
                <a:path w="35723" h="35704" extrusionOk="0">
                  <a:moveTo>
                    <a:pt x="35676" y="19037"/>
                  </a:moveTo>
                  <a:cubicBezTo>
                    <a:pt x="36399" y="9271"/>
                    <a:pt x="28804" y="771"/>
                    <a:pt x="19037" y="48"/>
                  </a:cubicBezTo>
                  <a:cubicBezTo>
                    <a:pt x="9271" y="-676"/>
                    <a:pt x="771" y="6920"/>
                    <a:pt x="48" y="16686"/>
                  </a:cubicBezTo>
                  <a:cubicBezTo>
                    <a:pt x="-676" y="26452"/>
                    <a:pt x="6920" y="34952"/>
                    <a:pt x="16686" y="35676"/>
                  </a:cubicBezTo>
                  <a:cubicBezTo>
                    <a:pt x="26633" y="36219"/>
                    <a:pt x="35134" y="28804"/>
                    <a:pt x="35676" y="190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2" name="Google Shape;1272;p53"/>
            <p:cNvSpPr/>
            <p:nvPr/>
          </p:nvSpPr>
          <p:spPr>
            <a:xfrm>
              <a:off x="12514905" y="5661607"/>
              <a:ext cx="50639" cy="50639"/>
            </a:xfrm>
            <a:custGeom>
              <a:avLst/>
              <a:gdLst/>
              <a:ahLst/>
              <a:cxnLst/>
              <a:rect l="l" t="t" r="r" b="b"/>
              <a:pathLst>
                <a:path w="50639" h="50639" extrusionOk="0">
                  <a:moveTo>
                    <a:pt x="50639" y="25320"/>
                  </a:moveTo>
                  <a:cubicBezTo>
                    <a:pt x="50639" y="39303"/>
                    <a:pt x="39303" y="50639"/>
                    <a:pt x="25320" y="50639"/>
                  </a:cubicBezTo>
                  <a:cubicBezTo>
                    <a:pt x="11336" y="50639"/>
                    <a:pt x="0" y="39303"/>
                    <a:pt x="0" y="25320"/>
                  </a:cubicBezTo>
                  <a:cubicBezTo>
                    <a:pt x="0" y="11336"/>
                    <a:pt x="11336" y="0"/>
                    <a:pt x="25320" y="0"/>
                  </a:cubicBezTo>
                  <a:cubicBezTo>
                    <a:pt x="39303" y="0"/>
                    <a:pt x="50639" y="11336"/>
                    <a:pt x="50639" y="2532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3" name="Google Shape;1273;p53"/>
            <p:cNvSpPr/>
            <p:nvPr/>
          </p:nvSpPr>
          <p:spPr>
            <a:xfrm>
              <a:off x="12433257" y="5142111"/>
              <a:ext cx="84986" cy="85007"/>
            </a:xfrm>
            <a:custGeom>
              <a:avLst/>
              <a:gdLst/>
              <a:ahLst/>
              <a:cxnLst/>
              <a:rect l="l" t="t" r="r" b="b"/>
              <a:pathLst>
                <a:path w="84986" h="85007" extrusionOk="0">
                  <a:moveTo>
                    <a:pt x="84903" y="45296"/>
                  </a:moveTo>
                  <a:cubicBezTo>
                    <a:pt x="86350" y="21966"/>
                    <a:pt x="68627" y="1711"/>
                    <a:pt x="45296" y="83"/>
                  </a:cubicBezTo>
                  <a:cubicBezTo>
                    <a:pt x="21966" y="-1364"/>
                    <a:pt x="1710" y="16360"/>
                    <a:pt x="83" y="39690"/>
                  </a:cubicBezTo>
                  <a:cubicBezTo>
                    <a:pt x="-1364" y="63020"/>
                    <a:pt x="16359" y="83276"/>
                    <a:pt x="39690" y="84903"/>
                  </a:cubicBezTo>
                  <a:cubicBezTo>
                    <a:pt x="63201" y="86531"/>
                    <a:pt x="83456" y="68807"/>
                    <a:pt x="84903" y="45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4" name="Google Shape;1274;p53"/>
            <p:cNvSpPr/>
            <p:nvPr/>
          </p:nvSpPr>
          <p:spPr>
            <a:xfrm>
              <a:off x="12717599" y="5671510"/>
              <a:ext cx="39513" cy="39514"/>
            </a:xfrm>
            <a:custGeom>
              <a:avLst/>
              <a:gdLst/>
              <a:ahLst/>
              <a:cxnLst/>
              <a:rect l="l" t="t" r="r" b="b"/>
              <a:pathLst>
                <a:path w="39513" h="39514" extrusionOk="0">
                  <a:moveTo>
                    <a:pt x="39470" y="21023"/>
                  </a:moveTo>
                  <a:cubicBezTo>
                    <a:pt x="40194" y="10172"/>
                    <a:pt x="31874" y="767"/>
                    <a:pt x="21023" y="44"/>
                  </a:cubicBezTo>
                  <a:cubicBezTo>
                    <a:pt x="10172" y="-679"/>
                    <a:pt x="767" y="7640"/>
                    <a:pt x="44" y="18491"/>
                  </a:cubicBezTo>
                  <a:cubicBezTo>
                    <a:pt x="-680" y="29342"/>
                    <a:pt x="7639" y="38747"/>
                    <a:pt x="18491" y="39470"/>
                  </a:cubicBezTo>
                  <a:cubicBezTo>
                    <a:pt x="29342" y="40194"/>
                    <a:pt x="38746" y="31874"/>
                    <a:pt x="39470" y="210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5" name="Google Shape;1275;p53"/>
            <p:cNvSpPr/>
            <p:nvPr/>
          </p:nvSpPr>
          <p:spPr>
            <a:xfrm>
              <a:off x="12529878" y="5685262"/>
              <a:ext cx="25213" cy="25214"/>
            </a:xfrm>
            <a:custGeom>
              <a:avLst/>
              <a:gdLst/>
              <a:ahLst/>
              <a:cxnLst/>
              <a:rect l="l" t="t" r="r" b="b"/>
              <a:pathLst>
                <a:path w="25213" h="25214" extrusionOk="0">
                  <a:moveTo>
                    <a:pt x="25176" y="13421"/>
                  </a:moveTo>
                  <a:cubicBezTo>
                    <a:pt x="25719" y="6548"/>
                    <a:pt x="20293" y="399"/>
                    <a:pt x="13420" y="37"/>
                  </a:cubicBezTo>
                  <a:cubicBezTo>
                    <a:pt x="6548" y="-505"/>
                    <a:pt x="399" y="4921"/>
                    <a:pt x="37" y="11793"/>
                  </a:cubicBezTo>
                  <a:cubicBezTo>
                    <a:pt x="-505" y="18666"/>
                    <a:pt x="4920" y="24815"/>
                    <a:pt x="11793" y="25176"/>
                  </a:cubicBezTo>
                  <a:cubicBezTo>
                    <a:pt x="18665" y="25719"/>
                    <a:pt x="24634" y="20474"/>
                    <a:pt x="25176" y="134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6" name="Google Shape;1276;p53"/>
            <p:cNvSpPr/>
            <p:nvPr/>
          </p:nvSpPr>
          <p:spPr>
            <a:xfrm>
              <a:off x="12530618" y="5677320"/>
              <a:ext cx="19395" cy="19395"/>
            </a:xfrm>
            <a:custGeom>
              <a:avLst/>
              <a:gdLst/>
              <a:ahLst/>
              <a:cxnLst/>
              <a:rect l="l" t="t" r="r" b="b"/>
              <a:pathLst>
                <a:path w="19395" h="19395" extrusionOk="0">
                  <a:moveTo>
                    <a:pt x="19374" y="10330"/>
                  </a:moveTo>
                  <a:cubicBezTo>
                    <a:pt x="19735" y="4905"/>
                    <a:pt x="15575" y="383"/>
                    <a:pt x="10331" y="22"/>
                  </a:cubicBezTo>
                  <a:cubicBezTo>
                    <a:pt x="4905" y="-340"/>
                    <a:pt x="383" y="3820"/>
                    <a:pt x="22" y="9065"/>
                  </a:cubicBezTo>
                  <a:cubicBezTo>
                    <a:pt x="-340" y="14309"/>
                    <a:pt x="3820" y="19011"/>
                    <a:pt x="9065" y="19373"/>
                  </a:cubicBezTo>
                  <a:cubicBezTo>
                    <a:pt x="14310" y="19735"/>
                    <a:pt x="19011" y="15575"/>
                    <a:pt x="19374" y="103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7" name="Google Shape;1277;p53"/>
            <p:cNvSpPr/>
            <p:nvPr/>
          </p:nvSpPr>
          <p:spPr>
            <a:xfrm>
              <a:off x="11878731" y="6854053"/>
              <a:ext cx="100049" cy="100048"/>
            </a:xfrm>
            <a:custGeom>
              <a:avLst/>
              <a:gdLst/>
              <a:ahLst/>
              <a:cxnLst/>
              <a:rect l="l" t="t" r="r" b="b"/>
              <a:pathLst>
                <a:path w="100049" h="100048" extrusionOk="0">
                  <a:moveTo>
                    <a:pt x="99940" y="53279"/>
                  </a:moveTo>
                  <a:cubicBezTo>
                    <a:pt x="101749" y="25609"/>
                    <a:pt x="80770" y="1917"/>
                    <a:pt x="53280" y="109"/>
                  </a:cubicBezTo>
                  <a:cubicBezTo>
                    <a:pt x="25609" y="-1700"/>
                    <a:pt x="1917" y="19279"/>
                    <a:pt x="109" y="46769"/>
                  </a:cubicBezTo>
                  <a:cubicBezTo>
                    <a:pt x="-1700" y="74440"/>
                    <a:pt x="19279" y="98131"/>
                    <a:pt x="46769" y="99940"/>
                  </a:cubicBezTo>
                  <a:cubicBezTo>
                    <a:pt x="74259" y="101749"/>
                    <a:pt x="98132" y="80770"/>
                    <a:pt x="99940" y="53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8" name="Google Shape;1278;p53"/>
            <p:cNvSpPr/>
            <p:nvPr/>
          </p:nvSpPr>
          <p:spPr>
            <a:xfrm>
              <a:off x="10699321" y="5914275"/>
              <a:ext cx="147006" cy="146986"/>
            </a:xfrm>
            <a:custGeom>
              <a:avLst/>
              <a:gdLst/>
              <a:ahLst/>
              <a:cxnLst/>
              <a:rect l="l" t="t" r="r" b="b"/>
              <a:pathLst>
                <a:path w="147006" h="146986" extrusionOk="0">
                  <a:moveTo>
                    <a:pt x="146840" y="78296"/>
                  </a:moveTo>
                  <a:cubicBezTo>
                    <a:pt x="149552" y="37785"/>
                    <a:pt x="118807" y="2879"/>
                    <a:pt x="78296" y="167"/>
                  </a:cubicBezTo>
                  <a:cubicBezTo>
                    <a:pt x="37784" y="-2546"/>
                    <a:pt x="2879" y="28199"/>
                    <a:pt x="167" y="68711"/>
                  </a:cubicBezTo>
                  <a:cubicBezTo>
                    <a:pt x="-2546" y="109222"/>
                    <a:pt x="28199" y="144127"/>
                    <a:pt x="68710" y="146840"/>
                  </a:cubicBezTo>
                  <a:cubicBezTo>
                    <a:pt x="109222" y="149371"/>
                    <a:pt x="144127" y="118807"/>
                    <a:pt x="146840" y="78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9" name="Google Shape;1279;p53"/>
            <p:cNvSpPr/>
            <p:nvPr/>
          </p:nvSpPr>
          <p:spPr>
            <a:xfrm>
              <a:off x="10363055" y="6323672"/>
              <a:ext cx="40597" cy="40597"/>
            </a:xfrm>
            <a:custGeom>
              <a:avLst/>
              <a:gdLst/>
              <a:ahLst/>
              <a:cxnLst/>
              <a:rect l="l" t="t" r="r" b="b"/>
              <a:pathLst>
                <a:path w="40597" h="40597" extrusionOk="0">
                  <a:moveTo>
                    <a:pt x="40554" y="21565"/>
                  </a:moveTo>
                  <a:cubicBezTo>
                    <a:pt x="41278" y="10352"/>
                    <a:pt x="32778" y="767"/>
                    <a:pt x="21565" y="43"/>
                  </a:cubicBezTo>
                  <a:cubicBezTo>
                    <a:pt x="10352" y="-681"/>
                    <a:pt x="766" y="7820"/>
                    <a:pt x="43" y="19033"/>
                  </a:cubicBezTo>
                  <a:cubicBezTo>
                    <a:pt x="-680" y="30246"/>
                    <a:pt x="7820" y="39831"/>
                    <a:pt x="19033" y="40554"/>
                  </a:cubicBezTo>
                  <a:cubicBezTo>
                    <a:pt x="30246" y="41278"/>
                    <a:pt x="39831" y="32778"/>
                    <a:pt x="40554" y="21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0" name="Google Shape;1280;p53"/>
            <p:cNvSpPr/>
            <p:nvPr/>
          </p:nvSpPr>
          <p:spPr>
            <a:xfrm>
              <a:off x="11924403" y="6899724"/>
              <a:ext cx="8525" cy="8525"/>
            </a:xfrm>
            <a:custGeom>
              <a:avLst/>
              <a:gdLst/>
              <a:ahLst/>
              <a:cxnLst/>
              <a:rect l="l" t="t" r="r" b="b"/>
              <a:pathLst>
                <a:path w="8525" h="8525" extrusionOk="0">
                  <a:moveTo>
                    <a:pt x="8513" y="4534"/>
                  </a:moveTo>
                  <a:cubicBezTo>
                    <a:pt x="8693" y="2183"/>
                    <a:pt x="6885" y="194"/>
                    <a:pt x="4534" y="12"/>
                  </a:cubicBezTo>
                  <a:cubicBezTo>
                    <a:pt x="2183" y="-169"/>
                    <a:pt x="193" y="1640"/>
                    <a:pt x="12" y="3991"/>
                  </a:cubicBezTo>
                  <a:cubicBezTo>
                    <a:pt x="-168" y="6343"/>
                    <a:pt x="1640" y="8332"/>
                    <a:pt x="3991" y="8513"/>
                  </a:cubicBezTo>
                  <a:cubicBezTo>
                    <a:pt x="6342" y="8694"/>
                    <a:pt x="8332" y="6885"/>
                    <a:pt x="8513" y="45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1" name="Google Shape;1281;p53"/>
            <p:cNvSpPr/>
            <p:nvPr/>
          </p:nvSpPr>
          <p:spPr>
            <a:xfrm>
              <a:off x="11868649" y="5695906"/>
              <a:ext cx="62159" cy="62181"/>
            </a:xfrm>
            <a:custGeom>
              <a:avLst/>
              <a:gdLst/>
              <a:ahLst/>
              <a:cxnLst/>
              <a:rect l="l" t="t" r="r" b="b"/>
              <a:pathLst>
                <a:path w="62159" h="62181" extrusionOk="0">
                  <a:moveTo>
                    <a:pt x="62096" y="33160"/>
                  </a:moveTo>
                  <a:cubicBezTo>
                    <a:pt x="63182" y="15978"/>
                    <a:pt x="50160" y="1329"/>
                    <a:pt x="33160" y="63"/>
                  </a:cubicBezTo>
                  <a:cubicBezTo>
                    <a:pt x="15978" y="-1022"/>
                    <a:pt x="1329" y="11999"/>
                    <a:pt x="63" y="29000"/>
                  </a:cubicBezTo>
                  <a:cubicBezTo>
                    <a:pt x="-1022" y="46181"/>
                    <a:pt x="12000" y="60830"/>
                    <a:pt x="29000" y="62096"/>
                  </a:cubicBezTo>
                  <a:cubicBezTo>
                    <a:pt x="46181" y="63362"/>
                    <a:pt x="61011" y="50341"/>
                    <a:pt x="62096" y="331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2" name="Google Shape;1282;p53"/>
            <p:cNvSpPr/>
            <p:nvPr/>
          </p:nvSpPr>
          <p:spPr>
            <a:xfrm>
              <a:off x="10768381" y="5983335"/>
              <a:ext cx="8886" cy="8874"/>
            </a:xfrm>
            <a:custGeom>
              <a:avLst/>
              <a:gdLst/>
              <a:ahLst/>
              <a:cxnLst/>
              <a:rect l="l" t="t" r="r" b="b"/>
              <a:pathLst>
                <a:path w="8886" h="8874" extrusionOk="0">
                  <a:moveTo>
                    <a:pt x="8874" y="4715"/>
                  </a:moveTo>
                  <a:cubicBezTo>
                    <a:pt x="9055" y="2364"/>
                    <a:pt x="7247" y="193"/>
                    <a:pt x="4715" y="12"/>
                  </a:cubicBezTo>
                  <a:cubicBezTo>
                    <a:pt x="2363" y="-168"/>
                    <a:pt x="193" y="1640"/>
                    <a:pt x="12" y="4172"/>
                  </a:cubicBezTo>
                  <a:cubicBezTo>
                    <a:pt x="-169" y="6523"/>
                    <a:pt x="1640" y="8694"/>
                    <a:pt x="4172" y="8875"/>
                  </a:cubicBezTo>
                  <a:cubicBezTo>
                    <a:pt x="6523" y="8875"/>
                    <a:pt x="8693" y="7066"/>
                    <a:pt x="8874" y="47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3" name="Google Shape;1283;p53"/>
            <p:cNvSpPr/>
            <p:nvPr/>
          </p:nvSpPr>
          <p:spPr>
            <a:xfrm>
              <a:off x="11920772" y="6896093"/>
              <a:ext cx="15967" cy="15967"/>
            </a:xfrm>
            <a:custGeom>
              <a:avLst/>
              <a:gdLst/>
              <a:ahLst/>
              <a:cxnLst/>
              <a:rect l="l" t="t" r="r" b="b"/>
              <a:pathLst>
                <a:path w="15967" h="15967" extrusionOk="0">
                  <a:moveTo>
                    <a:pt x="15941" y="8526"/>
                  </a:moveTo>
                  <a:cubicBezTo>
                    <a:pt x="16303" y="4186"/>
                    <a:pt x="12867" y="207"/>
                    <a:pt x="8526" y="26"/>
                  </a:cubicBezTo>
                  <a:cubicBezTo>
                    <a:pt x="4186" y="-335"/>
                    <a:pt x="207" y="3101"/>
                    <a:pt x="26" y="7441"/>
                  </a:cubicBezTo>
                  <a:cubicBezTo>
                    <a:pt x="-336" y="11782"/>
                    <a:pt x="3101" y="15760"/>
                    <a:pt x="7441" y="15941"/>
                  </a:cubicBezTo>
                  <a:cubicBezTo>
                    <a:pt x="11962" y="16303"/>
                    <a:pt x="15760" y="12867"/>
                    <a:pt x="15941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4" name="Google Shape;1284;p53"/>
            <p:cNvSpPr/>
            <p:nvPr/>
          </p:nvSpPr>
          <p:spPr>
            <a:xfrm>
              <a:off x="12281186" y="6714487"/>
              <a:ext cx="48941" cy="48940"/>
            </a:xfrm>
            <a:custGeom>
              <a:avLst/>
              <a:gdLst/>
              <a:ahLst/>
              <a:cxnLst/>
              <a:rect l="l" t="t" r="r" b="b"/>
              <a:pathLst>
                <a:path w="48941" h="48940" extrusionOk="0">
                  <a:moveTo>
                    <a:pt x="48886" y="26098"/>
                  </a:moveTo>
                  <a:cubicBezTo>
                    <a:pt x="49790" y="12534"/>
                    <a:pt x="39481" y="959"/>
                    <a:pt x="26098" y="55"/>
                  </a:cubicBezTo>
                  <a:cubicBezTo>
                    <a:pt x="12534" y="-849"/>
                    <a:pt x="959" y="9460"/>
                    <a:pt x="55" y="22843"/>
                  </a:cubicBezTo>
                  <a:cubicBezTo>
                    <a:pt x="-849" y="36407"/>
                    <a:pt x="9459" y="47982"/>
                    <a:pt x="22843" y="48886"/>
                  </a:cubicBezTo>
                  <a:cubicBezTo>
                    <a:pt x="36407" y="49790"/>
                    <a:pt x="48163" y="39481"/>
                    <a:pt x="48886" y="260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5" name="Google Shape;1285;p53"/>
            <p:cNvSpPr/>
            <p:nvPr/>
          </p:nvSpPr>
          <p:spPr>
            <a:xfrm>
              <a:off x="11894202" y="5721640"/>
              <a:ext cx="10872" cy="10872"/>
            </a:xfrm>
            <a:custGeom>
              <a:avLst/>
              <a:gdLst/>
              <a:ahLst/>
              <a:cxnLst/>
              <a:rect l="l" t="t" r="r" b="b"/>
              <a:pathLst>
                <a:path w="10872" h="10872" extrusionOk="0">
                  <a:moveTo>
                    <a:pt x="10862" y="5798"/>
                  </a:moveTo>
                  <a:cubicBezTo>
                    <a:pt x="11043" y="2723"/>
                    <a:pt x="8872" y="191"/>
                    <a:pt x="5798" y="11"/>
                  </a:cubicBezTo>
                  <a:cubicBezTo>
                    <a:pt x="2723" y="-170"/>
                    <a:pt x="191" y="2000"/>
                    <a:pt x="11" y="5074"/>
                  </a:cubicBezTo>
                  <a:cubicBezTo>
                    <a:pt x="-170" y="8149"/>
                    <a:pt x="2000" y="10681"/>
                    <a:pt x="5074" y="10862"/>
                  </a:cubicBezTo>
                  <a:cubicBezTo>
                    <a:pt x="8149" y="11043"/>
                    <a:pt x="10681" y="8872"/>
                    <a:pt x="10862" y="57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6" name="Google Shape;1286;p53"/>
            <p:cNvSpPr/>
            <p:nvPr/>
          </p:nvSpPr>
          <p:spPr>
            <a:xfrm>
              <a:off x="12463524" y="5172197"/>
              <a:ext cx="24813" cy="24833"/>
            </a:xfrm>
            <a:custGeom>
              <a:avLst/>
              <a:gdLst/>
              <a:ahLst/>
              <a:cxnLst/>
              <a:rect l="l" t="t" r="r" b="b"/>
              <a:pathLst>
                <a:path w="24813" h="24833" extrusionOk="0">
                  <a:moveTo>
                    <a:pt x="24795" y="13221"/>
                  </a:moveTo>
                  <a:cubicBezTo>
                    <a:pt x="25157" y="6348"/>
                    <a:pt x="20093" y="380"/>
                    <a:pt x="13220" y="18"/>
                  </a:cubicBezTo>
                  <a:cubicBezTo>
                    <a:pt x="6348" y="-344"/>
                    <a:pt x="380" y="4720"/>
                    <a:pt x="18" y="11593"/>
                  </a:cubicBezTo>
                  <a:cubicBezTo>
                    <a:pt x="-344" y="18465"/>
                    <a:pt x="4720" y="24434"/>
                    <a:pt x="11593" y="24795"/>
                  </a:cubicBezTo>
                  <a:cubicBezTo>
                    <a:pt x="18284" y="25338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7" name="Google Shape;1287;p53"/>
            <p:cNvSpPr/>
            <p:nvPr/>
          </p:nvSpPr>
          <p:spPr>
            <a:xfrm>
              <a:off x="11830869" y="2825946"/>
              <a:ext cx="39154" cy="39135"/>
            </a:xfrm>
            <a:custGeom>
              <a:avLst/>
              <a:gdLst/>
              <a:ahLst/>
              <a:cxnLst/>
              <a:rect l="l" t="t" r="r" b="b"/>
              <a:pathLst>
                <a:path w="39154" h="39135" extrusionOk="0">
                  <a:moveTo>
                    <a:pt x="39109" y="20843"/>
                  </a:moveTo>
                  <a:cubicBezTo>
                    <a:pt x="39833" y="9992"/>
                    <a:pt x="31694" y="587"/>
                    <a:pt x="20843" y="45"/>
                  </a:cubicBezTo>
                  <a:cubicBezTo>
                    <a:pt x="9992" y="-679"/>
                    <a:pt x="587" y="7460"/>
                    <a:pt x="45" y="18311"/>
                  </a:cubicBezTo>
                  <a:cubicBezTo>
                    <a:pt x="-679" y="29162"/>
                    <a:pt x="7460" y="38567"/>
                    <a:pt x="18311" y="39109"/>
                  </a:cubicBezTo>
                  <a:cubicBezTo>
                    <a:pt x="29162" y="39652"/>
                    <a:pt x="38386" y="31694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8" name="Google Shape;1288;p53"/>
            <p:cNvSpPr/>
            <p:nvPr/>
          </p:nvSpPr>
          <p:spPr>
            <a:xfrm>
              <a:off x="12187670" y="3138980"/>
              <a:ext cx="55841" cy="55822"/>
            </a:xfrm>
            <a:custGeom>
              <a:avLst/>
              <a:gdLst/>
              <a:ahLst/>
              <a:cxnLst/>
              <a:rect l="l" t="t" r="r" b="b"/>
              <a:pathLst>
                <a:path w="55841" h="55822" extrusionOk="0">
                  <a:moveTo>
                    <a:pt x="55772" y="29730"/>
                  </a:moveTo>
                  <a:cubicBezTo>
                    <a:pt x="56858" y="14357"/>
                    <a:pt x="45102" y="1155"/>
                    <a:pt x="29729" y="69"/>
                  </a:cubicBezTo>
                  <a:cubicBezTo>
                    <a:pt x="14357" y="-1016"/>
                    <a:pt x="1155" y="10740"/>
                    <a:pt x="70" y="26113"/>
                  </a:cubicBezTo>
                  <a:cubicBezTo>
                    <a:pt x="-1016" y="41485"/>
                    <a:pt x="10740" y="54687"/>
                    <a:pt x="26112" y="55773"/>
                  </a:cubicBezTo>
                  <a:cubicBezTo>
                    <a:pt x="41485" y="56677"/>
                    <a:pt x="54687" y="45102"/>
                    <a:pt x="55772" y="297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9" name="Google Shape;1289;p53"/>
            <p:cNvSpPr/>
            <p:nvPr/>
          </p:nvSpPr>
          <p:spPr>
            <a:xfrm>
              <a:off x="8138501" y="5325312"/>
              <a:ext cx="80653" cy="80653"/>
            </a:xfrm>
            <a:custGeom>
              <a:avLst/>
              <a:gdLst/>
              <a:ahLst/>
              <a:cxnLst/>
              <a:rect l="l" t="t" r="r" b="b"/>
              <a:pathLst>
                <a:path w="80653" h="80653" extrusionOk="0">
                  <a:moveTo>
                    <a:pt x="80567" y="42949"/>
                  </a:moveTo>
                  <a:cubicBezTo>
                    <a:pt x="82014" y="20704"/>
                    <a:pt x="65194" y="1534"/>
                    <a:pt x="42949" y="87"/>
                  </a:cubicBezTo>
                  <a:cubicBezTo>
                    <a:pt x="20704" y="-1360"/>
                    <a:pt x="1534" y="15460"/>
                    <a:pt x="87" y="37705"/>
                  </a:cubicBezTo>
                  <a:cubicBezTo>
                    <a:pt x="-1360" y="59950"/>
                    <a:pt x="15459" y="79120"/>
                    <a:pt x="37705" y="80567"/>
                  </a:cubicBezTo>
                  <a:cubicBezTo>
                    <a:pt x="59950" y="82014"/>
                    <a:pt x="79120" y="65194"/>
                    <a:pt x="80567" y="429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0" name="Google Shape;1290;p53"/>
            <p:cNvSpPr/>
            <p:nvPr/>
          </p:nvSpPr>
          <p:spPr>
            <a:xfrm>
              <a:off x="8049711" y="5812001"/>
              <a:ext cx="69421" cy="69421"/>
            </a:xfrm>
            <a:custGeom>
              <a:avLst/>
              <a:gdLst/>
              <a:ahLst/>
              <a:cxnLst/>
              <a:rect l="l" t="t" r="r" b="b"/>
              <a:pathLst>
                <a:path w="69421" h="69421" extrusionOk="0">
                  <a:moveTo>
                    <a:pt x="69344" y="36971"/>
                  </a:moveTo>
                  <a:cubicBezTo>
                    <a:pt x="70610" y="17801"/>
                    <a:pt x="56142" y="1343"/>
                    <a:pt x="36971" y="77"/>
                  </a:cubicBezTo>
                  <a:cubicBezTo>
                    <a:pt x="17801" y="-1189"/>
                    <a:pt x="1343" y="13279"/>
                    <a:pt x="77" y="32450"/>
                  </a:cubicBezTo>
                  <a:cubicBezTo>
                    <a:pt x="-1189" y="51620"/>
                    <a:pt x="13279" y="68078"/>
                    <a:pt x="32450" y="69344"/>
                  </a:cubicBezTo>
                  <a:cubicBezTo>
                    <a:pt x="51621" y="70611"/>
                    <a:pt x="68078" y="56142"/>
                    <a:pt x="69344" y="369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1" name="Google Shape;1291;p53"/>
            <p:cNvSpPr/>
            <p:nvPr/>
          </p:nvSpPr>
          <p:spPr>
            <a:xfrm>
              <a:off x="7773757" y="5442907"/>
              <a:ext cx="36447" cy="36446"/>
            </a:xfrm>
            <a:custGeom>
              <a:avLst/>
              <a:gdLst/>
              <a:ahLst/>
              <a:cxnLst/>
              <a:rect l="l" t="t" r="r" b="b"/>
              <a:pathLst>
                <a:path w="36447" h="36446" extrusionOk="0">
                  <a:moveTo>
                    <a:pt x="36399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452" y="-676"/>
                    <a:pt x="771" y="6920"/>
                    <a:pt x="48" y="17048"/>
                  </a:cubicBezTo>
                  <a:cubicBezTo>
                    <a:pt x="-676" y="26995"/>
                    <a:pt x="6920" y="35676"/>
                    <a:pt x="17048" y="36399"/>
                  </a:cubicBezTo>
                  <a:cubicBezTo>
                    <a:pt x="27176" y="37123"/>
                    <a:pt x="35857" y="29527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2" name="Google Shape;1292;p53"/>
            <p:cNvSpPr/>
            <p:nvPr/>
          </p:nvSpPr>
          <p:spPr>
            <a:xfrm>
              <a:off x="8165679" y="5352670"/>
              <a:ext cx="25936" cy="25917"/>
            </a:xfrm>
            <a:custGeom>
              <a:avLst/>
              <a:gdLst/>
              <a:ahLst/>
              <a:cxnLst/>
              <a:rect l="l" t="t" r="r" b="b"/>
              <a:pathLst>
                <a:path w="25936" h="25917" extrusionOk="0">
                  <a:moveTo>
                    <a:pt x="25900" y="13783"/>
                  </a:moveTo>
                  <a:cubicBezTo>
                    <a:pt x="26442" y="6729"/>
                    <a:pt x="21017" y="580"/>
                    <a:pt x="13782" y="37"/>
                  </a:cubicBezTo>
                  <a:cubicBezTo>
                    <a:pt x="6729" y="-505"/>
                    <a:pt x="580" y="4921"/>
                    <a:pt x="37" y="12155"/>
                  </a:cubicBezTo>
                  <a:cubicBezTo>
                    <a:pt x="-505" y="19208"/>
                    <a:pt x="4920" y="25357"/>
                    <a:pt x="12155" y="25900"/>
                  </a:cubicBezTo>
                  <a:cubicBezTo>
                    <a:pt x="19389" y="26262"/>
                    <a:pt x="25538" y="21017"/>
                    <a:pt x="25900" y="137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3" name="Google Shape;1293;p53"/>
            <p:cNvSpPr/>
            <p:nvPr/>
          </p:nvSpPr>
          <p:spPr>
            <a:xfrm>
              <a:off x="8132938" y="4901614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2"/>
                    <a:pt x="32958" y="766"/>
                    <a:pt x="21746" y="43"/>
                  </a:cubicBezTo>
                  <a:cubicBezTo>
                    <a:pt x="10533" y="-681"/>
                    <a:pt x="766" y="7820"/>
                    <a:pt x="43" y="19032"/>
                  </a:cubicBezTo>
                  <a:cubicBezTo>
                    <a:pt x="-680" y="30246"/>
                    <a:pt x="7820" y="40012"/>
                    <a:pt x="19033" y="40735"/>
                  </a:cubicBezTo>
                  <a:cubicBezTo>
                    <a:pt x="30427" y="41459"/>
                    <a:pt x="40012" y="32958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4" name="Google Shape;1294;p53"/>
            <p:cNvSpPr/>
            <p:nvPr/>
          </p:nvSpPr>
          <p:spPr>
            <a:xfrm>
              <a:off x="7770689" y="5439838"/>
              <a:ext cx="42583" cy="42583"/>
            </a:xfrm>
            <a:custGeom>
              <a:avLst/>
              <a:gdLst/>
              <a:ahLst/>
              <a:cxnLst/>
              <a:rect l="l" t="t" r="r" b="b"/>
              <a:pathLst>
                <a:path w="42583" h="42583" extrusionOk="0">
                  <a:moveTo>
                    <a:pt x="42542" y="22648"/>
                  </a:moveTo>
                  <a:cubicBezTo>
                    <a:pt x="43266" y="10893"/>
                    <a:pt x="34404" y="765"/>
                    <a:pt x="22648" y="41"/>
                  </a:cubicBezTo>
                  <a:cubicBezTo>
                    <a:pt x="10893" y="-682"/>
                    <a:pt x="765" y="8180"/>
                    <a:pt x="41" y="19935"/>
                  </a:cubicBezTo>
                  <a:cubicBezTo>
                    <a:pt x="-682" y="31691"/>
                    <a:pt x="8180" y="41819"/>
                    <a:pt x="19935" y="42542"/>
                  </a:cubicBezTo>
                  <a:cubicBezTo>
                    <a:pt x="31691" y="43266"/>
                    <a:pt x="41819" y="34404"/>
                    <a:pt x="42542" y="2264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5" name="Google Shape;1295;p53"/>
            <p:cNvSpPr/>
            <p:nvPr/>
          </p:nvSpPr>
          <p:spPr>
            <a:xfrm rot="-4644878">
              <a:off x="11296721" y="4960603"/>
              <a:ext cx="61130" cy="61130"/>
            </a:xfrm>
            <a:custGeom>
              <a:avLst/>
              <a:gdLst/>
              <a:ahLst/>
              <a:cxnLst/>
              <a:rect l="l" t="t" r="r" b="b"/>
              <a:pathLst>
                <a:path w="61130" h="61130" extrusionOk="0">
                  <a:moveTo>
                    <a:pt x="61131" y="30565"/>
                  </a:moveTo>
                  <a:cubicBezTo>
                    <a:pt x="61131" y="47446"/>
                    <a:pt x="47446" y="61131"/>
                    <a:pt x="30565" y="61131"/>
                  </a:cubicBezTo>
                  <a:cubicBezTo>
                    <a:pt x="13685" y="61131"/>
                    <a:pt x="0" y="47446"/>
                    <a:pt x="0" y="30565"/>
                  </a:cubicBezTo>
                  <a:cubicBezTo>
                    <a:pt x="0" y="13685"/>
                    <a:pt x="13685" y="0"/>
                    <a:pt x="30565" y="0"/>
                  </a:cubicBezTo>
                  <a:cubicBezTo>
                    <a:pt x="47446" y="0"/>
                    <a:pt x="61131" y="13685"/>
                    <a:pt x="61131" y="30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6" name="Google Shape;1296;p53"/>
            <p:cNvSpPr/>
            <p:nvPr/>
          </p:nvSpPr>
          <p:spPr>
            <a:xfrm>
              <a:off x="11826898" y="5138721"/>
              <a:ext cx="26296" cy="26277"/>
            </a:xfrm>
            <a:custGeom>
              <a:avLst/>
              <a:gdLst/>
              <a:ahLst/>
              <a:cxnLst/>
              <a:rect l="l" t="t" r="r" b="b"/>
              <a:pathLst>
                <a:path w="26296" h="26277" extrusionOk="0">
                  <a:moveTo>
                    <a:pt x="26260" y="13962"/>
                  </a:moveTo>
                  <a:cubicBezTo>
                    <a:pt x="26803" y="6728"/>
                    <a:pt x="21196" y="398"/>
                    <a:pt x="13962" y="36"/>
                  </a:cubicBezTo>
                  <a:cubicBezTo>
                    <a:pt x="6728" y="-506"/>
                    <a:pt x="398" y="5100"/>
                    <a:pt x="36" y="12334"/>
                  </a:cubicBezTo>
                  <a:cubicBezTo>
                    <a:pt x="-506" y="19568"/>
                    <a:pt x="5100" y="25898"/>
                    <a:pt x="12334" y="26260"/>
                  </a:cubicBezTo>
                  <a:cubicBezTo>
                    <a:pt x="19569" y="26622"/>
                    <a:pt x="25718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7" name="Google Shape;1297;p53"/>
            <p:cNvSpPr/>
            <p:nvPr/>
          </p:nvSpPr>
          <p:spPr>
            <a:xfrm>
              <a:off x="11215445" y="5297165"/>
              <a:ext cx="21743" cy="21743"/>
            </a:xfrm>
            <a:custGeom>
              <a:avLst/>
              <a:gdLst/>
              <a:ahLst/>
              <a:cxnLst/>
              <a:rect l="l" t="t" r="r" b="b"/>
              <a:pathLst>
                <a:path w="21743" h="21743" extrusionOk="0">
                  <a:moveTo>
                    <a:pt x="21723" y="11595"/>
                  </a:moveTo>
                  <a:cubicBezTo>
                    <a:pt x="22085" y="5627"/>
                    <a:pt x="17563" y="382"/>
                    <a:pt x="11595" y="20"/>
                  </a:cubicBezTo>
                  <a:cubicBezTo>
                    <a:pt x="5627" y="-342"/>
                    <a:pt x="382" y="4180"/>
                    <a:pt x="20" y="10148"/>
                  </a:cubicBezTo>
                  <a:cubicBezTo>
                    <a:pt x="-342" y="16116"/>
                    <a:pt x="4180" y="21361"/>
                    <a:pt x="10148" y="21723"/>
                  </a:cubicBezTo>
                  <a:cubicBezTo>
                    <a:pt x="16116" y="22085"/>
                    <a:pt x="21180" y="17563"/>
                    <a:pt x="21723" y="1159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8" name="Google Shape;1298;p53"/>
            <p:cNvSpPr/>
            <p:nvPr/>
          </p:nvSpPr>
          <p:spPr>
            <a:xfrm>
              <a:off x="11365161" y="4188134"/>
              <a:ext cx="53455" cy="53455"/>
            </a:xfrm>
            <a:custGeom>
              <a:avLst/>
              <a:gdLst/>
              <a:ahLst/>
              <a:cxnLst/>
              <a:rect l="l" t="t" r="r" b="b"/>
              <a:pathLst>
                <a:path w="53455" h="53455" extrusionOk="0">
                  <a:moveTo>
                    <a:pt x="53404" y="28446"/>
                  </a:moveTo>
                  <a:cubicBezTo>
                    <a:pt x="54308" y="13797"/>
                    <a:pt x="43276" y="956"/>
                    <a:pt x="28446" y="52"/>
                  </a:cubicBezTo>
                  <a:cubicBezTo>
                    <a:pt x="13797" y="-852"/>
                    <a:pt x="956" y="10180"/>
                    <a:pt x="52" y="25010"/>
                  </a:cubicBezTo>
                  <a:cubicBezTo>
                    <a:pt x="-852" y="39659"/>
                    <a:pt x="10180" y="52500"/>
                    <a:pt x="25010" y="53404"/>
                  </a:cubicBezTo>
                  <a:cubicBezTo>
                    <a:pt x="39840" y="54308"/>
                    <a:pt x="52500" y="43276"/>
                    <a:pt x="53404" y="2844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9" name="Google Shape;1299;p53"/>
            <p:cNvSpPr/>
            <p:nvPr/>
          </p:nvSpPr>
          <p:spPr>
            <a:xfrm>
              <a:off x="12272838" y="3881554"/>
              <a:ext cx="84264" cy="84264"/>
            </a:xfrm>
            <a:custGeom>
              <a:avLst/>
              <a:gdLst/>
              <a:ahLst/>
              <a:cxnLst/>
              <a:rect l="l" t="t" r="r" b="b"/>
              <a:pathLst>
                <a:path w="84264" h="84264" extrusionOk="0">
                  <a:moveTo>
                    <a:pt x="84181" y="44935"/>
                  </a:moveTo>
                  <a:cubicBezTo>
                    <a:pt x="85627" y="21786"/>
                    <a:pt x="68084" y="1711"/>
                    <a:pt x="44935" y="83"/>
                  </a:cubicBezTo>
                  <a:cubicBezTo>
                    <a:pt x="21786" y="-1363"/>
                    <a:pt x="1711" y="16179"/>
                    <a:pt x="83" y="39329"/>
                  </a:cubicBezTo>
                  <a:cubicBezTo>
                    <a:pt x="-1364" y="62478"/>
                    <a:pt x="16179" y="82553"/>
                    <a:pt x="39329" y="84181"/>
                  </a:cubicBezTo>
                  <a:cubicBezTo>
                    <a:pt x="62478" y="85628"/>
                    <a:pt x="82553" y="68085"/>
                    <a:pt x="84181" y="449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0" name="Google Shape;1300;p53"/>
            <p:cNvSpPr/>
            <p:nvPr/>
          </p:nvSpPr>
          <p:spPr>
            <a:xfrm>
              <a:off x="11580754" y="4269172"/>
              <a:ext cx="25575" cy="25555"/>
            </a:xfrm>
            <a:custGeom>
              <a:avLst/>
              <a:gdLst/>
              <a:ahLst/>
              <a:cxnLst/>
              <a:rect l="l" t="t" r="r" b="b"/>
              <a:pathLst>
                <a:path w="25575" h="25555" extrusionOk="0">
                  <a:moveTo>
                    <a:pt x="25538" y="13601"/>
                  </a:moveTo>
                  <a:cubicBezTo>
                    <a:pt x="26081" y="6548"/>
                    <a:pt x="20655" y="399"/>
                    <a:pt x="13601" y="37"/>
                  </a:cubicBezTo>
                  <a:cubicBezTo>
                    <a:pt x="6548" y="-505"/>
                    <a:pt x="399" y="4920"/>
                    <a:pt x="37" y="11974"/>
                  </a:cubicBezTo>
                  <a:cubicBezTo>
                    <a:pt x="-505" y="19027"/>
                    <a:pt x="4921" y="25176"/>
                    <a:pt x="11974" y="25538"/>
                  </a:cubicBezTo>
                  <a:cubicBezTo>
                    <a:pt x="19027" y="25899"/>
                    <a:pt x="25176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1" name="Google Shape;1301;p53"/>
            <p:cNvSpPr/>
            <p:nvPr/>
          </p:nvSpPr>
          <p:spPr>
            <a:xfrm>
              <a:off x="10656401" y="4988786"/>
              <a:ext cx="40235" cy="40259"/>
            </a:xfrm>
            <a:custGeom>
              <a:avLst/>
              <a:gdLst/>
              <a:ahLst/>
              <a:cxnLst/>
              <a:rect l="l" t="t" r="r" b="b"/>
              <a:pathLst>
                <a:path w="40235" h="40259" extrusionOk="0">
                  <a:moveTo>
                    <a:pt x="40193" y="21565"/>
                  </a:moveTo>
                  <a:cubicBezTo>
                    <a:pt x="40916" y="10533"/>
                    <a:pt x="32416" y="947"/>
                    <a:pt x="21384" y="43"/>
                  </a:cubicBezTo>
                  <a:cubicBezTo>
                    <a:pt x="10352" y="-680"/>
                    <a:pt x="766" y="7820"/>
                    <a:pt x="43" y="18852"/>
                  </a:cubicBezTo>
                  <a:cubicBezTo>
                    <a:pt x="-681" y="29884"/>
                    <a:pt x="7820" y="39469"/>
                    <a:pt x="18852" y="40193"/>
                  </a:cubicBezTo>
                  <a:cubicBezTo>
                    <a:pt x="29884" y="41097"/>
                    <a:pt x="39469" y="32778"/>
                    <a:pt x="40193" y="21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2" name="Google Shape;1302;p53"/>
            <p:cNvSpPr/>
            <p:nvPr/>
          </p:nvSpPr>
          <p:spPr>
            <a:xfrm>
              <a:off x="10438972" y="5302164"/>
              <a:ext cx="82278" cy="82299"/>
            </a:xfrm>
            <a:custGeom>
              <a:avLst/>
              <a:gdLst/>
              <a:ahLst/>
              <a:cxnLst/>
              <a:rect l="l" t="t" r="r" b="b"/>
              <a:pathLst>
                <a:path w="82278" h="82299" extrusionOk="0">
                  <a:moveTo>
                    <a:pt x="82193" y="43852"/>
                  </a:moveTo>
                  <a:cubicBezTo>
                    <a:pt x="83640" y="21245"/>
                    <a:pt x="66459" y="1532"/>
                    <a:pt x="43852" y="85"/>
                  </a:cubicBezTo>
                  <a:cubicBezTo>
                    <a:pt x="21245" y="-1362"/>
                    <a:pt x="1532" y="15819"/>
                    <a:pt x="85" y="38426"/>
                  </a:cubicBezTo>
                  <a:cubicBezTo>
                    <a:pt x="-1362" y="61033"/>
                    <a:pt x="15820" y="80746"/>
                    <a:pt x="38426" y="82193"/>
                  </a:cubicBezTo>
                  <a:cubicBezTo>
                    <a:pt x="61214" y="83821"/>
                    <a:pt x="80746" y="66639"/>
                    <a:pt x="82193" y="4385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3" name="Google Shape;1303;p53"/>
            <p:cNvSpPr/>
            <p:nvPr/>
          </p:nvSpPr>
          <p:spPr>
            <a:xfrm>
              <a:off x="10400696" y="4885722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6"/>
                  </a:cubicBezTo>
                  <a:cubicBezTo>
                    <a:pt x="16839" y="22807"/>
                    <a:pt x="22084" y="18105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4" name="Google Shape;1304;p53"/>
            <p:cNvSpPr/>
            <p:nvPr/>
          </p:nvSpPr>
          <p:spPr>
            <a:xfrm>
              <a:off x="10648979" y="4981544"/>
              <a:ext cx="55080" cy="55080"/>
            </a:xfrm>
            <a:custGeom>
              <a:avLst/>
              <a:gdLst/>
              <a:ahLst/>
              <a:cxnLst/>
              <a:rect l="l" t="t" r="r" b="b"/>
              <a:pathLst>
                <a:path w="55080" h="55080" extrusionOk="0">
                  <a:moveTo>
                    <a:pt x="55030" y="29349"/>
                  </a:moveTo>
                  <a:cubicBezTo>
                    <a:pt x="55934" y="14157"/>
                    <a:pt x="44541" y="954"/>
                    <a:pt x="29349" y="50"/>
                  </a:cubicBezTo>
                  <a:cubicBezTo>
                    <a:pt x="14157" y="-854"/>
                    <a:pt x="955" y="10540"/>
                    <a:pt x="50" y="25732"/>
                  </a:cubicBezTo>
                  <a:cubicBezTo>
                    <a:pt x="-854" y="40923"/>
                    <a:pt x="10540" y="54126"/>
                    <a:pt x="25732" y="55030"/>
                  </a:cubicBezTo>
                  <a:cubicBezTo>
                    <a:pt x="40924" y="55934"/>
                    <a:pt x="53945" y="44540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5" name="Google Shape;1305;p53"/>
            <p:cNvSpPr/>
            <p:nvPr/>
          </p:nvSpPr>
          <p:spPr>
            <a:xfrm>
              <a:off x="10902298" y="5462016"/>
              <a:ext cx="100410" cy="100410"/>
            </a:xfrm>
            <a:custGeom>
              <a:avLst/>
              <a:gdLst/>
              <a:ahLst/>
              <a:cxnLst/>
              <a:rect l="l" t="t" r="r" b="b"/>
              <a:pathLst>
                <a:path w="100410" h="100410" extrusionOk="0">
                  <a:moveTo>
                    <a:pt x="100302" y="53461"/>
                  </a:moveTo>
                  <a:cubicBezTo>
                    <a:pt x="102111" y="25790"/>
                    <a:pt x="81131" y="1917"/>
                    <a:pt x="53461" y="109"/>
                  </a:cubicBezTo>
                  <a:cubicBezTo>
                    <a:pt x="25790" y="-1700"/>
                    <a:pt x="1917" y="19279"/>
                    <a:pt x="109" y="46950"/>
                  </a:cubicBezTo>
                  <a:cubicBezTo>
                    <a:pt x="-1700" y="74621"/>
                    <a:pt x="19279" y="98494"/>
                    <a:pt x="46950" y="100302"/>
                  </a:cubicBezTo>
                  <a:cubicBezTo>
                    <a:pt x="74621" y="102111"/>
                    <a:pt x="98493" y="81131"/>
                    <a:pt x="100302" y="5346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6" name="Google Shape;1306;p53"/>
            <p:cNvSpPr/>
            <p:nvPr/>
          </p:nvSpPr>
          <p:spPr>
            <a:xfrm>
              <a:off x="10466331" y="5329523"/>
              <a:ext cx="27560" cy="27560"/>
            </a:xfrm>
            <a:custGeom>
              <a:avLst/>
              <a:gdLst/>
              <a:ahLst/>
              <a:cxnLst/>
              <a:rect l="l" t="t" r="r" b="b"/>
              <a:pathLst>
                <a:path w="27560" h="27560" extrusionOk="0">
                  <a:moveTo>
                    <a:pt x="27525" y="14684"/>
                  </a:moveTo>
                  <a:cubicBezTo>
                    <a:pt x="28068" y="7089"/>
                    <a:pt x="22280" y="578"/>
                    <a:pt x="14684" y="35"/>
                  </a:cubicBezTo>
                  <a:cubicBezTo>
                    <a:pt x="7089" y="-507"/>
                    <a:pt x="578" y="5280"/>
                    <a:pt x="35" y="12876"/>
                  </a:cubicBezTo>
                  <a:cubicBezTo>
                    <a:pt x="-508" y="20472"/>
                    <a:pt x="5280" y="26983"/>
                    <a:pt x="12876" y="27525"/>
                  </a:cubicBezTo>
                  <a:cubicBezTo>
                    <a:pt x="20472" y="28068"/>
                    <a:pt x="26982" y="22281"/>
                    <a:pt x="27525" y="146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7" name="Google Shape;1307;p53"/>
            <p:cNvSpPr/>
            <p:nvPr/>
          </p:nvSpPr>
          <p:spPr>
            <a:xfrm>
              <a:off x="10666189" y="4998755"/>
              <a:ext cx="20659" cy="20659"/>
            </a:xfrm>
            <a:custGeom>
              <a:avLst/>
              <a:gdLst/>
              <a:ahLst/>
              <a:cxnLst/>
              <a:rect l="l" t="t" r="r" b="b"/>
              <a:pathLst>
                <a:path w="20659" h="20659" extrusionOk="0">
                  <a:moveTo>
                    <a:pt x="20638" y="11053"/>
                  </a:moveTo>
                  <a:cubicBezTo>
                    <a:pt x="21000" y="5266"/>
                    <a:pt x="16660" y="383"/>
                    <a:pt x="11053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0" y="15394"/>
                    <a:pt x="4000" y="20277"/>
                    <a:pt x="9606" y="20638"/>
                  </a:cubicBezTo>
                  <a:cubicBezTo>
                    <a:pt x="15394" y="21000"/>
                    <a:pt x="20277" y="16660"/>
                    <a:pt x="20638" y="1105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8" name="Google Shape;1308;p53"/>
            <p:cNvSpPr/>
            <p:nvPr/>
          </p:nvSpPr>
          <p:spPr>
            <a:xfrm>
              <a:off x="11203671" y="5285391"/>
              <a:ext cx="45111" cy="45132"/>
            </a:xfrm>
            <a:custGeom>
              <a:avLst/>
              <a:gdLst/>
              <a:ahLst/>
              <a:cxnLst/>
              <a:rect l="l" t="t" r="r" b="b"/>
              <a:pathLst>
                <a:path w="45111" h="45132" extrusionOk="0">
                  <a:moveTo>
                    <a:pt x="45072" y="24093"/>
                  </a:moveTo>
                  <a:cubicBezTo>
                    <a:pt x="45795" y="11614"/>
                    <a:pt x="36391" y="943"/>
                    <a:pt x="24093" y="39"/>
                  </a:cubicBezTo>
                  <a:cubicBezTo>
                    <a:pt x="11614" y="-684"/>
                    <a:pt x="943" y="8720"/>
                    <a:pt x="39" y="21018"/>
                  </a:cubicBezTo>
                  <a:cubicBezTo>
                    <a:pt x="-684" y="33497"/>
                    <a:pt x="8720" y="44168"/>
                    <a:pt x="21018" y="45072"/>
                  </a:cubicBezTo>
                  <a:cubicBezTo>
                    <a:pt x="33497" y="45976"/>
                    <a:pt x="44348" y="36572"/>
                    <a:pt x="45072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9" name="Google Shape;1309;p53"/>
            <p:cNvSpPr/>
            <p:nvPr/>
          </p:nvSpPr>
          <p:spPr>
            <a:xfrm>
              <a:off x="10916799" y="5476518"/>
              <a:ext cx="71407" cy="71406"/>
            </a:xfrm>
            <a:custGeom>
              <a:avLst/>
              <a:gdLst/>
              <a:ahLst/>
              <a:cxnLst/>
              <a:rect l="l" t="t" r="r" b="b"/>
              <a:pathLst>
                <a:path w="71407" h="71406" extrusionOk="0">
                  <a:moveTo>
                    <a:pt x="71332" y="38055"/>
                  </a:moveTo>
                  <a:cubicBezTo>
                    <a:pt x="72598" y="18342"/>
                    <a:pt x="57768" y="1342"/>
                    <a:pt x="38055" y="75"/>
                  </a:cubicBezTo>
                  <a:cubicBezTo>
                    <a:pt x="18342" y="-1191"/>
                    <a:pt x="1341" y="13639"/>
                    <a:pt x="75" y="33353"/>
                  </a:cubicBezTo>
                  <a:cubicBezTo>
                    <a:pt x="-1190" y="53066"/>
                    <a:pt x="13639" y="70066"/>
                    <a:pt x="33353" y="71332"/>
                  </a:cubicBezTo>
                  <a:cubicBezTo>
                    <a:pt x="53066" y="72598"/>
                    <a:pt x="70066" y="57587"/>
                    <a:pt x="71332" y="380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0" name="Google Shape;1310;p53"/>
            <p:cNvSpPr/>
            <p:nvPr/>
          </p:nvSpPr>
          <p:spPr>
            <a:xfrm>
              <a:off x="10667633" y="5000199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385"/>
                    <a:pt x="9428" y="24"/>
                  </a:cubicBezTo>
                  <a:cubicBezTo>
                    <a:pt x="4545" y="-338"/>
                    <a:pt x="386" y="3460"/>
                    <a:pt x="24" y="8343"/>
                  </a:cubicBezTo>
                  <a:cubicBezTo>
                    <a:pt x="-338" y="13226"/>
                    <a:pt x="3460" y="17386"/>
                    <a:pt x="8343" y="17748"/>
                  </a:cubicBezTo>
                  <a:cubicBezTo>
                    <a:pt x="13226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1" name="Google Shape;1311;p53"/>
            <p:cNvSpPr/>
            <p:nvPr/>
          </p:nvSpPr>
          <p:spPr>
            <a:xfrm>
              <a:off x="11296063" y="4960371"/>
              <a:ext cx="61618" cy="61618"/>
            </a:xfrm>
            <a:custGeom>
              <a:avLst/>
              <a:gdLst/>
              <a:ahLst/>
              <a:cxnLst/>
              <a:rect l="l" t="t" r="r" b="b"/>
              <a:pathLst>
                <a:path w="61618" h="61618" extrusionOk="0">
                  <a:moveTo>
                    <a:pt x="61555" y="32799"/>
                  </a:moveTo>
                  <a:cubicBezTo>
                    <a:pt x="62640" y="15798"/>
                    <a:pt x="49799" y="1149"/>
                    <a:pt x="32799" y="64"/>
                  </a:cubicBezTo>
                  <a:cubicBezTo>
                    <a:pt x="15799" y="-1021"/>
                    <a:pt x="1149" y="11819"/>
                    <a:pt x="64" y="28820"/>
                  </a:cubicBezTo>
                  <a:cubicBezTo>
                    <a:pt x="-1021" y="45820"/>
                    <a:pt x="11820" y="60469"/>
                    <a:pt x="28820" y="61554"/>
                  </a:cubicBezTo>
                  <a:cubicBezTo>
                    <a:pt x="45820" y="62640"/>
                    <a:pt x="60469" y="49799"/>
                    <a:pt x="61555" y="327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2" name="Google Shape;1312;p53"/>
            <p:cNvSpPr/>
            <p:nvPr/>
          </p:nvSpPr>
          <p:spPr>
            <a:xfrm>
              <a:off x="11215445" y="5297165"/>
              <a:ext cx="21382" cy="21382"/>
            </a:xfrm>
            <a:custGeom>
              <a:avLst/>
              <a:gdLst/>
              <a:ahLst/>
              <a:cxnLst/>
              <a:rect l="l" t="t" r="r" b="b"/>
              <a:pathLst>
                <a:path w="21382" h="21382" extrusionOk="0">
                  <a:moveTo>
                    <a:pt x="21362" y="11415"/>
                  </a:moveTo>
                  <a:cubicBezTo>
                    <a:pt x="21724" y="5627"/>
                    <a:pt x="17383" y="564"/>
                    <a:pt x="11415" y="21"/>
                  </a:cubicBezTo>
                  <a:cubicBezTo>
                    <a:pt x="5627" y="-341"/>
                    <a:pt x="564" y="4000"/>
                    <a:pt x="21" y="9968"/>
                  </a:cubicBezTo>
                  <a:cubicBezTo>
                    <a:pt x="-341" y="15755"/>
                    <a:pt x="4000" y="20819"/>
                    <a:pt x="9968" y="21362"/>
                  </a:cubicBezTo>
                  <a:cubicBezTo>
                    <a:pt x="15936" y="21724"/>
                    <a:pt x="21000" y="17383"/>
                    <a:pt x="21362" y="114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3" name="Google Shape;1313;p53"/>
            <p:cNvSpPr/>
            <p:nvPr/>
          </p:nvSpPr>
          <p:spPr>
            <a:xfrm>
              <a:off x="8483773" y="5157138"/>
              <a:ext cx="59813" cy="59813"/>
            </a:xfrm>
            <a:custGeom>
              <a:avLst/>
              <a:gdLst/>
              <a:ahLst/>
              <a:cxnLst/>
              <a:rect l="l" t="t" r="r" b="b"/>
              <a:pathLst>
                <a:path w="59813" h="59813" extrusionOk="0">
                  <a:moveTo>
                    <a:pt x="59748" y="31896"/>
                  </a:moveTo>
                  <a:cubicBezTo>
                    <a:pt x="60833" y="15438"/>
                    <a:pt x="48354" y="1151"/>
                    <a:pt x="31896" y="66"/>
                  </a:cubicBezTo>
                  <a:cubicBezTo>
                    <a:pt x="15438" y="-1019"/>
                    <a:pt x="1151" y="11460"/>
                    <a:pt x="66" y="27917"/>
                  </a:cubicBezTo>
                  <a:cubicBezTo>
                    <a:pt x="-1019" y="44375"/>
                    <a:pt x="11460" y="58663"/>
                    <a:pt x="27917" y="59748"/>
                  </a:cubicBezTo>
                  <a:cubicBezTo>
                    <a:pt x="44375" y="60833"/>
                    <a:pt x="58663" y="48354"/>
                    <a:pt x="59748" y="318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4" name="Google Shape;1314;p53"/>
            <p:cNvSpPr/>
            <p:nvPr/>
          </p:nvSpPr>
          <p:spPr>
            <a:xfrm>
              <a:off x="8137057" y="5324049"/>
              <a:ext cx="83361" cy="83361"/>
            </a:xfrm>
            <a:custGeom>
              <a:avLst/>
              <a:gdLst/>
              <a:ahLst/>
              <a:cxnLst/>
              <a:rect l="l" t="t" r="r" b="b"/>
              <a:pathLst>
                <a:path w="83361" h="83361" extrusionOk="0">
                  <a:moveTo>
                    <a:pt x="83277" y="44394"/>
                  </a:moveTo>
                  <a:cubicBezTo>
                    <a:pt x="84724" y="21425"/>
                    <a:pt x="67362" y="1531"/>
                    <a:pt x="44394" y="84"/>
                  </a:cubicBezTo>
                  <a:cubicBezTo>
                    <a:pt x="21425" y="-1363"/>
                    <a:pt x="1531" y="15999"/>
                    <a:pt x="84" y="38968"/>
                  </a:cubicBezTo>
                  <a:cubicBezTo>
                    <a:pt x="-1363" y="61936"/>
                    <a:pt x="15999" y="81830"/>
                    <a:pt x="38968" y="83277"/>
                  </a:cubicBezTo>
                  <a:cubicBezTo>
                    <a:pt x="61937" y="84724"/>
                    <a:pt x="81830" y="67362"/>
                    <a:pt x="83277" y="443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5" name="Google Shape;1315;p53"/>
            <p:cNvSpPr/>
            <p:nvPr/>
          </p:nvSpPr>
          <p:spPr>
            <a:xfrm>
              <a:off x="8131856" y="4900350"/>
              <a:ext cx="43124" cy="43146"/>
            </a:xfrm>
            <a:custGeom>
              <a:avLst/>
              <a:gdLst/>
              <a:ahLst/>
              <a:cxnLst/>
              <a:rect l="l" t="t" r="r" b="b"/>
              <a:pathLst>
                <a:path w="43124" h="43146" extrusionOk="0">
                  <a:moveTo>
                    <a:pt x="43084" y="23009"/>
                  </a:moveTo>
                  <a:cubicBezTo>
                    <a:pt x="43807" y="11073"/>
                    <a:pt x="34765" y="764"/>
                    <a:pt x="23009" y="41"/>
                  </a:cubicBezTo>
                  <a:cubicBezTo>
                    <a:pt x="11073" y="-683"/>
                    <a:pt x="764" y="8360"/>
                    <a:pt x="41" y="20115"/>
                  </a:cubicBezTo>
                  <a:cubicBezTo>
                    <a:pt x="-683" y="32052"/>
                    <a:pt x="8360" y="42360"/>
                    <a:pt x="20115" y="43084"/>
                  </a:cubicBezTo>
                  <a:cubicBezTo>
                    <a:pt x="32052" y="43988"/>
                    <a:pt x="42361" y="34946"/>
                    <a:pt x="43084" y="230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6" name="Google Shape;1316;p53"/>
            <p:cNvSpPr/>
            <p:nvPr/>
          </p:nvSpPr>
          <p:spPr>
            <a:xfrm>
              <a:off x="10216406" y="3545591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5"/>
                  </a:cubicBezTo>
                  <a:cubicBezTo>
                    <a:pt x="16839" y="22807"/>
                    <a:pt x="22084" y="18105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7" name="Google Shape;1317;p53"/>
            <p:cNvSpPr/>
            <p:nvPr/>
          </p:nvSpPr>
          <p:spPr>
            <a:xfrm>
              <a:off x="7875213" y="4712794"/>
              <a:ext cx="53815" cy="53815"/>
            </a:xfrm>
            <a:custGeom>
              <a:avLst/>
              <a:gdLst/>
              <a:ahLst/>
              <a:cxnLst/>
              <a:rect l="l" t="t" r="r" b="b"/>
              <a:pathLst>
                <a:path w="53815" h="53815" extrusionOk="0">
                  <a:moveTo>
                    <a:pt x="53765" y="28626"/>
                  </a:moveTo>
                  <a:cubicBezTo>
                    <a:pt x="54669" y="13796"/>
                    <a:pt x="43456" y="955"/>
                    <a:pt x="28626" y="51"/>
                  </a:cubicBezTo>
                  <a:cubicBezTo>
                    <a:pt x="13796" y="-853"/>
                    <a:pt x="955" y="10360"/>
                    <a:pt x="51" y="25190"/>
                  </a:cubicBezTo>
                  <a:cubicBezTo>
                    <a:pt x="-853" y="40020"/>
                    <a:pt x="10360" y="52861"/>
                    <a:pt x="25190" y="53765"/>
                  </a:cubicBezTo>
                  <a:cubicBezTo>
                    <a:pt x="40020" y="54669"/>
                    <a:pt x="52680" y="43456"/>
                    <a:pt x="53765" y="286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8" name="Google Shape;1318;p53"/>
            <p:cNvSpPr/>
            <p:nvPr/>
          </p:nvSpPr>
          <p:spPr>
            <a:xfrm>
              <a:off x="8338184" y="4424134"/>
              <a:ext cx="57827" cy="57827"/>
            </a:xfrm>
            <a:custGeom>
              <a:avLst/>
              <a:gdLst/>
              <a:ahLst/>
              <a:cxnLst/>
              <a:rect l="l" t="t" r="r" b="b"/>
              <a:pathLst>
                <a:path w="57827" h="57827" extrusionOk="0">
                  <a:moveTo>
                    <a:pt x="57760" y="30813"/>
                  </a:moveTo>
                  <a:cubicBezTo>
                    <a:pt x="58845" y="14898"/>
                    <a:pt x="46728" y="1153"/>
                    <a:pt x="30813" y="68"/>
                  </a:cubicBezTo>
                  <a:cubicBezTo>
                    <a:pt x="14898" y="-1018"/>
                    <a:pt x="1153" y="11100"/>
                    <a:pt x="68" y="27015"/>
                  </a:cubicBezTo>
                  <a:cubicBezTo>
                    <a:pt x="-1018" y="42930"/>
                    <a:pt x="11100" y="56675"/>
                    <a:pt x="27015" y="57760"/>
                  </a:cubicBezTo>
                  <a:cubicBezTo>
                    <a:pt x="42930" y="58845"/>
                    <a:pt x="56675" y="46728"/>
                    <a:pt x="57760" y="30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9" name="Google Shape;1319;p53"/>
            <p:cNvSpPr/>
            <p:nvPr/>
          </p:nvSpPr>
          <p:spPr>
            <a:xfrm>
              <a:off x="7569506" y="4494079"/>
              <a:ext cx="96079" cy="96058"/>
            </a:xfrm>
            <a:custGeom>
              <a:avLst/>
              <a:gdLst/>
              <a:ahLst/>
              <a:cxnLst/>
              <a:rect l="l" t="t" r="r" b="b"/>
              <a:pathLst>
                <a:path w="96079" h="96058" extrusionOk="0">
                  <a:moveTo>
                    <a:pt x="95966" y="51114"/>
                  </a:moveTo>
                  <a:cubicBezTo>
                    <a:pt x="97775" y="24709"/>
                    <a:pt x="77700" y="1741"/>
                    <a:pt x="51114" y="113"/>
                  </a:cubicBezTo>
                  <a:cubicBezTo>
                    <a:pt x="24709" y="-1695"/>
                    <a:pt x="1741" y="18380"/>
                    <a:pt x="113" y="44965"/>
                  </a:cubicBezTo>
                  <a:cubicBezTo>
                    <a:pt x="-1695" y="71370"/>
                    <a:pt x="18380" y="94338"/>
                    <a:pt x="44965" y="95966"/>
                  </a:cubicBezTo>
                  <a:cubicBezTo>
                    <a:pt x="71370" y="97594"/>
                    <a:pt x="94158" y="77519"/>
                    <a:pt x="95966" y="5111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0" name="Google Shape;1320;p53"/>
            <p:cNvSpPr/>
            <p:nvPr/>
          </p:nvSpPr>
          <p:spPr>
            <a:xfrm>
              <a:off x="7883176" y="4720576"/>
              <a:ext cx="38070" cy="38070"/>
            </a:xfrm>
            <a:custGeom>
              <a:avLst/>
              <a:gdLst/>
              <a:ahLst/>
              <a:cxnLst/>
              <a:rect l="l" t="t" r="r" b="b"/>
              <a:pathLst>
                <a:path w="38070" h="38070" extrusionOk="0">
                  <a:moveTo>
                    <a:pt x="38025" y="20302"/>
                  </a:moveTo>
                  <a:cubicBezTo>
                    <a:pt x="38749" y="9812"/>
                    <a:pt x="30791" y="769"/>
                    <a:pt x="20301" y="46"/>
                  </a:cubicBezTo>
                  <a:cubicBezTo>
                    <a:pt x="9812" y="-678"/>
                    <a:pt x="769" y="7280"/>
                    <a:pt x="46" y="17769"/>
                  </a:cubicBezTo>
                  <a:cubicBezTo>
                    <a:pt x="-678" y="28259"/>
                    <a:pt x="7280" y="37302"/>
                    <a:pt x="17769" y="38025"/>
                  </a:cubicBezTo>
                  <a:cubicBezTo>
                    <a:pt x="28259" y="38748"/>
                    <a:pt x="37302" y="30791"/>
                    <a:pt x="38025" y="203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1" name="Google Shape;1321;p53"/>
            <p:cNvSpPr/>
            <p:nvPr/>
          </p:nvSpPr>
          <p:spPr>
            <a:xfrm>
              <a:off x="8138555" y="4907050"/>
              <a:ext cx="29905" cy="29906"/>
            </a:xfrm>
            <a:custGeom>
              <a:avLst/>
              <a:gdLst/>
              <a:ahLst/>
              <a:cxnLst/>
              <a:rect l="l" t="t" r="r" b="b"/>
              <a:pathLst>
                <a:path w="29905" h="29906" extrusionOk="0">
                  <a:moveTo>
                    <a:pt x="29873" y="15948"/>
                  </a:moveTo>
                  <a:cubicBezTo>
                    <a:pt x="30416" y="7628"/>
                    <a:pt x="24086" y="575"/>
                    <a:pt x="15948" y="32"/>
                  </a:cubicBezTo>
                  <a:cubicBezTo>
                    <a:pt x="7628" y="-510"/>
                    <a:pt x="575" y="5820"/>
                    <a:pt x="32" y="13958"/>
                  </a:cubicBezTo>
                  <a:cubicBezTo>
                    <a:pt x="-510" y="22278"/>
                    <a:pt x="5820" y="29331"/>
                    <a:pt x="13958" y="29874"/>
                  </a:cubicBezTo>
                  <a:cubicBezTo>
                    <a:pt x="22097" y="30416"/>
                    <a:pt x="29331" y="24267"/>
                    <a:pt x="29873" y="1594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2" name="Google Shape;1322;p53"/>
            <p:cNvSpPr/>
            <p:nvPr/>
          </p:nvSpPr>
          <p:spPr>
            <a:xfrm>
              <a:off x="7757992" y="5426961"/>
              <a:ext cx="68338" cy="68338"/>
            </a:xfrm>
            <a:custGeom>
              <a:avLst/>
              <a:gdLst/>
              <a:ahLst/>
              <a:cxnLst/>
              <a:rect l="l" t="t" r="r" b="b"/>
              <a:pathLst>
                <a:path w="68338" h="68338" extrusionOk="0">
                  <a:moveTo>
                    <a:pt x="68260" y="36430"/>
                  </a:moveTo>
                  <a:cubicBezTo>
                    <a:pt x="69526" y="17621"/>
                    <a:pt x="55239" y="1344"/>
                    <a:pt x="36430" y="78"/>
                  </a:cubicBezTo>
                  <a:cubicBezTo>
                    <a:pt x="17621" y="-1188"/>
                    <a:pt x="1344" y="13100"/>
                    <a:pt x="78" y="31909"/>
                  </a:cubicBezTo>
                  <a:cubicBezTo>
                    <a:pt x="-1188" y="50717"/>
                    <a:pt x="13100" y="66994"/>
                    <a:pt x="31908" y="68260"/>
                  </a:cubicBezTo>
                  <a:cubicBezTo>
                    <a:pt x="50717" y="69526"/>
                    <a:pt x="66994" y="55239"/>
                    <a:pt x="68260" y="364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3" name="Google Shape;1323;p53"/>
            <p:cNvSpPr/>
            <p:nvPr/>
          </p:nvSpPr>
          <p:spPr>
            <a:xfrm>
              <a:off x="7893505" y="4731086"/>
              <a:ext cx="17050" cy="17032"/>
            </a:xfrm>
            <a:custGeom>
              <a:avLst/>
              <a:gdLst/>
              <a:ahLst/>
              <a:cxnLst/>
              <a:rect l="l" t="t" r="r" b="b"/>
              <a:pathLst>
                <a:path w="17050" h="17032" extrusionOk="0">
                  <a:moveTo>
                    <a:pt x="17025" y="9068"/>
                  </a:moveTo>
                  <a:cubicBezTo>
                    <a:pt x="17387" y="4366"/>
                    <a:pt x="13770" y="387"/>
                    <a:pt x="9068" y="25"/>
                  </a:cubicBezTo>
                  <a:cubicBezTo>
                    <a:pt x="4365" y="-337"/>
                    <a:pt x="387" y="3280"/>
                    <a:pt x="25" y="7983"/>
                  </a:cubicBezTo>
                  <a:cubicBezTo>
                    <a:pt x="-337" y="12685"/>
                    <a:pt x="3280" y="16664"/>
                    <a:pt x="7983" y="17025"/>
                  </a:cubicBezTo>
                  <a:cubicBezTo>
                    <a:pt x="12685" y="17206"/>
                    <a:pt x="16664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4" name="Google Shape;1324;p53"/>
            <p:cNvSpPr/>
            <p:nvPr/>
          </p:nvSpPr>
          <p:spPr>
            <a:xfrm>
              <a:off x="8363015" y="4448964"/>
              <a:ext cx="8165" cy="8164"/>
            </a:xfrm>
            <a:custGeom>
              <a:avLst/>
              <a:gdLst/>
              <a:ahLst/>
              <a:cxnLst/>
              <a:rect l="l" t="t" r="r" b="b"/>
              <a:pathLst>
                <a:path w="8165" h="8164" extrusionOk="0">
                  <a:moveTo>
                    <a:pt x="8152" y="4354"/>
                  </a:moveTo>
                  <a:cubicBezTo>
                    <a:pt x="8333" y="2184"/>
                    <a:pt x="6705" y="195"/>
                    <a:pt x="4354" y="14"/>
                  </a:cubicBezTo>
                  <a:cubicBezTo>
                    <a:pt x="2184" y="-167"/>
                    <a:pt x="195" y="1461"/>
                    <a:pt x="14" y="3812"/>
                  </a:cubicBezTo>
                  <a:cubicBezTo>
                    <a:pt x="-167" y="5982"/>
                    <a:pt x="1461" y="7971"/>
                    <a:pt x="3812" y="8152"/>
                  </a:cubicBezTo>
                  <a:cubicBezTo>
                    <a:pt x="6163" y="8333"/>
                    <a:pt x="7971" y="6524"/>
                    <a:pt x="8152" y="435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5" name="Google Shape;1325;p53"/>
            <p:cNvSpPr/>
            <p:nvPr/>
          </p:nvSpPr>
          <p:spPr>
            <a:xfrm>
              <a:off x="8140179" y="4908855"/>
              <a:ext cx="26296" cy="26296"/>
            </a:xfrm>
            <a:custGeom>
              <a:avLst/>
              <a:gdLst/>
              <a:ahLst/>
              <a:cxnLst/>
              <a:rect l="l" t="t" r="r" b="b"/>
              <a:pathLst>
                <a:path w="26296" h="26296" extrusionOk="0">
                  <a:moveTo>
                    <a:pt x="26260" y="13962"/>
                  </a:moveTo>
                  <a:cubicBezTo>
                    <a:pt x="26803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4" y="26260"/>
                  </a:cubicBezTo>
                  <a:cubicBezTo>
                    <a:pt x="19569" y="26803"/>
                    <a:pt x="25898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6" name="Google Shape;1326;p53"/>
            <p:cNvSpPr/>
            <p:nvPr/>
          </p:nvSpPr>
          <p:spPr>
            <a:xfrm>
              <a:off x="8893729" y="4931390"/>
              <a:ext cx="101855" cy="101854"/>
            </a:xfrm>
            <a:custGeom>
              <a:avLst/>
              <a:gdLst/>
              <a:ahLst/>
              <a:cxnLst/>
              <a:rect l="l" t="t" r="r" b="b"/>
              <a:pathLst>
                <a:path w="101855" h="101854" extrusionOk="0">
                  <a:moveTo>
                    <a:pt x="101748" y="54183"/>
                  </a:moveTo>
                  <a:cubicBezTo>
                    <a:pt x="103557" y="26151"/>
                    <a:pt x="82397" y="1916"/>
                    <a:pt x="54183" y="108"/>
                  </a:cubicBezTo>
                  <a:cubicBezTo>
                    <a:pt x="26151" y="-1701"/>
                    <a:pt x="1916" y="19459"/>
                    <a:pt x="108" y="47673"/>
                  </a:cubicBezTo>
                  <a:cubicBezTo>
                    <a:pt x="-1701" y="75705"/>
                    <a:pt x="19459" y="99940"/>
                    <a:pt x="47672" y="101748"/>
                  </a:cubicBezTo>
                  <a:cubicBezTo>
                    <a:pt x="75705" y="103557"/>
                    <a:pt x="99939" y="82216"/>
                    <a:pt x="101748" y="541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7" name="Google Shape;1327;p53"/>
            <p:cNvSpPr/>
            <p:nvPr/>
          </p:nvSpPr>
          <p:spPr>
            <a:xfrm>
              <a:off x="8341814" y="4427764"/>
              <a:ext cx="50386" cy="50386"/>
            </a:xfrm>
            <a:custGeom>
              <a:avLst/>
              <a:gdLst/>
              <a:ahLst/>
              <a:cxnLst/>
              <a:rect l="l" t="t" r="r" b="b"/>
              <a:pathLst>
                <a:path w="50386" h="50386" extrusionOk="0">
                  <a:moveTo>
                    <a:pt x="50332" y="26821"/>
                  </a:moveTo>
                  <a:cubicBezTo>
                    <a:pt x="51236" y="12895"/>
                    <a:pt x="40747" y="959"/>
                    <a:pt x="26821" y="54"/>
                  </a:cubicBezTo>
                  <a:cubicBezTo>
                    <a:pt x="12895" y="-850"/>
                    <a:pt x="959" y="9640"/>
                    <a:pt x="54" y="23565"/>
                  </a:cubicBezTo>
                  <a:cubicBezTo>
                    <a:pt x="-850" y="37491"/>
                    <a:pt x="9640" y="49428"/>
                    <a:pt x="23565" y="50332"/>
                  </a:cubicBezTo>
                  <a:cubicBezTo>
                    <a:pt x="37491" y="51236"/>
                    <a:pt x="49428" y="40747"/>
                    <a:pt x="50332" y="268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8" name="Google Shape;1328;p53"/>
            <p:cNvSpPr/>
            <p:nvPr/>
          </p:nvSpPr>
          <p:spPr>
            <a:xfrm>
              <a:off x="8133841" y="4902516"/>
              <a:ext cx="39154" cy="39153"/>
            </a:xfrm>
            <a:custGeom>
              <a:avLst/>
              <a:gdLst/>
              <a:ahLst/>
              <a:cxnLst/>
              <a:rect l="l" t="t" r="r" b="b"/>
              <a:pathLst>
                <a:path w="39154" h="39153" extrusionOk="0">
                  <a:moveTo>
                    <a:pt x="39109" y="20843"/>
                  </a:moveTo>
                  <a:cubicBezTo>
                    <a:pt x="39833" y="9992"/>
                    <a:pt x="31694" y="768"/>
                    <a:pt x="20843" y="45"/>
                  </a:cubicBezTo>
                  <a:cubicBezTo>
                    <a:pt x="9992" y="-679"/>
                    <a:pt x="768" y="7460"/>
                    <a:pt x="45" y="18311"/>
                  </a:cubicBezTo>
                  <a:cubicBezTo>
                    <a:pt x="-679" y="29162"/>
                    <a:pt x="7460" y="38386"/>
                    <a:pt x="18311" y="39109"/>
                  </a:cubicBezTo>
                  <a:cubicBezTo>
                    <a:pt x="28981" y="39833"/>
                    <a:pt x="38386" y="31513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9" name="Google Shape;1329;p53"/>
            <p:cNvSpPr/>
            <p:nvPr/>
          </p:nvSpPr>
          <p:spPr>
            <a:xfrm>
              <a:off x="8933063" y="4970544"/>
              <a:ext cx="23367" cy="23390"/>
            </a:xfrm>
            <a:custGeom>
              <a:avLst/>
              <a:gdLst/>
              <a:ahLst/>
              <a:cxnLst/>
              <a:rect l="l" t="t" r="r" b="b"/>
              <a:pathLst>
                <a:path w="23367" h="23390" extrusionOk="0">
                  <a:moveTo>
                    <a:pt x="23349" y="12498"/>
                  </a:moveTo>
                  <a:cubicBezTo>
                    <a:pt x="23711" y="5987"/>
                    <a:pt x="18828" y="380"/>
                    <a:pt x="12498" y="19"/>
                  </a:cubicBezTo>
                  <a:cubicBezTo>
                    <a:pt x="6168" y="-343"/>
                    <a:pt x="381" y="4540"/>
                    <a:pt x="19" y="10870"/>
                  </a:cubicBezTo>
                  <a:cubicBezTo>
                    <a:pt x="-343" y="17381"/>
                    <a:pt x="4540" y="22987"/>
                    <a:pt x="10870" y="23349"/>
                  </a:cubicBezTo>
                  <a:cubicBezTo>
                    <a:pt x="17381" y="23892"/>
                    <a:pt x="22987" y="19009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0" name="Google Shape;1330;p53"/>
            <p:cNvSpPr/>
            <p:nvPr/>
          </p:nvSpPr>
          <p:spPr>
            <a:xfrm>
              <a:off x="8496289" y="5169655"/>
              <a:ext cx="34781" cy="34781"/>
            </a:xfrm>
            <a:custGeom>
              <a:avLst/>
              <a:gdLst/>
              <a:ahLst/>
              <a:cxnLst/>
              <a:rect l="l" t="t" r="r" b="b"/>
              <a:pathLst>
                <a:path w="34781" h="34781" extrusionOk="0">
                  <a:moveTo>
                    <a:pt x="34753" y="18476"/>
                  </a:moveTo>
                  <a:cubicBezTo>
                    <a:pt x="35295" y="8891"/>
                    <a:pt x="28061" y="571"/>
                    <a:pt x="18476" y="29"/>
                  </a:cubicBezTo>
                  <a:cubicBezTo>
                    <a:pt x="8891" y="-514"/>
                    <a:pt x="571" y="6720"/>
                    <a:pt x="29" y="16305"/>
                  </a:cubicBezTo>
                  <a:cubicBezTo>
                    <a:pt x="-514" y="25891"/>
                    <a:pt x="6720" y="34210"/>
                    <a:pt x="16306" y="34753"/>
                  </a:cubicBezTo>
                  <a:cubicBezTo>
                    <a:pt x="25891" y="35295"/>
                    <a:pt x="34210" y="28061"/>
                    <a:pt x="34753" y="184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1" name="Google Shape;1331;p53"/>
            <p:cNvSpPr/>
            <p:nvPr/>
          </p:nvSpPr>
          <p:spPr>
            <a:xfrm>
              <a:off x="8119158" y="4887834"/>
              <a:ext cx="68519" cy="68498"/>
            </a:xfrm>
            <a:custGeom>
              <a:avLst/>
              <a:gdLst/>
              <a:ahLst/>
              <a:cxnLst/>
              <a:rect l="l" t="t" r="r" b="b"/>
              <a:pathLst>
                <a:path w="68519" h="68498" extrusionOk="0">
                  <a:moveTo>
                    <a:pt x="68441" y="36430"/>
                  </a:moveTo>
                  <a:cubicBezTo>
                    <a:pt x="69707" y="17621"/>
                    <a:pt x="55420" y="1344"/>
                    <a:pt x="36430" y="78"/>
                  </a:cubicBezTo>
                  <a:cubicBezTo>
                    <a:pt x="17621" y="-1188"/>
                    <a:pt x="1344" y="13100"/>
                    <a:pt x="78" y="32089"/>
                  </a:cubicBezTo>
                  <a:cubicBezTo>
                    <a:pt x="-1188" y="50898"/>
                    <a:pt x="13100" y="67175"/>
                    <a:pt x="32089" y="68441"/>
                  </a:cubicBezTo>
                  <a:cubicBezTo>
                    <a:pt x="50898" y="69526"/>
                    <a:pt x="67175" y="55239"/>
                    <a:pt x="68441" y="364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2" name="Google Shape;1332;p53"/>
            <p:cNvSpPr/>
            <p:nvPr/>
          </p:nvSpPr>
          <p:spPr>
            <a:xfrm>
              <a:off x="8935049" y="4972530"/>
              <a:ext cx="19395" cy="19420"/>
            </a:xfrm>
            <a:custGeom>
              <a:avLst/>
              <a:gdLst/>
              <a:ahLst/>
              <a:cxnLst/>
              <a:rect l="l" t="t" r="r" b="b"/>
              <a:pathLst>
                <a:path w="19395" h="19420" extrusionOk="0">
                  <a:moveTo>
                    <a:pt x="19373" y="10330"/>
                  </a:moveTo>
                  <a:cubicBezTo>
                    <a:pt x="19735" y="4905"/>
                    <a:pt x="15575" y="383"/>
                    <a:pt x="10331" y="22"/>
                  </a:cubicBezTo>
                  <a:cubicBezTo>
                    <a:pt x="4905" y="-340"/>
                    <a:pt x="384" y="3820"/>
                    <a:pt x="22" y="9065"/>
                  </a:cubicBezTo>
                  <a:cubicBezTo>
                    <a:pt x="-340" y="14490"/>
                    <a:pt x="3820" y="19011"/>
                    <a:pt x="9065" y="19373"/>
                  </a:cubicBezTo>
                  <a:cubicBezTo>
                    <a:pt x="14309" y="19916"/>
                    <a:pt x="19012" y="15756"/>
                    <a:pt x="19373" y="103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3" name="Google Shape;1333;p53"/>
            <p:cNvSpPr/>
            <p:nvPr/>
          </p:nvSpPr>
          <p:spPr>
            <a:xfrm>
              <a:off x="8712208" y="5247581"/>
              <a:ext cx="55080" cy="55080"/>
            </a:xfrm>
            <a:custGeom>
              <a:avLst/>
              <a:gdLst/>
              <a:ahLst/>
              <a:cxnLst/>
              <a:rect l="l" t="t" r="r" b="b"/>
              <a:pathLst>
                <a:path w="55080" h="55080" extrusionOk="0">
                  <a:moveTo>
                    <a:pt x="55030" y="29349"/>
                  </a:moveTo>
                  <a:cubicBezTo>
                    <a:pt x="55934" y="14157"/>
                    <a:pt x="44540" y="955"/>
                    <a:pt x="29349" y="50"/>
                  </a:cubicBezTo>
                  <a:cubicBezTo>
                    <a:pt x="14157" y="-854"/>
                    <a:pt x="954" y="10540"/>
                    <a:pt x="50" y="25732"/>
                  </a:cubicBezTo>
                  <a:cubicBezTo>
                    <a:pt x="-854" y="40924"/>
                    <a:pt x="10540" y="54126"/>
                    <a:pt x="25732" y="55030"/>
                  </a:cubicBezTo>
                  <a:cubicBezTo>
                    <a:pt x="40923" y="55934"/>
                    <a:pt x="53945" y="44541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4" name="Google Shape;1334;p53"/>
            <p:cNvSpPr/>
            <p:nvPr/>
          </p:nvSpPr>
          <p:spPr>
            <a:xfrm>
              <a:off x="8471097" y="5144281"/>
              <a:ext cx="85347" cy="85367"/>
            </a:xfrm>
            <a:custGeom>
              <a:avLst/>
              <a:gdLst/>
              <a:ahLst/>
              <a:cxnLst/>
              <a:rect l="l" t="t" r="r" b="b"/>
              <a:pathLst>
                <a:path w="85347" h="85367" extrusionOk="0">
                  <a:moveTo>
                    <a:pt x="85265" y="45477"/>
                  </a:moveTo>
                  <a:cubicBezTo>
                    <a:pt x="86712" y="21966"/>
                    <a:pt x="68988" y="1530"/>
                    <a:pt x="45477" y="83"/>
                  </a:cubicBezTo>
                  <a:cubicBezTo>
                    <a:pt x="21966" y="-1364"/>
                    <a:pt x="1529" y="16359"/>
                    <a:pt x="83" y="39871"/>
                  </a:cubicBezTo>
                  <a:cubicBezTo>
                    <a:pt x="-1364" y="63382"/>
                    <a:pt x="16360" y="83818"/>
                    <a:pt x="39871" y="85265"/>
                  </a:cubicBezTo>
                  <a:cubicBezTo>
                    <a:pt x="63382" y="86893"/>
                    <a:pt x="83637" y="68988"/>
                    <a:pt x="85265" y="454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5" name="Google Shape;1335;p53"/>
            <p:cNvSpPr/>
            <p:nvPr/>
          </p:nvSpPr>
          <p:spPr>
            <a:xfrm>
              <a:off x="8941026" y="4978506"/>
              <a:ext cx="7442" cy="7443"/>
            </a:xfrm>
            <a:custGeom>
              <a:avLst/>
              <a:gdLst/>
              <a:ahLst/>
              <a:cxnLst/>
              <a:rect l="l" t="t" r="r" b="b"/>
              <a:pathLst>
                <a:path w="7442" h="7443" extrusionOk="0">
                  <a:moveTo>
                    <a:pt x="7429" y="3992"/>
                  </a:moveTo>
                  <a:cubicBezTo>
                    <a:pt x="7610" y="2003"/>
                    <a:pt x="5982" y="195"/>
                    <a:pt x="3992" y="14"/>
                  </a:cubicBezTo>
                  <a:cubicBezTo>
                    <a:pt x="2003" y="-167"/>
                    <a:pt x="195" y="1460"/>
                    <a:pt x="14" y="3450"/>
                  </a:cubicBezTo>
                  <a:cubicBezTo>
                    <a:pt x="-167" y="5439"/>
                    <a:pt x="1460" y="7248"/>
                    <a:pt x="3450" y="7429"/>
                  </a:cubicBezTo>
                  <a:cubicBezTo>
                    <a:pt x="5439" y="7610"/>
                    <a:pt x="7248" y="6163"/>
                    <a:pt x="7429" y="39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6" name="Google Shape;1336;p53"/>
            <p:cNvSpPr/>
            <p:nvPr/>
          </p:nvSpPr>
          <p:spPr>
            <a:xfrm>
              <a:off x="9548275" y="5175035"/>
              <a:ext cx="73212" cy="73212"/>
            </a:xfrm>
            <a:custGeom>
              <a:avLst/>
              <a:gdLst/>
              <a:ahLst/>
              <a:cxnLst/>
              <a:rect l="l" t="t" r="r" b="b"/>
              <a:pathLst>
                <a:path w="73212" h="73212" extrusionOk="0">
                  <a:moveTo>
                    <a:pt x="73139" y="38957"/>
                  </a:moveTo>
                  <a:cubicBezTo>
                    <a:pt x="74405" y="18702"/>
                    <a:pt x="59213" y="1340"/>
                    <a:pt x="38957" y="74"/>
                  </a:cubicBezTo>
                  <a:cubicBezTo>
                    <a:pt x="18702" y="-1192"/>
                    <a:pt x="1340" y="14000"/>
                    <a:pt x="74" y="34255"/>
                  </a:cubicBezTo>
                  <a:cubicBezTo>
                    <a:pt x="-1192" y="54511"/>
                    <a:pt x="14000" y="71873"/>
                    <a:pt x="34255" y="73139"/>
                  </a:cubicBezTo>
                  <a:cubicBezTo>
                    <a:pt x="54330" y="74405"/>
                    <a:pt x="71692" y="59213"/>
                    <a:pt x="73139" y="389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7" name="Google Shape;1337;p53"/>
            <p:cNvSpPr/>
            <p:nvPr/>
          </p:nvSpPr>
          <p:spPr>
            <a:xfrm>
              <a:off x="8708938" y="5244492"/>
              <a:ext cx="61258" cy="61278"/>
            </a:xfrm>
            <a:custGeom>
              <a:avLst/>
              <a:gdLst/>
              <a:ahLst/>
              <a:cxnLst/>
              <a:rect l="l" t="t" r="r" b="b"/>
              <a:pathLst>
                <a:path w="61258" h="61278" extrusionOk="0">
                  <a:moveTo>
                    <a:pt x="61194" y="32619"/>
                  </a:moveTo>
                  <a:cubicBezTo>
                    <a:pt x="62279" y="15799"/>
                    <a:pt x="49619" y="1150"/>
                    <a:pt x="32619" y="65"/>
                  </a:cubicBezTo>
                  <a:cubicBezTo>
                    <a:pt x="15799" y="-1020"/>
                    <a:pt x="1331" y="11640"/>
                    <a:pt x="65" y="28640"/>
                  </a:cubicBezTo>
                  <a:cubicBezTo>
                    <a:pt x="-1020" y="45459"/>
                    <a:pt x="11640" y="59928"/>
                    <a:pt x="28640" y="61194"/>
                  </a:cubicBezTo>
                  <a:cubicBezTo>
                    <a:pt x="45640" y="62460"/>
                    <a:pt x="60109" y="49438"/>
                    <a:pt x="61194" y="326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8" name="Google Shape;1338;p53"/>
            <p:cNvSpPr/>
            <p:nvPr/>
          </p:nvSpPr>
          <p:spPr>
            <a:xfrm>
              <a:off x="9802963" y="6496764"/>
              <a:ext cx="34600" cy="34621"/>
            </a:xfrm>
            <a:custGeom>
              <a:avLst/>
              <a:gdLst/>
              <a:ahLst/>
              <a:cxnLst/>
              <a:rect l="l" t="t" r="r" b="b"/>
              <a:pathLst>
                <a:path w="34600" h="34621" extrusionOk="0">
                  <a:moveTo>
                    <a:pt x="34572" y="18476"/>
                  </a:moveTo>
                  <a:cubicBezTo>
                    <a:pt x="35114" y="8890"/>
                    <a:pt x="27880" y="752"/>
                    <a:pt x="18476" y="29"/>
                  </a:cubicBezTo>
                  <a:cubicBezTo>
                    <a:pt x="8891" y="-514"/>
                    <a:pt x="752" y="6720"/>
                    <a:pt x="29" y="16124"/>
                  </a:cubicBezTo>
                  <a:cubicBezTo>
                    <a:pt x="-514" y="25710"/>
                    <a:pt x="6720" y="33848"/>
                    <a:pt x="16125" y="34572"/>
                  </a:cubicBezTo>
                  <a:cubicBezTo>
                    <a:pt x="25710" y="35295"/>
                    <a:pt x="33848" y="28061"/>
                    <a:pt x="34572" y="184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9" name="Google Shape;1339;p53"/>
            <p:cNvSpPr/>
            <p:nvPr/>
          </p:nvSpPr>
          <p:spPr>
            <a:xfrm>
              <a:off x="9535826" y="5418495"/>
              <a:ext cx="39513" cy="39514"/>
            </a:xfrm>
            <a:custGeom>
              <a:avLst/>
              <a:gdLst/>
              <a:ahLst/>
              <a:cxnLst/>
              <a:rect l="l" t="t" r="r" b="b"/>
              <a:pathLst>
                <a:path w="39513" h="39514" extrusionOk="0">
                  <a:moveTo>
                    <a:pt x="39470" y="21023"/>
                  </a:moveTo>
                  <a:cubicBezTo>
                    <a:pt x="40194" y="10172"/>
                    <a:pt x="31874" y="767"/>
                    <a:pt x="21023" y="44"/>
                  </a:cubicBezTo>
                  <a:cubicBezTo>
                    <a:pt x="10172" y="-679"/>
                    <a:pt x="767" y="7640"/>
                    <a:pt x="44" y="18491"/>
                  </a:cubicBezTo>
                  <a:cubicBezTo>
                    <a:pt x="-680" y="29342"/>
                    <a:pt x="7640" y="38747"/>
                    <a:pt x="18491" y="39470"/>
                  </a:cubicBezTo>
                  <a:cubicBezTo>
                    <a:pt x="29342" y="40194"/>
                    <a:pt x="38928" y="31874"/>
                    <a:pt x="39470" y="210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0" name="Google Shape;1340;p53"/>
            <p:cNvSpPr/>
            <p:nvPr/>
          </p:nvSpPr>
          <p:spPr>
            <a:xfrm>
              <a:off x="8476853" y="5978552"/>
              <a:ext cx="95516" cy="95517"/>
            </a:xfrm>
            <a:custGeom>
              <a:avLst/>
              <a:gdLst/>
              <a:ahLst/>
              <a:cxnLst/>
              <a:rect l="l" t="t" r="r" b="b"/>
              <a:pathLst>
                <a:path w="95516" h="95517" extrusionOk="0">
                  <a:moveTo>
                    <a:pt x="95424" y="50913"/>
                  </a:moveTo>
                  <a:cubicBezTo>
                    <a:pt x="97051" y="24689"/>
                    <a:pt x="77157" y="1901"/>
                    <a:pt x="50933" y="93"/>
                  </a:cubicBezTo>
                  <a:cubicBezTo>
                    <a:pt x="24709" y="-1534"/>
                    <a:pt x="1922" y="18359"/>
                    <a:pt x="113" y="44583"/>
                  </a:cubicBezTo>
                  <a:cubicBezTo>
                    <a:pt x="-1695" y="70807"/>
                    <a:pt x="18380" y="93595"/>
                    <a:pt x="44603" y="95403"/>
                  </a:cubicBezTo>
                  <a:cubicBezTo>
                    <a:pt x="71008" y="97212"/>
                    <a:pt x="93796" y="77318"/>
                    <a:pt x="95424" y="509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1" name="Google Shape;1341;p53"/>
            <p:cNvSpPr/>
            <p:nvPr/>
          </p:nvSpPr>
          <p:spPr>
            <a:xfrm>
              <a:off x="9811648" y="6505630"/>
              <a:ext cx="17050" cy="17050"/>
            </a:xfrm>
            <a:custGeom>
              <a:avLst/>
              <a:gdLst/>
              <a:ahLst/>
              <a:cxnLst/>
              <a:rect l="l" t="t" r="r" b="b"/>
              <a:pathLst>
                <a:path w="17050" h="17050" extrusionOk="0">
                  <a:moveTo>
                    <a:pt x="17025" y="9068"/>
                  </a:moveTo>
                  <a:cubicBezTo>
                    <a:pt x="17387" y="4366"/>
                    <a:pt x="13770" y="387"/>
                    <a:pt x="9068" y="25"/>
                  </a:cubicBezTo>
                  <a:cubicBezTo>
                    <a:pt x="4366" y="-337"/>
                    <a:pt x="387" y="3280"/>
                    <a:pt x="25" y="7983"/>
                  </a:cubicBezTo>
                  <a:cubicBezTo>
                    <a:pt x="-337" y="12685"/>
                    <a:pt x="3280" y="16664"/>
                    <a:pt x="7983" y="17025"/>
                  </a:cubicBezTo>
                  <a:cubicBezTo>
                    <a:pt x="12685" y="17387"/>
                    <a:pt x="16663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2" name="Google Shape;1342;p53"/>
            <p:cNvSpPr/>
            <p:nvPr/>
          </p:nvSpPr>
          <p:spPr>
            <a:xfrm>
              <a:off x="10207870" y="6132678"/>
              <a:ext cx="49302" cy="49302"/>
            </a:xfrm>
            <a:custGeom>
              <a:avLst/>
              <a:gdLst/>
              <a:ahLst/>
              <a:cxnLst/>
              <a:rect l="l" t="t" r="r" b="b"/>
              <a:pathLst>
                <a:path w="49302" h="49302" extrusionOk="0">
                  <a:moveTo>
                    <a:pt x="49248" y="26279"/>
                  </a:moveTo>
                  <a:cubicBezTo>
                    <a:pt x="50152" y="12715"/>
                    <a:pt x="39843" y="959"/>
                    <a:pt x="26279" y="55"/>
                  </a:cubicBezTo>
                  <a:cubicBezTo>
                    <a:pt x="12715" y="-849"/>
                    <a:pt x="960" y="9459"/>
                    <a:pt x="55" y="23024"/>
                  </a:cubicBezTo>
                  <a:cubicBezTo>
                    <a:pt x="-849" y="36588"/>
                    <a:pt x="9460" y="48344"/>
                    <a:pt x="23024" y="49248"/>
                  </a:cubicBezTo>
                  <a:cubicBezTo>
                    <a:pt x="36588" y="50152"/>
                    <a:pt x="48343" y="39843"/>
                    <a:pt x="4924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3" name="Google Shape;1343;p53"/>
            <p:cNvSpPr/>
            <p:nvPr/>
          </p:nvSpPr>
          <p:spPr>
            <a:xfrm>
              <a:off x="9547599" y="5430268"/>
              <a:ext cx="16148" cy="15968"/>
            </a:xfrm>
            <a:custGeom>
              <a:avLst/>
              <a:gdLst/>
              <a:ahLst/>
              <a:cxnLst/>
              <a:rect l="l" t="t" r="r" b="b"/>
              <a:pathLst>
                <a:path w="16148" h="15968" extrusionOk="0">
                  <a:moveTo>
                    <a:pt x="16122" y="8526"/>
                  </a:moveTo>
                  <a:cubicBezTo>
                    <a:pt x="16484" y="4005"/>
                    <a:pt x="13048" y="207"/>
                    <a:pt x="8526" y="26"/>
                  </a:cubicBezTo>
                  <a:cubicBezTo>
                    <a:pt x="4005" y="-336"/>
                    <a:pt x="207" y="3101"/>
                    <a:pt x="26" y="7441"/>
                  </a:cubicBezTo>
                  <a:cubicBezTo>
                    <a:pt x="-336" y="11963"/>
                    <a:pt x="3101" y="15760"/>
                    <a:pt x="7622" y="15941"/>
                  </a:cubicBezTo>
                  <a:cubicBezTo>
                    <a:pt x="11962" y="16303"/>
                    <a:pt x="15941" y="13048"/>
                    <a:pt x="16122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4" name="Google Shape;1344;p53"/>
            <p:cNvSpPr/>
            <p:nvPr/>
          </p:nvSpPr>
          <p:spPr>
            <a:xfrm>
              <a:off x="12748199" y="2168758"/>
              <a:ext cx="13941" cy="13942"/>
            </a:xfrm>
            <a:custGeom>
              <a:avLst/>
              <a:gdLst/>
              <a:ahLst/>
              <a:cxnLst/>
              <a:rect l="l" t="t" r="r" b="b"/>
              <a:pathLst>
                <a:path w="13941" h="13942" extrusionOk="0">
                  <a:moveTo>
                    <a:pt x="13934" y="7423"/>
                  </a:moveTo>
                  <a:cubicBezTo>
                    <a:pt x="14115" y="3625"/>
                    <a:pt x="11221" y="189"/>
                    <a:pt x="7423" y="8"/>
                  </a:cubicBezTo>
                  <a:cubicBezTo>
                    <a:pt x="3625" y="-173"/>
                    <a:pt x="189" y="2721"/>
                    <a:pt x="8" y="6519"/>
                  </a:cubicBezTo>
                  <a:cubicBezTo>
                    <a:pt x="-173" y="10317"/>
                    <a:pt x="2721" y="13753"/>
                    <a:pt x="6519" y="13934"/>
                  </a:cubicBezTo>
                  <a:cubicBezTo>
                    <a:pt x="10317" y="14115"/>
                    <a:pt x="13572" y="11402"/>
                    <a:pt x="13934" y="74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5" name="Google Shape;1345;p53"/>
            <p:cNvSpPr/>
            <p:nvPr/>
          </p:nvSpPr>
          <p:spPr>
            <a:xfrm>
              <a:off x="12471441" y="2422626"/>
              <a:ext cx="45874" cy="45853"/>
            </a:xfrm>
            <a:custGeom>
              <a:avLst/>
              <a:gdLst/>
              <a:ahLst/>
              <a:cxnLst/>
              <a:rect l="l" t="t" r="r" b="b"/>
              <a:pathLst>
                <a:path w="45874" h="45853" extrusionOk="0">
                  <a:moveTo>
                    <a:pt x="45815" y="24474"/>
                  </a:moveTo>
                  <a:cubicBezTo>
                    <a:pt x="46720" y="11815"/>
                    <a:pt x="37135" y="963"/>
                    <a:pt x="24475" y="59"/>
                  </a:cubicBezTo>
                  <a:cubicBezTo>
                    <a:pt x="11815" y="-845"/>
                    <a:pt x="964" y="8740"/>
                    <a:pt x="59" y="21400"/>
                  </a:cubicBezTo>
                  <a:cubicBezTo>
                    <a:pt x="-845" y="34060"/>
                    <a:pt x="8740" y="44911"/>
                    <a:pt x="21400" y="45815"/>
                  </a:cubicBezTo>
                  <a:cubicBezTo>
                    <a:pt x="34060" y="46539"/>
                    <a:pt x="44911" y="36953"/>
                    <a:pt x="45815" y="2447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6" name="Google Shape;1346;p53"/>
            <p:cNvSpPr/>
            <p:nvPr/>
          </p:nvSpPr>
          <p:spPr>
            <a:xfrm>
              <a:off x="12479966" y="2430970"/>
              <a:ext cx="28824" cy="28848"/>
            </a:xfrm>
            <a:custGeom>
              <a:avLst/>
              <a:gdLst/>
              <a:ahLst/>
              <a:cxnLst/>
              <a:rect l="l" t="t" r="r" b="b"/>
              <a:pathLst>
                <a:path w="28824" h="28848" extrusionOk="0">
                  <a:moveTo>
                    <a:pt x="28791" y="15407"/>
                  </a:moveTo>
                  <a:cubicBezTo>
                    <a:pt x="29333" y="7449"/>
                    <a:pt x="23365" y="577"/>
                    <a:pt x="15407" y="34"/>
                  </a:cubicBezTo>
                  <a:cubicBezTo>
                    <a:pt x="7449" y="-508"/>
                    <a:pt x="577" y="5460"/>
                    <a:pt x="34" y="13417"/>
                  </a:cubicBezTo>
                  <a:cubicBezTo>
                    <a:pt x="-508" y="21375"/>
                    <a:pt x="5460" y="28248"/>
                    <a:pt x="13418" y="28790"/>
                  </a:cubicBezTo>
                  <a:cubicBezTo>
                    <a:pt x="21375" y="29514"/>
                    <a:pt x="28247" y="23364"/>
                    <a:pt x="28791" y="154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7" name="Google Shape;1347;p53"/>
            <p:cNvSpPr/>
            <p:nvPr/>
          </p:nvSpPr>
          <p:spPr>
            <a:xfrm>
              <a:off x="11990362" y="5113734"/>
              <a:ext cx="60896" cy="60896"/>
            </a:xfrm>
            <a:custGeom>
              <a:avLst/>
              <a:gdLst/>
              <a:ahLst/>
              <a:cxnLst/>
              <a:rect l="l" t="t" r="r" b="b"/>
              <a:pathLst>
                <a:path w="60896" h="60896" extrusionOk="0">
                  <a:moveTo>
                    <a:pt x="60832" y="32438"/>
                  </a:moveTo>
                  <a:cubicBezTo>
                    <a:pt x="61917" y="15618"/>
                    <a:pt x="49258" y="1150"/>
                    <a:pt x="32438" y="65"/>
                  </a:cubicBezTo>
                  <a:cubicBezTo>
                    <a:pt x="15618" y="-1020"/>
                    <a:pt x="1150" y="11640"/>
                    <a:pt x="65" y="28459"/>
                  </a:cubicBezTo>
                  <a:cubicBezTo>
                    <a:pt x="-1020" y="45278"/>
                    <a:pt x="11640" y="59747"/>
                    <a:pt x="28459" y="60832"/>
                  </a:cubicBezTo>
                  <a:cubicBezTo>
                    <a:pt x="45098" y="61917"/>
                    <a:pt x="59747" y="49257"/>
                    <a:pt x="60832" y="32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8" name="Google Shape;1348;p53"/>
            <p:cNvSpPr/>
            <p:nvPr/>
          </p:nvSpPr>
          <p:spPr>
            <a:xfrm>
              <a:off x="11891294" y="5718732"/>
              <a:ext cx="16688" cy="16688"/>
            </a:xfrm>
            <a:custGeom>
              <a:avLst/>
              <a:gdLst/>
              <a:ahLst/>
              <a:cxnLst/>
              <a:rect l="l" t="t" r="r" b="b"/>
              <a:pathLst>
                <a:path w="16688" h="16688" extrusionOk="0">
                  <a:moveTo>
                    <a:pt x="16664" y="8887"/>
                  </a:moveTo>
                  <a:cubicBezTo>
                    <a:pt x="17025" y="4366"/>
                    <a:pt x="13408" y="387"/>
                    <a:pt x="8887" y="25"/>
                  </a:cubicBezTo>
                  <a:cubicBezTo>
                    <a:pt x="4366" y="-337"/>
                    <a:pt x="387" y="3280"/>
                    <a:pt x="25" y="7802"/>
                  </a:cubicBezTo>
                  <a:cubicBezTo>
                    <a:pt x="-337" y="12323"/>
                    <a:pt x="3280" y="16302"/>
                    <a:pt x="7802" y="16664"/>
                  </a:cubicBezTo>
                  <a:cubicBezTo>
                    <a:pt x="12504" y="17025"/>
                    <a:pt x="16483" y="13408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9" name="Google Shape;1349;p53"/>
            <p:cNvSpPr/>
            <p:nvPr/>
          </p:nvSpPr>
          <p:spPr>
            <a:xfrm>
              <a:off x="11794825" y="5106648"/>
              <a:ext cx="90442" cy="90441"/>
            </a:xfrm>
            <a:custGeom>
              <a:avLst/>
              <a:gdLst/>
              <a:ahLst/>
              <a:cxnLst/>
              <a:rect l="l" t="t" r="r" b="b"/>
              <a:pathLst>
                <a:path w="90442" h="90441" extrusionOk="0">
                  <a:moveTo>
                    <a:pt x="90345" y="48205"/>
                  </a:moveTo>
                  <a:cubicBezTo>
                    <a:pt x="91972" y="23247"/>
                    <a:pt x="73164" y="1726"/>
                    <a:pt x="48206" y="98"/>
                  </a:cubicBezTo>
                  <a:cubicBezTo>
                    <a:pt x="23247" y="-1529"/>
                    <a:pt x="1726" y="17279"/>
                    <a:pt x="98" y="42237"/>
                  </a:cubicBezTo>
                  <a:cubicBezTo>
                    <a:pt x="-1529" y="67195"/>
                    <a:pt x="17279" y="88717"/>
                    <a:pt x="42237" y="90344"/>
                  </a:cubicBezTo>
                  <a:cubicBezTo>
                    <a:pt x="67195" y="91972"/>
                    <a:pt x="88717" y="72982"/>
                    <a:pt x="90345" y="482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0" name="Google Shape;1350;p53"/>
            <p:cNvSpPr/>
            <p:nvPr/>
          </p:nvSpPr>
          <p:spPr>
            <a:xfrm>
              <a:off x="12004864" y="5128417"/>
              <a:ext cx="31531" cy="31531"/>
            </a:xfrm>
            <a:custGeom>
              <a:avLst/>
              <a:gdLst/>
              <a:ahLst/>
              <a:cxnLst/>
              <a:rect l="l" t="t" r="r" b="b"/>
              <a:pathLst>
                <a:path w="31531" h="31531" extrusionOk="0">
                  <a:moveTo>
                    <a:pt x="31500" y="16851"/>
                  </a:moveTo>
                  <a:cubicBezTo>
                    <a:pt x="32043" y="8170"/>
                    <a:pt x="25532" y="755"/>
                    <a:pt x="16851" y="32"/>
                  </a:cubicBezTo>
                  <a:cubicBezTo>
                    <a:pt x="8170" y="-511"/>
                    <a:pt x="755" y="6000"/>
                    <a:pt x="32" y="14681"/>
                  </a:cubicBezTo>
                  <a:cubicBezTo>
                    <a:pt x="-511" y="23362"/>
                    <a:pt x="6000" y="30777"/>
                    <a:pt x="14681" y="31500"/>
                  </a:cubicBezTo>
                  <a:cubicBezTo>
                    <a:pt x="23542" y="32043"/>
                    <a:pt x="30958" y="25532"/>
                    <a:pt x="31500" y="168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1" name="Google Shape;1351;p53"/>
            <p:cNvSpPr/>
            <p:nvPr/>
          </p:nvSpPr>
          <p:spPr>
            <a:xfrm>
              <a:off x="12523195" y="5669897"/>
              <a:ext cx="34059" cy="34059"/>
            </a:xfrm>
            <a:custGeom>
              <a:avLst/>
              <a:gdLst/>
              <a:ahLst/>
              <a:cxnLst/>
              <a:rect l="l" t="t" r="r" b="b"/>
              <a:pathLst>
                <a:path w="34059" h="34059" extrusionOk="0">
                  <a:moveTo>
                    <a:pt x="34030" y="18115"/>
                  </a:moveTo>
                  <a:cubicBezTo>
                    <a:pt x="34573" y="8710"/>
                    <a:pt x="27519" y="572"/>
                    <a:pt x="18115" y="29"/>
                  </a:cubicBezTo>
                  <a:cubicBezTo>
                    <a:pt x="8711" y="-513"/>
                    <a:pt x="572" y="6540"/>
                    <a:pt x="29" y="15945"/>
                  </a:cubicBezTo>
                  <a:cubicBezTo>
                    <a:pt x="-513" y="25349"/>
                    <a:pt x="6540" y="33487"/>
                    <a:pt x="15945" y="34030"/>
                  </a:cubicBezTo>
                  <a:cubicBezTo>
                    <a:pt x="25349" y="34573"/>
                    <a:pt x="33488" y="27519"/>
                    <a:pt x="34030" y="181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2" name="Google Shape;1352;p53"/>
            <p:cNvSpPr/>
            <p:nvPr/>
          </p:nvSpPr>
          <p:spPr>
            <a:xfrm>
              <a:off x="11863754" y="5691193"/>
              <a:ext cx="71767" cy="71767"/>
            </a:xfrm>
            <a:custGeom>
              <a:avLst/>
              <a:gdLst/>
              <a:ahLst/>
              <a:cxnLst/>
              <a:rect l="l" t="t" r="r" b="b"/>
              <a:pathLst>
                <a:path w="71767" h="71767" extrusionOk="0">
                  <a:moveTo>
                    <a:pt x="71693" y="38235"/>
                  </a:moveTo>
                  <a:cubicBezTo>
                    <a:pt x="72959" y="18522"/>
                    <a:pt x="57948" y="1341"/>
                    <a:pt x="38235" y="75"/>
                  </a:cubicBezTo>
                  <a:cubicBezTo>
                    <a:pt x="18522" y="-1191"/>
                    <a:pt x="1341" y="13820"/>
                    <a:pt x="75" y="33533"/>
                  </a:cubicBezTo>
                  <a:cubicBezTo>
                    <a:pt x="-1191" y="53246"/>
                    <a:pt x="13820" y="70427"/>
                    <a:pt x="33533" y="71693"/>
                  </a:cubicBezTo>
                  <a:cubicBezTo>
                    <a:pt x="53427" y="72959"/>
                    <a:pt x="70427" y="57948"/>
                    <a:pt x="71693" y="382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3" name="Google Shape;1353;p53"/>
            <p:cNvSpPr/>
            <p:nvPr/>
          </p:nvSpPr>
          <p:spPr>
            <a:xfrm>
              <a:off x="12008113" y="5131666"/>
              <a:ext cx="25213" cy="25194"/>
            </a:xfrm>
            <a:custGeom>
              <a:avLst/>
              <a:gdLst/>
              <a:ahLst/>
              <a:cxnLst/>
              <a:rect l="l" t="t" r="r" b="b"/>
              <a:pathLst>
                <a:path w="25213" h="25194" extrusionOk="0">
                  <a:moveTo>
                    <a:pt x="25176" y="13421"/>
                  </a:moveTo>
                  <a:cubicBezTo>
                    <a:pt x="25719" y="6367"/>
                    <a:pt x="20293" y="399"/>
                    <a:pt x="13421" y="37"/>
                  </a:cubicBezTo>
                  <a:cubicBezTo>
                    <a:pt x="6367" y="-505"/>
                    <a:pt x="399" y="4921"/>
                    <a:pt x="37" y="11793"/>
                  </a:cubicBezTo>
                  <a:cubicBezTo>
                    <a:pt x="-505" y="18846"/>
                    <a:pt x="4920" y="24815"/>
                    <a:pt x="11793" y="25176"/>
                  </a:cubicBezTo>
                  <a:cubicBezTo>
                    <a:pt x="18846" y="25538"/>
                    <a:pt x="24814" y="20293"/>
                    <a:pt x="25176" y="134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4" name="Google Shape;1354;p53"/>
            <p:cNvSpPr/>
            <p:nvPr/>
          </p:nvSpPr>
          <p:spPr>
            <a:xfrm>
              <a:off x="12527347" y="5674049"/>
              <a:ext cx="25936" cy="25916"/>
            </a:xfrm>
            <a:custGeom>
              <a:avLst/>
              <a:gdLst/>
              <a:ahLst/>
              <a:cxnLst/>
              <a:rect l="l" t="t" r="r" b="b"/>
              <a:pathLst>
                <a:path w="25936" h="25916" extrusionOk="0">
                  <a:moveTo>
                    <a:pt x="25899" y="13782"/>
                  </a:moveTo>
                  <a:cubicBezTo>
                    <a:pt x="26442" y="6548"/>
                    <a:pt x="21016" y="399"/>
                    <a:pt x="13782" y="37"/>
                  </a:cubicBezTo>
                  <a:cubicBezTo>
                    <a:pt x="6548" y="-505"/>
                    <a:pt x="399" y="4921"/>
                    <a:pt x="37" y="12155"/>
                  </a:cubicBezTo>
                  <a:cubicBezTo>
                    <a:pt x="-505" y="19389"/>
                    <a:pt x="4920" y="25538"/>
                    <a:pt x="12154" y="25900"/>
                  </a:cubicBezTo>
                  <a:cubicBezTo>
                    <a:pt x="19208" y="26261"/>
                    <a:pt x="25357" y="20836"/>
                    <a:pt x="25899" y="137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5" name="Google Shape;1355;p53"/>
            <p:cNvSpPr/>
            <p:nvPr/>
          </p:nvSpPr>
          <p:spPr>
            <a:xfrm>
              <a:off x="12448842" y="5157696"/>
              <a:ext cx="53996" cy="53996"/>
            </a:xfrm>
            <a:custGeom>
              <a:avLst/>
              <a:gdLst/>
              <a:ahLst/>
              <a:cxnLst/>
              <a:rect l="l" t="t" r="r" b="b"/>
              <a:pathLst>
                <a:path w="53996" h="53996" extrusionOk="0">
                  <a:moveTo>
                    <a:pt x="53946" y="28807"/>
                  </a:moveTo>
                  <a:cubicBezTo>
                    <a:pt x="54850" y="13977"/>
                    <a:pt x="43637" y="1136"/>
                    <a:pt x="28807" y="51"/>
                  </a:cubicBezTo>
                  <a:cubicBezTo>
                    <a:pt x="13977" y="-853"/>
                    <a:pt x="1137" y="10360"/>
                    <a:pt x="51" y="25190"/>
                  </a:cubicBezTo>
                  <a:cubicBezTo>
                    <a:pt x="-853" y="40020"/>
                    <a:pt x="10360" y="52861"/>
                    <a:pt x="25190" y="53946"/>
                  </a:cubicBezTo>
                  <a:cubicBezTo>
                    <a:pt x="40020" y="54850"/>
                    <a:pt x="52861" y="43637"/>
                    <a:pt x="53946" y="288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6" name="Google Shape;1356;p53"/>
            <p:cNvSpPr/>
            <p:nvPr/>
          </p:nvSpPr>
          <p:spPr>
            <a:xfrm>
              <a:off x="12603143" y="3913992"/>
              <a:ext cx="24091" cy="24110"/>
            </a:xfrm>
            <a:custGeom>
              <a:avLst/>
              <a:gdLst/>
              <a:ahLst/>
              <a:cxnLst/>
              <a:rect l="l" t="t" r="r" b="b"/>
              <a:pathLst>
                <a:path w="24091" h="24110" extrusionOk="0">
                  <a:moveTo>
                    <a:pt x="24073" y="12859"/>
                  </a:moveTo>
                  <a:cubicBezTo>
                    <a:pt x="24434" y="6168"/>
                    <a:pt x="19551" y="561"/>
                    <a:pt x="12860" y="19"/>
                  </a:cubicBezTo>
                  <a:cubicBezTo>
                    <a:pt x="6168" y="-343"/>
                    <a:pt x="562" y="4540"/>
                    <a:pt x="19" y="11232"/>
                  </a:cubicBezTo>
                  <a:cubicBezTo>
                    <a:pt x="-343" y="17923"/>
                    <a:pt x="4540" y="23530"/>
                    <a:pt x="11232" y="24072"/>
                  </a:cubicBezTo>
                  <a:cubicBezTo>
                    <a:pt x="17924" y="24615"/>
                    <a:pt x="23530" y="19370"/>
                    <a:pt x="24073" y="128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7" name="Google Shape;1357;p53"/>
            <p:cNvSpPr/>
            <p:nvPr/>
          </p:nvSpPr>
          <p:spPr>
            <a:xfrm>
              <a:off x="12301460" y="3910177"/>
              <a:ext cx="26839" cy="26838"/>
            </a:xfrm>
            <a:custGeom>
              <a:avLst/>
              <a:gdLst/>
              <a:ahLst/>
              <a:cxnLst/>
              <a:rect l="l" t="t" r="r" b="b"/>
              <a:pathLst>
                <a:path w="26839" h="26838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345"/>
                    <a:pt x="26441" y="21739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8" name="Google Shape;1358;p53"/>
            <p:cNvSpPr/>
            <p:nvPr/>
          </p:nvSpPr>
          <p:spPr>
            <a:xfrm>
              <a:off x="12572314" y="3883344"/>
              <a:ext cx="85548" cy="85547"/>
            </a:xfrm>
            <a:custGeom>
              <a:avLst/>
              <a:gdLst/>
              <a:ahLst/>
              <a:cxnLst/>
              <a:rect l="l" t="t" r="r" b="b"/>
              <a:pathLst>
                <a:path w="85548" h="85547" extrusionOk="0">
                  <a:moveTo>
                    <a:pt x="85466" y="45497"/>
                  </a:moveTo>
                  <a:cubicBezTo>
                    <a:pt x="86913" y="21986"/>
                    <a:pt x="69189" y="1550"/>
                    <a:pt x="45497" y="103"/>
                  </a:cubicBezTo>
                  <a:cubicBezTo>
                    <a:pt x="21986" y="-1525"/>
                    <a:pt x="1549" y="16380"/>
                    <a:pt x="103" y="40071"/>
                  </a:cubicBezTo>
                  <a:cubicBezTo>
                    <a:pt x="-1525" y="63583"/>
                    <a:pt x="16380" y="84019"/>
                    <a:pt x="40071" y="85466"/>
                  </a:cubicBezTo>
                  <a:cubicBezTo>
                    <a:pt x="63583" y="86913"/>
                    <a:pt x="84019" y="69008"/>
                    <a:pt x="85466" y="4549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9" name="Google Shape;1359;p53"/>
            <p:cNvSpPr/>
            <p:nvPr/>
          </p:nvSpPr>
          <p:spPr>
            <a:xfrm>
              <a:off x="12301641" y="3910357"/>
              <a:ext cx="26477" cy="26477"/>
            </a:xfrm>
            <a:custGeom>
              <a:avLst/>
              <a:gdLst/>
              <a:ahLst/>
              <a:cxnLst/>
              <a:rect l="l" t="t" r="r" b="b"/>
              <a:pathLst>
                <a:path w="26477" h="26477" extrusionOk="0">
                  <a:moveTo>
                    <a:pt x="26441" y="14143"/>
                  </a:moveTo>
                  <a:cubicBezTo>
                    <a:pt x="26983" y="6909"/>
                    <a:pt x="21377" y="579"/>
                    <a:pt x="14143" y="36"/>
                  </a:cubicBezTo>
                  <a:cubicBezTo>
                    <a:pt x="6909" y="-506"/>
                    <a:pt x="579" y="5100"/>
                    <a:pt x="36" y="12335"/>
                  </a:cubicBezTo>
                  <a:cubicBezTo>
                    <a:pt x="-506" y="19569"/>
                    <a:pt x="5100" y="25899"/>
                    <a:pt x="12334" y="26441"/>
                  </a:cubicBezTo>
                  <a:cubicBezTo>
                    <a:pt x="19749" y="26984"/>
                    <a:pt x="25898" y="21377"/>
                    <a:pt x="26441" y="141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0" name="Google Shape;1360;p53"/>
            <p:cNvSpPr/>
            <p:nvPr/>
          </p:nvSpPr>
          <p:spPr>
            <a:xfrm>
              <a:off x="12605311" y="3916159"/>
              <a:ext cx="19756" cy="19756"/>
            </a:xfrm>
            <a:custGeom>
              <a:avLst/>
              <a:gdLst/>
              <a:ahLst/>
              <a:cxnLst/>
              <a:rect l="l" t="t" r="r" b="b"/>
              <a:pathLst>
                <a:path w="19756" h="19756" extrusionOk="0">
                  <a:moveTo>
                    <a:pt x="19735" y="10512"/>
                  </a:moveTo>
                  <a:cubicBezTo>
                    <a:pt x="20097" y="5086"/>
                    <a:pt x="15937" y="384"/>
                    <a:pt x="10511" y="22"/>
                  </a:cubicBezTo>
                  <a:cubicBezTo>
                    <a:pt x="5086" y="-340"/>
                    <a:pt x="383" y="3820"/>
                    <a:pt x="22" y="9245"/>
                  </a:cubicBezTo>
                  <a:cubicBezTo>
                    <a:pt x="-340" y="14671"/>
                    <a:pt x="3820" y="19373"/>
                    <a:pt x="9245" y="19735"/>
                  </a:cubicBezTo>
                  <a:cubicBezTo>
                    <a:pt x="14671" y="20097"/>
                    <a:pt x="19373" y="15937"/>
                    <a:pt x="19735" y="1051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1" name="Google Shape;1361;p53"/>
            <p:cNvSpPr/>
            <p:nvPr/>
          </p:nvSpPr>
          <p:spPr>
            <a:xfrm>
              <a:off x="11097491" y="3955550"/>
              <a:ext cx="47678" cy="47678"/>
            </a:xfrm>
            <a:custGeom>
              <a:avLst/>
              <a:gdLst/>
              <a:ahLst/>
              <a:cxnLst/>
              <a:rect l="l" t="t" r="r" b="b"/>
              <a:pathLst>
                <a:path w="47678" h="47678" extrusionOk="0">
                  <a:moveTo>
                    <a:pt x="47622" y="25377"/>
                  </a:moveTo>
                  <a:cubicBezTo>
                    <a:pt x="48526" y="12175"/>
                    <a:pt x="38579" y="781"/>
                    <a:pt x="25377" y="57"/>
                  </a:cubicBezTo>
                  <a:cubicBezTo>
                    <a:pt x="12174" y="-847"/>
                    <a:pt x="780" y="9100"/>
                    <a:pt x="57" y="22302"/>
                  </a:cubicBezTo>
                  <a:cubicBezTo>
                    <a:pt x="-847" y="35505"/>
                    <a:pt x="9100" y="46899"/>
                    <a:pt x="22302" y="47622"/>
                  </a:cubicBezTo>
                  <a:cubicBezTo>
                    <a:pt x="35324" y="48526"/>
                    <a:pt x="46718" y="38579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2" name="Google Shape;1362;p53"/>
            <p:cNvSpPr/>
            <p:nvPr/>
          </p:nvSpPr>
          <p:spPr>
            <a:xfrm>
              <a:off x="10679156" y="3167368"/>
              <a:ext cx="70324" cy="70323"/>
            </a:xfrm>
            <a:custGeom>
              <a:avLst/>
              <a:gdLst/>
              <a:ahLst/>
              <a:cxnLst/>
              <a:rect l="l" t="t" r="r" b="b"/>
              <a:pathLst>
                <a:path w="70324" h="70323" extrusionOk="0">
                  <a:moveTo>
                    <a:pt x="70248" y="37513"/>
                  </a:moveTo>
                  <a:cubicBezTo>
                    <a:pt x="71514" y="18162"/>
                    <a:pt x="56865" y="1342"/>
                    <a:pt x="37513" y="76"/>
                  </a:cubicBezTo>
                  <a:cubicBezTo>
                    <a:pt x="18162" y="-1190"/>
                    <a:pt x="1342" y="13459"/>
                    <a:pt x="76" y="32811"/>
                  </a:cubicBezTo>
                  <a:cubicBezTo>
                    <a:pt x="-1190" y="52162"/>
                    <a:pt x="13460" y="68982"/>
                    <a:pt x="32811" y="70248"/>
                  </a:cubicBezTo>
                  <a:cubicBezTo>
                    <a:pt x="52162" y="71514"/>
                    <a:pt x="68982" y="56865"/>
                    <a:pt x="70248" y="375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3" name="Google Shape;1363;p53"/>
            <p:cNvSpPr/>
            <p:nvPr/>
          </p:nvSpPr>
          <p:spPr>
            <a:xfrm>
              <a:off x="10203709" y="3532714"/>
              <a:ext cx="48038" cy="48038"/>
            </a:xfrm>
            <a:custGeom>
              <a:avLst/>
              <a:gdLst/>
              <a:ahLst/>
              <a:cxnLst/>
              <a:rect l="l" t="t" r="r" b="b"/>
              <a:pathLst>
                <a:path w="48038" h="48038" extrusionOk="0">
                  <a:moveTo>
                    <a:pt x="47982" y="25557"/>
                  </a:moveTo>
                  <a:cubicBezTo>
                    <a:pt x="48887" y="12354"/>
                    <a:pt x="38759" y="960"/>
                    <a:pt x="25557" y="56"/>
                  </a:cubicBezTo>
                  <a:cubicBezTo>
                    <a:pt x="12354" y="-848"/>
                    <a:pt x="960" y="9280"/>
                    <a:pt x="56" y="22482"/>
                  </a:cubicBezTo>
                  <a:cubicBezTo>
                    <a:pt x="-848" y="35685"/>
                    <a:pt x="9280" y="47078"/>
                    <a:pt x="22482" y="47983"/>
                  </a:cubicBezTo>
                  <a:cubicBezTo>
                    <a:pt x="35685" y="48887"/>
                    <a:pt x="47078" y="38759"/>
                    <a:pt x="47982" y="255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4" name="Google Shape;1364;p53"/>
            <p:cNvSpPr/>
            <p:nvPr/>
          </p:nvSpPr>
          <p:spPr>
            <a:xfrm>
              <a:off x="11107280" y="3965520"/>
              <a:ext cx="27920" cy="27921"/>
            </a:xfrm>
            <a:custGeom>
              <a:avLst/>
              <a:gdLst/>
              <a:ahLst/>
              <a:cxnLst/>
              <a:rect l="l" t="t" r="r" b="b"/>
              <a:pathLst>
                <a:path w="27920" h="27921" extrusionOk="0">
                  <a:moveTo>
                    <a:pt x="27886" y="14864"/>
                  </a:moveTo>
                  <a:cubicBezTo>
                    <a:pt x="28429" y="7088"/>
                    <a:pt x="22460" y="396"/>
                    <a:pt x="14864" y="34"/>
                  </a:cubicBezTo>
                  <a:cubicBezTo>
                    <a:pt x="7088" y="-508"/>
                    <a:pt x="396" y="5460"/>
                    <a:pt x="34" y="13056"/>
                  </a:cubicBezTo>
                  <a:cubicBezTo>
                    <a:pt x="-508" y="20833"/>
                    <a:pt x="5460" y="27524"/>
                    <a:pt x="13056" y="27886"/>
                  </a:cubicBezTo>
                  <a:cubicBezTo>
                    <a:pt x="20833" y="28429"/>
                    <a:pt x="27524" y="22641"/>
                    <a:pt x="27886" y="1486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5" name="Google Shape;1365;p53"/>
            <p:cNvSpPr/>
            <p:nvPr/>
          </p:nvSpPr>
          <p:spPr>
            <a:xfrm>
              <a:off x="11099526" y="3050781"/>
              <a:ext cx="9427" cy="9427"/>
            </a:xfrm>
            <a:custGeom>
              <a:avLst/>
              <a:gdLst/>
              <a:ahLst/>
              <a:cxnLst/>
              <a:rect l="l" t="t" r="r" b="b"/>
              <a:pathLst>
                <a:path w="9427" h="9427" extrusionOk="0">
                  <a:moveTo>
                    <a:pt x="9416" y="5075"/>
                  </a:moveTo>
                  <a:cubicBezTo>
                    <a:pt x="9597" y="2543"/>
                    <a:pt x="7607" y="192"/>
                    <a:pt x="5075" y="11"/>
                  </a:cubicBezTo>
                  <a:cubicBezTo>
                    <a:pt x="2543" y="-169"/>
                    <a:pt x="192" y="1820"/>
                    <a:pt x="11" y="4352"/>
                  </a:cubicBezTo>
                  <a:cubicBezTo>
                    <a:pt x="-169" y="6884"/>
                    <a:pt x="1820" y="9235"/>
                    <a:pt x="4352" y="9416"/>
                  </a:cubicBezTo>
                  <a:cubicBezTo>
                    <a:pt x="6884" y="9597"/>
                    <a:pt x="9235" y="7607"/>
                    <a:pt x="9416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6" name="Google Shape;1366;p53"/>
            <p:cNvSpPr/>
            <p:nvPr/>
          </p:nvSpPr>
          <p:spPr>
            <a:xfrm>
              <a:off x="10699996" y="3188208"/>
              <a:ext cx="28643" cy="28643"/>
            </a:xfrm>
            <a:custGeom>
              <a:avLst/>
              <a:gdLst/>
              <a:ahLst/>
              <a:cxnLst/>
              <a:rect l="l" t="t" r="r" b="b"/>
              <a:pathLst>
                <a:path w="28643" h="28643" extrusionOk="0">
                  <a:moveTo>
                    <a:pt x="28609" y="15226"/>
                  </a:moveTo>
                  <a:cubicBezTo>
                    <a:pt x="29152" y="7268"/>
                    <a:pt x="23184" y="577"/>
                    <a:pt x="15226" y="34"/>
                  </a:cubicBezTo>
                  <a:cubicBezTo>
                    <a:pt x="7268" y="-508"/>
                    <a:pt x="577" y="5460"/>
                    <a:pt x="34" y="13417"/>
                  </a:cubicBezTo>
                  <a:cubicBezTo>
                    <a:pt x="-508" y="21375"/>
                    <a:pt x="5460" y="28067"/>
                    <a:pt x="13417" y="28609"/>
                  </a:cubicBezTo>
                  <a:cubicBezTo>
                    <a:pt x="21194" y="29152"/>
                    <a:pt x="28066" y="23184"/>
                    <a:pt x="28609" y="152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7" name="Google Shape;1367;p53"/>
            <p:cNvSpPr/>
            <p:nvPr/>
          </p:nvSpPr>
          <p:spPr>
            <a:xfrm>
              <a:off x="11100942" y="3959001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3"/>
                    <a:pt x="32958" y="767"/>
                    <a:pt x="21745" y="43"/>
                  </a:cubicBezTo>
                  <a:cubicBezTo>
                    <a:pt x="10533" y="-680"/>
                    <a:pt x="766" y="7820"/>
                    <a:pt x="43" y="19033"/>
                  </a:cubicBezTo>
                  <a:cubicBezTo>
                    <a:pt x="-681" y="30246"/>
                    <a:pt x="7820" y="40012"/>
                    <a:pt x="19033" y="40735"/>
                  </a:cubicBezTo>
                  <a:cubicBezTo>
                    <a:pt x="30246" y="41459"/>
                    <a:pt x="40012" y="32959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8" name="Google Shape;1368;p53"/>
            <p:cNvSpPr/>
            <p:nvPr/>
          </p:nvSpPr>
          <p:spPr>
            <a:xfrm>
              <a:off x="11095715" y="3046789"/>
              <a:ext cx="17411" cy="17411"/>
            </a:xfrm>
            <a:custGeom>
              <a:avLst/>
              <a:gdLst/>
              <a:ahLst/>
              <a:cxnLst/>
              <a:rect l="l" t="t" r="r" b="b"/>
              <a:pathLst>
                <a:path w="17411" h="17411" extrusionOk="0">
                  <a:moveTo>
                    <a:pt x="17387" y="9249"/>
                  </a:moveTo>
                  <a:cubicBezTo>
                    <a:pt x="17749" y="4365"/>
                    <a:pt x="14132" y="206"/>
                    <a:pt x="9249" y="25"/>
                  </a:cubicBezTo>
                  <a:cubicBezTo>
                    <a:pt x="4366" y="-337"/>
                    <a:pt x="206" y="3280"/>
                    <a:pt x="25" y="8163"/>
                  </a:cubicBezTo>
                  <a:cubicBezTo>
                    <a:pt x="-337" y="13046"/>
                    <a:pt x="3280" y="17206"/>
                    <a:pt x="8164" y="17387"/>
                  </a:cubicBezTo>
                  <a:cubicBezTo>
                    <a:pt x="12866" y="17749"/>
                    <a:pt x="17025" y="14132"/>
                    <a:pt x="17387" y="92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9" name="Google Shape;1369;p53"/>
            <p:cNvSpPr/>
            <p:nvPr/>
          </p:nvSpPr>
          <p:spPr>
            <a:xfrm>
              <a:off x="11092236" y="3950295"/>
              <a:ext cx="58189" cy="58189"/>
            </a:xfrm>
            <a:custGeom>
              <a:avLst/>
              <a:gdLst/>
              <a:ahLst/>
              <a:cxnLst/>
              <a:rect l="l" t="t" r="r" b="b"/>
              <a:pathLst>
                <a:path w="58189" h="58189" extrusionOk="0">
                  <a:moveTo>
                    <a:pt x="58122" y="30994"/>
                  </a:moveTo>
                  <a:cubicBezTo>
                    <a:pt x="59207" y="14897"/>
                    <a:pt x="47090" y="1153"/>
                    <a:pt x="30994" y="68"/>
                  </a:cubicBezTo>
                  <a:cubicBezTo>
                    <a:pt x="14897" y="-1018"/>
                    <a:pt x="1153" y="11100"/>
                    <a:pt x="68" y="27196"/>
                  </a:cubicBezTo>
                  <a:cubicBezTo>
                    <a:pt x="-1018" y="43292"/>
                    <a:pt x="11099" y="57037"/>
                    <a:pt x="27196" y="58122"/>
                  </a:cubicBezTo>
                  <a:cubicBezTo>
                    <a:pt x="43292" y="59207"/>
                    <a:pt x="57037" y="47090"/>
                    <a:pt x="58122" y="309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0" name="Google Shape;1370;p53"/>
            <p:cNvSpPr/>
            <p:nvPr/>
          </p:nvSpPr>
          <p:spPr>
            <a:xfrm>
              <a:off x="12296206" y="3904922"/>
              <a:ext cx="37349" cy="37349"/>
            </a:xfrm>
            <a:custGeom>
              <a:avLst/>
              <a:gdLst/>
              <a:ahLst/>
              <a:cxnLst/>
              <a:rect l="l" t="t" r="r" b="b"/>
              <a:pathLst>
                <a:path w="37349" h="37349" extrusionOk="0">
                  <a:moveTo>
                    <a:pt x="37303" y="19940"/>
                  </a:moveTo>
                  <a:cubicBezTo>
                    <a:pt x="38026" y="9632"/>
                    <a:pt x="30249" y="770"/>
                    <a:pt x="19940" y="47"/>
                  </a:cubicBezTo>
                  <a:cubicBezTo>
                    <a:pt x="9632" y="-677"/>
                    <a:pt x="770" y="7100"/>
                    <a:pt x="47" y="17409"/>
                  </a:cubicBezTo>
                  <a:cubicBezTo>
                    <a:pt x="-677" y="27717"/>
                    <a:pt x="7100" y="36579"/>
                    <a:pt x="17409" y="37303"/>
                  </a:cubicBezTo>
                  <a:cubicBezTo>
                    <a:pt x="27717" y="38026"/>
                    <a:pt x="36579" y="30249"/>
                    <a:pt x="37303" y="199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1" name="Google Shape;1371;p53"/>
            <p:cNvSpPr/>
            <p:nvPr/>
          </p:nvSpPr>
          <p:spPr>
            <a:xfrm>
              <a:off x="11362614" y="4185588"/>
              <a:ext cx="58549" cy="58530"/>
            </a:xfrm>
            <a:custGeom>
              <a:avLst/>
              <a:gdLst/>
              <a:ahLst/>
              <a:cxnLst/>
              <a:rect l="l" t="t" r="r" b="b"/>
              <a:pathLst>
                <a:path w="58549" h="58530" extrusionOk="0">
                  <a:moveTo>
                    <a:pt x="58483" y="31174"/>
                  </a:moveTo>
                  <a:cubicBezTo>
                    <a:pt x="59568" y="15078"/>
                    <a:pt x="47270" y="1152"/>
                    <a:pt x="31174" y="67"/>
                  </a:cubicBezTo>
                  <a:cubicBezTo>
                    <a:pt x="15078" y="-1018"/>
                    <a:pt x="1152" y="11280"/>
                    <a:pt x="67" y="27376"/>
                  </a:cubicBezTo>
                  <a:cubicBezTo>
                    <a:pt x="-1018" y="43472"/>
                    <a:pt x="11280" y="57397"/>
                    <a:pt x="27376" y="58483"/>
                  </a:cubicBezTo>
                  <a:cubicBezTo>
                    <a:pt x="43472" y="59387"/>
                    <a:pt x="57397" y="47270"/>
                    <a:pt x="58483" y="3117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2" name="Google Shape;1372;p53"/>
            <p:cNvSpPr/>
            <p:nvPr/>
          </p:nvSpPr>
          <p:spPr>
            <a:xfrm>
              <a:off x="11087932" y="3039187"/>
              <a:ext cx="32615" cy="32615"/>
            </a:xfrm>
            <a:custGeom>
              <a:avLst/>
              <a:gdLst/>
              <a:ahLst/>
              <a:cxnLst/>
              <a:rect l="l" t="t" r="r" b="b"/>
              <a:pathLst>
                <a:path w="32615" h="32615" extrusionOk="0">
                  <a:moveTo>
                    <a:pt x="32585" y="17393"/>
                  </a:moveTo>
                  <a:cubicBezTo>
                    <a:pt x="33127" y="8350"/>
                    <a:pt x="26435" y="754"/>
                    <a:pt x="17393" y="31"/>
                  </a:cubicBezTo>
                  <a:cubicBezTo>
                    <a:pt x="8350" y="-512"/>
                    <a:pt x="754" y="6180"/>
                    <a:pt x="31" y="15223"/>
                  </a:cubicBezTo>
                  <a:cubicBezTo>
                    <a:pt x="-512" y="24265"/>
                    <a:pt x="6180" y="31861"/>
                    <a:pt x="15222" y="32585"/>
                  </a:cubicBezTo>
                  <a:cubicBezTo>
                    <a:pt x="24265" y="33127"/>
                    <a:pt x="32042" y="26436"/>
                    <a:pt x="32585" y="173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3" name="Google Shape;1373;p53"/>
            <p:cNvSpPr/>
            <p:nvPr/>
          </p:nvSpPr>
          <p:spPr>
            <a:xfrm>
              <a:off x="12188375" y="2407768"/>
              <a:ext cx="79570" cy="79570"/>
            </a:xfrm>
            <a:custGeom>
              <a:avLst/>
              <a:gdLst/>
              <a:ahLst/>
              <a:cxnLst/>
              <a:rect l="l" t="t" r="r" b="b"/>
              <a:pathLst>
                <a:path w="79570" h="79570" extrusionOk="0">
                  <a:moveTo>
                    <a:pt x="79483" y="42408"/>
                  </a:moveTo>
                  <a:cubicBezTo>
                    <a:pt x="80930" y="20524"/>
                    <a:pt x="64291" y="1535"/>
                    <a:pt x="42408" y="88"/>
                  </a:cubicBezTo>
                  <a:cubicBezTo>
                    <a:pt x="20524" y="-1359"/>
                    <a:pt x="1535" y="15279"/>
                    <a:pt x="88" y="37163"/>
                  </a:cubicBezTo>
                  <a:cubicBezTo>
                    <a:pt x="-1359" y="59046"/>
                    <a:pt x="15279" y="78036"/>
                    <a:pt x="37163" y="79483"/>
                  </a:cubicBezTo>
                  <a:cubicBezTo>
                    <a:pt x="59046" y="80930"/>
                    <a:pt x="78036" y="64291"/>
                    <a:pt x="79483" y="424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4" name="Google Shape;1374;p53"/>
            <p:cNvSpPr/>
            <p:nvPr/>
          </p:nvSpPr>
          <p:spPr>
            <a:xfrm>
              <a:off x="11834861" y="2829938"/>
              <a:ext cx="30989" cy="30989"/>
            </a:xfrm>
            <a:custGeom>
              <a:avLst/>
              <a:gdLst/>
              <a:ahLst/>
              <a:cxnLst/>
              <a:rect l="l" t="t" r="r" b="b"/>
              <a:pathLst>
                <a:path w="30989" h="30989" extrusionOk="0">
                  <a:moveTo>
                    <a:pt x="30958" y="16489"/>
                  </a:moveTo>
                  <a:cubicBezTo>
                    <a:pt x="31500" y="7989"/>
                    <a:pt x="24989" y="574"/>
                    <a:pt x="16489" y="32"/>
                  </a:cubicBezTo>
                  <a:cubicBezTo>
                    <a:pt x="7989" y="-511"/>
                    <a:pt x="574" y="6000"/>
                    <a:pt x="32" y="14500"/>
                  </a:cubicBezTo>
                  <a:cubicBezTo>
                    <a:pt x="-511" y="23000"/>
                    <a:pt x="6000" y="30415"/>
                    <a:pt x="14500" y="30958"/>
                  </a:cubicBezTo>
                  <a:cubicBezTo>
                    <a:pt x="23000" y="31500"/>
                    <a:pt x="30415" y="24989"/>
                    <a:pt x="30958" y="1648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5" name="Google Shape;1375;p53"/>
            <p:cNvSpPr/>
            <p:nvPr/>
          </p:nvSpPr>
          <p:spPr>
            <a:xfrm>
              <a:off x="12205404" y="2424796"/>
              <a:ext cx="45512" cy="45512"/>
            </a:xfrm>
            <a:custGeom>
              <a:avLst/>
              <a:gdLst/>
              <a:ahLst/>
              <a:cxnLst/>
              <a:rect l="l" t="t" r="r" b="b"/>
              <a:pathLst>
                <a:path w="45512" h="45512" extrusionOk="0">
                  <a:moveTo>
                    <a:pt x="45454" y="24294"/>
                  </a:moveTo>
                  <a:cubicBezTo>
                    <a:pt x="46358" y="11815"/>
                    <a:pt x="36773" y="963"/>
                    <a:pt x="24293" y="59"/>
                  </a:cubicBezTo>
                  <a:cubicBezTo>
                    <a:pt x="11814" y="-845"/>
                    <a:pt x="964" y="8740"/>
                    <a:pt x="59" y="21219"/>
                  </a:cubicBezTo>
                  <a:cubicBezTo>
                    <a:pt x="-845" y="33698"/>
                    <a:pt x="8740" y="44549"/>
                    <a:pt x="21219" y="45453"/>
                  </a:cubicBezTo>
                  <a:cubicBezTo>
                    <a:pt x="33879" y="46358"/>
                    <a:pt x="44730" y="36773"/>
                    <a:pt x="45454" y="242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6" name="Google Shape;1376;p53"/>
            <p:cNvSpPr/>
            <p:nvPr/>
          </p:nvSpPr>
          <p:spPr>
            <a:xfrm>
              <a:off x="11822344" y="2817421"/>
              <a:ext cx="56203" cy="56203"/>
            </a:xfrm>
            <a:custGeom>
              <a:avLst/>
              <a:gdLst/>
              <a:ahLst/>
              <a:cxnLst/>
              <a:rect l="l" t="t" r="r" b="b"/>
              <a:pathLst>
                <a:path w="56203" h="56203" extrusionOk="0">
                  <a:moveTo>
                    <a:pt x="56134" y="29910"/>
                  </a:moveTo>
                  <a:cubicBezTo>
                    <a:pt x="57220" y="14357"/>
                    <a:pt x="45464" y="974"/>
                    <a:pt x="29910" y="69"/>
                  </a:cubicBezTo>
                  <a:cubicBezTo>
                    <a:pt x="14357" y="-1016"/>
                    <a:pt x="974" y="10740"/>
                    <a:pt x="69" y="26293"/>
                  </a:cubicBezTo>
                  <a:cubicBezTo>
                    <a:pt x="-1016" y="41847"/>
                    <a:pt x="10740" y="55230"/>
                    <a:pt x="26293" y="56134"/>
                  </a:cubicBezTo>
                  <a:cubicBezTo>
                    <a:pt x="41666" y="57219"/>
                    <a:pt x="55049" y="45464"/>
                    <a:pt x="56134" y="2991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7" name="Google Shape;1377;p53"/>
            <p:cNvSpPr/>
            <p:nvPr/>
          </p:nvSpPr>
          <p:spPr>
            <a:xfrm>
              <a:off x="12260419" y="3077354"/>
              <a:ext cx="17952" cy="17952"/>
            </a:xfrm>
            <a:custGeom>
              <a:avLst/>
              <a:gdLst/>
              <a:ahLst/>
              <a:cxnLst/>
              <a:rect l="l" t="t" r="r" b="b"/>
              <a:pathLst>
                <a:path w="17952" h="17952" extrusionOk="0">
                  <a:moveTo>
                    <a:pt x="17928" y="9609"/>
                  </a:moveTo>
                  <a:cubicBezTo>
                    <a:pt x="18290" y="4726"/>
                    <a:pt x="14492" y="386"/>
                    <a:pt x="9609" y="24"/>
                  </a:cubicBezTo>
                  <a:cubicBezTo>
                    <a:pt x="4726" y="-338"/>
                    <a:pt x="385" y="3460"/>
                    <a:pt x="24" y="8343"/>
                  </a:cubicBezTo>
                  <a:cubicBezTo>
                    <a:pt x="-338" y="13226"/>
                    <a:pt x="3460" y="17567"/>
                    <a:pt x="8343" y="17929"/>
                  </a:cubicBezTo>
                  <a:cubicBezTo>
                    <a:pt x="13407" y="18290"/>
                    <a:pt x="17748" y="14492"/>
                    <a:pt x="17928" y="96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8" name="Google Shape;1378;p53"/>
            <p:cNvSpPr/>
            <p:nvPr/>
          </p:nvSpPr>
          <p:spPr>
            <a:xfrm>
              <a:off x="12204862" y="2424255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4"/>
                    <a:pt x="37676" y="781"/>
                    <a:pt x="24835" y="58"/>
                  </a:cubicBezTo>
                  <a:cubicBezTo>
                    <a:pt x="11995" y="-846"/>
                    <a:pt x="782" y="8920"/>
                    <a:pt x="58" y="21761"/>
                  </a:cubicBezTo>
                  <a:cubicBezTo>
                    <a:pt x="-846" y="34601"/>
                    <a:pt x="8920" y="45814"/>
                    <a:pt x="21761" y="46538"/>
                  </a:cubicBezTo>
                  <a:cubicBezTo>
                    <a:pt x="34601" y="47442"/>
                    <a:pt x="45814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9" name="Google Shape;1379;p53"/>
            <p:cNvSpPr/>
            <p:nvPr/>
          </p:nvSpPr>
          <p:spPr>
            <a:xfrm>
              <a:off x="11843565" y="2838642"/>
              <a:ext cx="13581" cy="13603"/>
            </a:xfrm>
            <a:custGeom>
              <a:avLst/>
              <a:gdLst/>
              <a:ahLst/>
              <a:cxnLst/>
              <a:rect l="l" t="t" r="r" b="b"/>
              <a:pathLst>
                <a:path w="13581" h="13603" extrusionOk="0">
                  <a:moveTo>
                    <a:pt x="13573" y="7243"/>
                  </a:moveTo>
                  <a:cubicBezTo>
                    <a:pt x="13753" y="3445"/>
                    <a:pt x="11041" y="189"/>
                    <a:pt x="7243" y="9"/>
                  </a:cubicBezTo>
                  <a:cubicBezTo>
                    <a:pt x="3445" y="-172"/>
                    <a:pt x="189" y="2540"/>
                    <a:pt x="9" y="6338"/>
                  </a:cubicBezTo>
                  <a:cubicBezTo>
                    <a:pt x="-172" y="10136"/>
                    <a:pt x="2540" y="13392"/>
                    <a:pt x="6339" y="13573"/>
                  </a:cubicBezTo>
                  <a:cubicBezTo>
                    <a:pt x="10136" y="13934"/>
                    <a:pt x="13392" y="11041"/>
                    <a:pt x="13573" y="72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0" name="Google Shape;1380;p53"/>
            <p:cNvSpPr/>
            <p:nvPr/>
          </p:nvSpPr>
          <p:spPr>
            <a:xfrm>
              <a:off x="12236128" y="3053064"/>
              <a:ext cx="66352" cy="66352"/>
            </a:xfrm>
            <a:custGeom>
              <a:avLst/>
              <a:gdLst/>
              <a:ahLst/>
              <a:cxnLst/>
              <a:rect l="l" t="t" r="r" b="b"/>
              <a:pathLst>
                <a:path w="66352" h="66352" extrusionOk="0">
                  <a:moveTo>
                    <a:pt x="66273" y="35346"/>
                  </a:moveTo>
                  <a:cubicBezTo>
                    <a:pt x="67538" y="17080"/>
                    <a:pt x="53613" y="1346"/>
                    <a:pt x="35346" y="80"/>
                  </a:cubicBezTo>
                  <a:cubicBezTo>
                    <a:pt x="17080" y="-1186"/>
                    <a:pt x="1346" y="12740"/>
                    <a:pt x="80" y="31006"/>
                  </a:cubicBezTo>
                  <a:cubicBezTo>
                    <a:pt x="-1186" y="49272"/>
                    <a:pt x="12739" y="65007"/>
                    <a:pt x="31006" y="66273"/>
                  </a:cubicBezTo>
                  <a:cubicBezTo>
                    <a:pt x="49453" y="67539"/>
                    <a:pt x="65188" y="53613"/>
                    <a:pt x="66273" y="3534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1" name="Google Shape;1381;p53"/>
            <p:cNvSpPr/>
            <p:nvPr/>
          </p:nvSpPr>
          <p:spPr>
            <a:xfrm>
              <a:off x="12201269" y="3152579"/>
              <a:ext cx="28643" cy="28624"/>
            </a:xfrm>
            <a:custGeom>
              <a:avLst/>
              <a:gdLst/>
              <a:ahLst/>
              <a:cxnLst/>
              <a:rect l="l" t="t" r="r" b="b"/>
              <a:pathLst>
                <a:path w="28643" h="28624" extrusionOk="0">
                  <a:moveTo>
                    <a:pt x="28609" y="15226"/>
                  </a:moveTo>
                  <a:cubicBezTo>
                    <a:pt x="29152" y="7449"/>
                    <a:pt x="23184" y="577"/>
                    <a:pt x="15226" y="34"/>
                  </a:cubicBezTo>
                  <a:cubicBezTo>
                    <a:pt x="7449" y="-508"/>
                    <a:pt x="577" y="5460"/>
                    <a:pt x="34" y="13417"/>
                  </a:cubicBezTo>
                  <a:cubicBezTo>
                    <a:pt x="-509" y="21194"/>
                    <a:pt x="5460" y="28067"/>
                    <a:pt x="13417" y="28609"/>
                  </a:cubicBezTo>
                  <a:cubicBezTo>
                    <a:pt x="21194" y="28971"/>
                    <a:pt x="28067" y="23003"/>
                    <a:pt x="28609" y="152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2" name="Google Shape;1382;p53"/>
            <p:cNvSpPr/>
            <p:nvPr/>
          </p:nvSpPr>
          <p:spPr>
            <a:xfrm>
              <a:off x="11826516" y="2821593"/>
              <a:ext cx="47678" cy="47678"/>
            </a:xfrm>
            <a:custGeom>
              <a:avLst/>
              <a:gdLst/>
              <a:ahLst/>
              <a:cxnLst/>
              <a:rect l="l" t="t" r="r" b="b"/>
              <a:pathLst>
                <a:path w="47678" h="47678" extrusionOk="0">
                  <a:moveTo>
                    <a:pt x="47622" y="25377"/>
                  </a:moveTo>
                  <a:cubicBezTo>
                    <a:pt x="48526" y="12174"/>
                    <a:pt x="38579" y="781"/>
                    <a:pt x="25377" y="57"/>
                  </a:cubicBezTo>
                  <a:cubicBezTo>
                    <a:pt x="12174" y="-847"/>
                    <a:pt x="781" y="9100"/>
                    <a:pt x="57" y="22302"/>
                  </a:cubicBezTo>
                  <a:cubicBezTo>
                    <a:pt x="-847" y="35505"/>
                    <a:pt x="9100" y="46898"/>
                    <a:pt x="22302" y="47622"/>
                  </a:cubicBezTo>
                  <a:cubicBezTo>
                    <a:pt x="35505" y="48526"/>
                    <a:pt x="46718" y="38579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3" name="Google Shape;1383;p53"/>
            <p:cNvSpPr/>
            <p:nvPr/>
          </p:nvSpPr>
          <p:spPr>
            <a:xfrm>
              <a:off x="12244112" y="3060866"/>
              <a:ext cx="50747" cy="50747"/>
            </a:xfrm>
            <a:custGeom>
              <a:avLst/>
              <a:gdLst/>
              <a:ahLst/>
              <a:cxnLst/>
              <a:rect l="l" t="t" r="r" b="b"/>
              <a:pathLst>
                <a:path w="50747" h="50747" extrusionOk="0">
                  <a:moveTo>
                    <a:pt x="50693" y="27002"/>
                  </a:moveTo>
                  <a:cubicBezTo>
                    <a:pt x="51597" y="13076"/>
                    <a:pt x="41108" y="959"/>
                    <a:pt x="27002" y="54"/>
                  </a:cubicBezTo>
                  <a:cubicBezTo>
                    <a:pt x="12895" y="-850"/>
                    <a:pt x="958" y="9640"/>
                    <a:pt x="54" y="23746"/>
                  </a:cubicBezTo>
                  <a:cubicBezTo>
                    <a:pt x="-850" y="37672"/>
                    <a:pt x="9640" y="49789"/>
                    <a:pt x="23746" y="50694"/>
                  </a:cubicBezTo>
                  <a:cubicBezTo>
                    <a:pt x="37672" y="51598"/>
                    <a:pt x="49789" y="41108"/>
                    <a:pt x="50693" y="270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4" name="Google Shape;1384;p53"/>
            <p:cNvSpPr/>
            <p:nvPr/>
          </p:nvSpPr>
          <p:spPr>
            <a:xfrm>
              <a:off x="12479244" y="2430430"/>
              <a:ext cx="30267" cy="30267"/>
            </a:xfrm>
            <a:custGeom>
              <a:avLst/>
              <a:gdLst/>
              <a:ahLst/>
              <a:cxnLst/>
              <a:rect l="l" t="t" r="r" b="b"/>
              <a:pathLst>
                <a:path w="30267" h="30267" extrusionOk="0">
                  <a:moveTo>
                    <a:pt x="30235" y="16128"/>
                  </a:moveTo>
                  <a:cubicBezTo>
                    <a:pt x="30777" y="7809"/>
                    <a:pt x="24447" y="575"/>
                    <a:pt x="16128" y="32"/>
                  </a:cubicBezTo>
                  <a:cubicBezTo>
                    <a:pt x="7809" y="-510"/>
                    <a:pt x="575" y="5820"/>
                    <a:pt x="32" y="14139"/>
                  </a:cubicBezTo>
                  <a:cubicBezTo>
                    <a:pt x="-510" y="22458"/>
                    <a:pt x="5819" y="29693"/>
                    <a:pt x="14139" y="30235"/>
                  </a:cubicBezTo>
                  <a:cubicBezTo>
                    <a:pt x="22458" y="30778"/>
                    <a:pt x="29692" y="24448"/>
                    <a:pt x="30235" y="161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5" name="Google Shape;1385;p53"/>
            <p:cNvSpPr/>
            <p:nvPr/>
          </p:nvSpPr>
          <p:spPr>
            <a:xfrm>
              <a:off x="12206146" y="2425518"/>
              <a:ext cx="43847" cy="43889"/>
            </a:xfrm>
            <a:custGeom>
              <a:avLst/>
              <a:gdLst/>
              <a:ahLst/>
              <a:cxnLst/>
              <a:rect l="l" t="t" r="r" b="b"/>
              <a:pathLst>
                <a:path w="43847" h="43889" extrusionOk="0">
                  <a:moveTo>
                    <a:pt x="43807" y="23391"/>
                  </a:moveTo>
                  <a:cubicBezTo>
                    <a:pt x="44531" y="11274"/>
                    <a:pt x="35488" y="965"/>
                    <a:pt x="23371" y="61"/>
                  </a:cubicBezTo>
                  <a:cubicBezTo>
                    <a:pt x="11253" y="-843"/>
                    <a:pt x="945" y="8381"/>
                    <a:pt x="41" y="20498"/>
                  </a:cubicBezTo>
                  <a:cubicBezTo>
                    <a:pt x="-683" y="32615"/>
                    <a:pt x="8360" y="42924"/>
                    <a:pt x="20477" y="43828"/>
                  </a:cubicBezTo>
                  <a:cubicBezTo>
                    <a:pt x="32594" y="44732"/>
                    <a:pt x="43084" y="35509"/>
                    <a:pt x="43807" y="233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6" name="Google Shape;1386;p53"/>
            <p:cNvSpPr/>
            <p:nvPr/>
          </p:nvSpPr>
          <p:spPr>
            <a:xfrm>
              <a:off x="12255705" y="3072460"/>
              <a:ext cx="27560" cy="27560"/>
            </a:xfrm>
            <a:custGeom>
              <a:avLst/>
              <a:gdLst/>
              <a:ahLst/>
              <a:cxnLst/>
              <a:rect l="l" t="t" r="r" b="b"/>
              <a:pathLst>
                <a:path w="27560" h="27560" extrusionOk="0">
                  <a:moveTo>
                    <a:pt x="27525" y="14684"/>
                  </a:moveTo>
                  <a:cubicBezTo>
                    <a:pt x="28068" y="7089"/>
                    <a:pt x="22281" y="578"/>
                    <a:pt x="14684" y="35"/>
                  </a:cubicBezTo>
                  <a:cubicBezTo>
                    <a:pt x="7089" y="-507"/>
                    <a:pt x="578" y="5280"/>
                    <a:pt x="35" y="12876"/>
                  </a:cubicBezTo>
                  <a:cubicBezTo>
                    <a:pt x="-507" y="20472"/>
                    <a:pt x="5280" y="26983"/>
                    <a:pt x="12876" y="27525"/>
                  </a:cubicBezTo>
                  <a:cubicBezTo>
                    <a:pt x="20472" y="28068"/>
                    <a:pt x="26983" y="22280"/>
                    <a:pt x="27525" y="146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7" name="Google Shape;1387;p53"/>
            <p:cNvSpPr/>
            <p:nvPr/>
          </p:nvSpPr>
          <p:spPr>
            <a:xfrm>
              <a:off x="12207247" y="3158557"/>
              <a:ext cx="16688" cy="16670"/>
            </a:xfrm>
            <a:custGeom>
              <a:avLst/>
              <a:gdLst/>
              <a:ahLst/>
              <a:cxnLst/>
              <a:rect l="l" t="t" r="r" b="b"/>
              <a:pathLst>
                <a:path w="16688" h="16670" extrusionOk="0">
                  <a:moveTo>
                    <a:pt x="16664" y="8887"/>
                  </a:moveTo>
                  <a:cubicBezTo>
                    <a:pt x="17025" y="4365"/>
                    <a:pt x="13408" y="387"/>
                    <a:pt x="8887" y="25"/>
                  </a:cubicBezTo>
                  <a:cubicBezTo>
                    <a:pt x="4365" y="-337"/>
                    <a:pt x="386" y="3280"/>
                    <a:pt x="25" y="7802"/>
                  </a:cubicBezTo>
                  <a:cubicBezTo>
                    <a:pt x="-337" y="12323"/>
                    <a:pt x="3280" y="16302"/>
                    <a:pt x="7802" y="16664"/>
                  </a:cubicBezTo>
                  <a:cubicBezTo>
                    <a:pt x="12323" y="16844"/>
                    <a:pt x="16302" y="13408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8" name="Google Shape;1388;p53"/>
            <p:cNvSpPr/>
            <p:nvPr/>
          </p:nvSpPr>
          <p:spPr>
            <a:xfrm>
              <a:off x="12247381" y="3064136"/>
              <a:ext cx="44208" cy="44229"/>
            </a:xfrm>
            <a:custGeom>
              <a:avLst/>
              <a:gdLst/>
              <a:ahLst/>
              <a:cxnLst/>
              <a:rect l="l" t="t" r="r" b="b"/>
              <a:pathLst>
                <a:path w="44208" h="44229" extrusionOk="0">
                  <a:moveTo>
                    <a:pt x="44168" y="23551"/>
                  </a:moveTo>
                  <a:cubicBezTo>
                    <a:pt x="44892" y="11434"/>
                    <a:pt x="35668" y="763"/>
                    <a:pt x="23551" y="40"/>
                  </a:cubicBezTo>
                  <a:cubicBezTo>
                    <a:pt x="11434" y="-684"/>
                    <a:pt x="763" y="8540"/>
                    <a:pt x="40" y="20657"/>
                  </a:cubicBezTo>
                  <a:cubicBezTo>
                    <a:pt x="-684" y="32774"/>
                    <a:pt x="8540" y="43445"/>
                    <a:pt x="20657" y="44168"/>
                  </a:cubicBezTo>
                  <a:cubicBezTo>
                    <a:pt x="32774" y="45073"/>
                    <a:pt x="43445" y="35849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9" name="Google Shape;1389;p53"/>
            <p:cNvSpPr/>
            <p:nvPr/>
          </p:nvSpPr>
          <p:spPr>
            <a:xfrm>
              <a:off x="12468734" y="2419919"/>
              <a:ext cx="51108" cy="51107"/>
            </a:xfrm>
            <a:custGeom>
              <a:avLst/>
              <a:gdLst/>
              <a:ahLst/>
              <a:cxnLst/>
              <a:rect l="l" t="t" r="r" b="b"/>
              <a:pathLst>
                <a:path w="51108" h="51107" extrusionOk="0">
                  <a:moveTo>
                    <a:pt x="51055" y="27182"/>
                  </a:moveTo>
                  <a:cubicBezTo>
                    <a:pt x="51959" y="13075"/>
                    <a:pt x="41288" y="958"/>
                    <a:pt x="27182" y="53"/>
                  </a:cubicBezTo>
                  <a:cubicBezTo>
                    <a:pt x="13075" y="-851"/>
                    <a:pt x="958" y="9820"/>
                    <a:pt x="53" y="23926"/>
                  </a:cubicBezTo>
                  <a:cubicBezTo>
                    <a:pt x="-851" y="38033"/>
                    <a:pt x="9820" y="50150"/>
                    <a:pt x="23926" y="51054"/>
                  </a:cubicBezTo>
                  <a:cubicBezTo>
                    <a:pt x="38033" y="51959"/>
                    <a:pt x="50151" y="41288"/>
                    <a:pt x="51055" y="271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0" name="Google Shape;1390;p53"/>
            <p:cNvSpPr/>
            <p:nvPr/>
          </p:nvSpPr>
          <p:spPr>
            <a:xfrm>
              <a:off x="8617628" y="4146727"/>
              <a:ext cx="39875" cy="39875"/>
            </a:xfrm>
            <a:custGeom>
              <a:avLst/>
              <a:gdLst/>
              <a:ahLst/>
              <a:cxnLst/>
              <a:rect l="l" t="t" r="r" b="b"/>
              <a:pathLst>
                <a:path w="39875" h="39875" extrusionOk="0">
                  <a:moveTo>
                    <a:pt x="39832" y="21204"/>
                  </a:moveTo>
                  <a:cubicBezTo>
                    <a:pt x="40555" y="10172"/>
                    <a:pt x="32236" y="586"/>
                    <a:pt x="21204" y="44"/>
                  </a:cubicBezTo>
                  <a:cubicBezTo>
                    <a:pt x="10172" y="-680"/>
                    <a:pt x="586" y="7640"/>
                    <a:pt x="44" y="18672"/>
                  </a:cubicBezTo>
                  <a:cubicBezTo>
                    <a:pt x="-680" y="29704"/>
                    <a:pt x="7640" y="39108"/>
                    <a:pt x="18672" y="39832"/>
                  </a:cubicBezTo>
                  <a:cubicBezTo>
                    <a:pt x="29523" y="40555"/>
                    <a:pt x="39108" y="32236"/>
                    <a:pt x="39832" y="212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1" name="Google Shape;1391;p53"/>
            <p:cNvSpPr/>
            <p:nvPr/>
          </p:nvSpPr>
          <p:spPr>
            <a:xfrm>
              <a:off x="9805067" y="4535513"/>
              <a:ext cx="93691" cy="93690"/>
            </a:xfrm>
            <a:custGeom>
              <a:avLst/>
              <a:gdLst/>
              <a:ahLst/>
              <a:cxnLst/>
              <a:rect l="l" t="t" r="r" b="b"/>
              <a:pathLst>
                <a:path w="93691" h="93690" extrusionOk="0">
                  <a:moveTo>
                    <a:pt x="93597" y="49830"/>
                  </a:moveTo>
                  <a:cubicBezTo>
                    <a:pt x="95224" y="23967"/>
                    <a:pt x="75692" y="1722"/>
                    <a:pt x="49830" y="95"/>
                  </a:cubicBezTo>
                  <a:cubicBezTo>
                    <a:pt x="23968" y="-1533"/>
                    <a:pt x="1723" y="17999"/>
                    <a:pt x="95" y="43861"/>
                  </a:cubicBezTo>
                  <a:cubicBezTo>
                    <a:pt x="-1533" y="69724"/>
                    <a:pt x="17999" y="91969"/>
                    <a:pt x="43862" y="93596"/>
                  </a:cubicBezTo>
                  <a:cubicBezTo>
                    <a:pt x="69543" y="95224"/>
                    <a:pt x="91788" y="75511"/>
                    <a:pt x="93597" y="498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2" name="Google Shape;1392;p53"/>
            <p:cNvSpPr/>
            <p:nvPr/>
          </p:nvSpPr>
          <p:spPr>
            <a:xfrm>
              <a:off x="9508761" y="5135340"/>
              <a:ext cx="152421" cy="152442"/>
            </a:xfrm>
            <a:custGeom>
              <a:avLst/>
              <a:gdLst/>
              <a:ahLst/>
              <a:cxnLst/>
              <a:rect l="l" t="t" r="r" b="b"/>
              <a:pathLst>
                <a:path w="152421" h="152442" extrusionOk="0">
                  <a:moveTo>
                    <a:pt x="152260" y="81184"/>
                  </a:moveTo>
                  <a:cubicBezTo>
                    <a:pt x="154973" y="39226"/>
                    <a:pt x="123142" y="2874"/>
                    <a:pt x="81184" y="161"/>
                  </a:cubicBezTo>
                  <a:cubicBezTo>
                    <a:pt x="39226" y="-2551"/>
                    <a:pt x="2874" y="29279"/>
                    <a:pt x="161" y="71237"/>
                  </a:cubicBezTo>
                  <a:cubicBezTo>
                    <a:pt x="-2551" y="113195"/>
                    <a:pt x="29279" y="149547"/>
                    <a:pt x="71237" y="152260"/>
                  </a:cubicBezTo>
                  <a:cubicBezTo>
                    <a:pt x="113195" y="155154"/>
                    <a:pt x="149366" y="123323"/>
                    <a:pt x="152260" y="811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3" name="Google Shape;1393;p53"/>
            <p:cNvSpPr/>
            <p:nvPr/>
          </p:nvSpPr>
          <p:spPr>
            <a:xfrm>
              <a:off x="8908412" y="4946073"/>
              <a:ext cx="72489" cy="72489"/>
            </a:xfrm>
            <a:custGeom>
              <a:avLst/>
              <a:gdLst/>
              <a:ahLst/>
              <a:cxnLst/>
              <a:rect l="l" t="t" r="r" b="b"/>
              <a:pathLst>
                <a:path w="72489" h="72489" extrusionOk="0">
                  <a:moveTo>
                    <a:pt x="72416" y="38596"/>
                  </a:moveTo>
                  <a:cubicBezTo>
                    <a:pt x="73681" y="18521"/>
                    <a:pt x="58490" y="1340"/>
                    <a:pt x="38596" y="74"/>
                  </a:cubicBezTo>
                  <a:cubicBezTo>
                    <a:pt x="18521" y="-1192"/>
                    <a:pt x="1340" y="14000"/>
                    <a:pt x="74" y="33893"/>
                  </a:cubicBezTo>
                  <a:cubicBezTo>
                    <a:pt x="-1192" y="53968"/>
                    <a:pt x="13999" y="71150"/>
                    <a:pt x="33894" y="72415"/>
                  </a:cubicBezTo>
                  <a:cubicBezTo>
                    <a:pt x="53968" y="73682"/>
                    <a:pt x="71150" y="58490"/>
                    <a:pt x="72416" y="385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4" name="Google Shape;1394;p53"/>
            <p:cNvSpPr/>
            <p:nvPr/>
          </p:nvSpPr>
          <p:spPr>
            <a:xfrm>
              <a:off x="9842034" y="4572479"/>
              <a:ext cx="19396" cy="19397"/>
            </a:xfrm>
            <a:custGeom>
              <a:avLst/>
              <a:gdLst/>
              <a:ahLst/>
              <a:cxnLst/>
              <a:rect l="l" t="t" r="r" b="b"/>
              <a:pathLst>
                <a:path w="19396" h="19397" extrusionOk="0">
                  <a:moveTo>
                    <a:pt x="19374" y="10332"/>
                  </a:moveTo>
                  <a:cubicBezTo>
                    <a:pt x="19736" y="5087"/>
                    <a:pt x="15757" y="385"/>
                    <a:pt x="10331" y="23"/>
                  </a:cubicBezTo>
                  <a:cubicBezTo>
                    <a:pt x="5087" y="-339"/>
                    <a:pt x="385" y="3640"/>
                    <a:pt x="23" y="9066"/>
                  </a:cubicBezTo>
                  <a:cubicBezTo>
                    <a:pt x="-339" y="14310"/>
                    <a:pt x="3640" y="19013"/>
                    <a:pt x="9066" y="19374"/>
                  </a:cubicBezTo>
                  <a:cubicBezTo>
                    <a:pt x="14491" y="19736"/>
                    <a:pt x="19193" y="15757"/>
                    <a:pt x="19374" y="10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5" name="Google Shape;1395;p53"/>
            <p:cNvSpPr/>
            <p:nvPr/>
          </p:nvSpPr>
          <p:spPr>
            <a:xfrm>
              <a:off x="10388542" y="4873386"/>
              <a:ext cx="46955" cy="46956"/>
            </a:xfrm>
            <a:custGeom>
              <a:avLst/>
              <a:gdLst/>
              <a:ahLst/>
              <a:cxnLst/>
              <a:rect l="l" t="t" r="r" b="b"/>
              <a:pathLst>
                <a:path w="46955" h="46956" extrusionOk="0">
                  <a:moveTo>
                    <a:pt x="46898" y="25015"/>
                  </a:moveTo>
                  <a:cubicBezTo>
                    <a:pt x="47803" y="11994"/>
                    <a:pt x="37856" y="961"/>
                    <a:pt x="25015" y="57"/>
                  </a:cubicBezTo>
                  <a:cubicBezTo>
                    <a:pt x="11994" y="-847"/>
                    <a:pt x="961" y="9100"/>
                    <a:pt x="57" y="21941"/>
                  </a:cubicBezTo>
                  <a:cubicBezTo>
                    <a:pt x="-847" y="34781"/>
                    <a:pt x="9100" y="45994"/>
                    <a:pt x="21940" y="46899"/>
                  </a:cubicBezTo>
                  <a:cubicBezTo>
                    <a:pt x="34962" y="47803"/>
                    <a:pt x="46175" y="38037"/>
                    <a:pt x="46898" y="250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6" name="Google Shape;1396;p53"/>
            <p:cNvSpPr/>
            <p:nvPr/>
          </p:nvSpPr>
          <p:spPr>
            <a:xfrm>
              <a:off x="9565485" y="5192245"/>
              <a:ext cx="38792" cy="38792"/>
            </a:xfrm>
            <a:custGeom>
              <a:avLst/>
              <a:gdLst/>
              <a:ahLst/>
              <a:cxnLst/>
              <a:rect l="l" t="t" r="r" b="b"/>
              <a:pathLst>
                <a:path w="38792" h="38792" extrusionOk="0">
                  <a:moveTo>
                    <a:pt x="38748" y="20662"/>
                  </a:moveTo>
                  <a:cubicBezTo>
                    <a:pt x="39471" y="9992"/>
                    <a:pt x="31332" y="768"/>
                    <a:pt x="20662" y="45"/>
                  </a:cubicBezTo>
                  <a:cubicBezTo>
                    <a:pt x="9992" y="-679"/>
                    <a:pt x="768" y="7460"/>
                    <a:pt x="45" y="18130"/>
                  </a:cubicBezTo>
                  <a:cubicBezTo>
                    <a:pt x="-679" y="28801"/>
                    <a:pt x="7460" y="38024"/>
                    <a:pt x="18130" y="38748"/>
                  </a:cubicBezTo>
                  <a:cubicBezTo>
                    <a:pt x="28801" y="39471"/>
                    <a:pt x="38024" y="31332"/>
                    <a:pt x="38748" y="206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7" name="Google Shape;1397;p53"/>
            <p:cNvSpPr/>
            <p:nvPr/>
          </p:nvSpPr>
          <p:spPr>
            <a:xfrm>
              <a:off x="12645654" y="6121692"/>
              <a:ext cx="11954" cy="11954"/>
            </a:xfrm>
            <a:custGeom>
              <a:avLst/>
              <a:gdLst/>
              <a:ahLst/>
              <a:cxnLst/>
              <a:rect l="l" t="t" r="r" b="b"/>
              <a:pathLst>
                <a:path w="11954" h="11954" extrusionOk="0">
                  <a:moveTo>
                    <a:pt x="11946" y="6339"/>
                  </a:moveTo>
                  <a:cubicBezTo>
                    <a:pt x="12127" y="3083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1" y="8871"/>
                    <a:pt x="2360" y="11765"/>
                    <a:pt x="5616" y="11945"/>
                  </a:cubicBezTo>
                  <a:cubicBezTo>
                    <a:pt x="8871" y="12126"/>
                    <a:pt x="11765" y="9594"/>
                    <a:pt x="11946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8" name="Google Shape;1398;p53"/>
            <p:cNvSpPr/>
            <p:nvPr/>
          </p:nvSpPr>
          <p:spPr>
            <a:xfrm>
              <a:off x="12282991" y="6716311"/>
              <a:ext cx="45311" cy="45291"/>
            </a:xfrm>
            <a:custGeom>
              <a:avLst/>
              <a:gdLst/>
              <a:ahLst/>
              <a:cxnLst/>
              <a:rect l="l" t="t" r="r" b="b"/>
              <a:pathLst>
                <a:path w="45311" h="45291" extrusionOk="0">
                  <a:moveTo>
                    <a:pt x="45273" y="24093"/>
                  </a:moveTo>
                  <a:cubicBezTo>
                    <a:pt x="45996" y="11614"/>
                    <a:pt x="36592" y="763"/>
                    <a:pt x="24113" y="39"/>
                  </a:cubicBezTo>
                  <a:cubicBezTo>
                    <a:pt x="11634" y="-684"/>
                    <a:pt x="783" y="8720"/>
                    <a:pt x="59" y="21199"/>
                  </a:cubicBezTo>
                  <a:cubicBezTo>
                    <a:pt x="-845" y="33678"/>
                    <a:pt x="8740" y="44530"/>
                    <a:pt x="21219" y="45253"/>
                  </a:cubicBezTo>
                  <a:cubicBezTo>
                    <a:pt x="33698" y="45976"/>
                    <a:pt x="44549" y="36572"/>
                    <a:pt x="45273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9" name="Google Shape;1399;p53"/>
            <p:cNvSpPr/>
            <p:nvPr/>
          </p:nvSpPr>
          <p:spPr>
            <a:xfrm>
              <a:off x="11875528" y="5702967"/>
              <a:ext cx="48400" cy="48380"/>
            </a:xfrm>
            <a:custGeom>
              <a:avLst/>
              <a:gdLst/>
              <a:ahLst/>
              <a:cxnLst/>
              <a:rect l="l" t="t" r="r" b="b"/>
              <a:pathLst>
                <a:path w="48400" h="48380" extrusionOk="0">
                  <a:moveTo>
                    <a:pt x="48344" y="25737"/>
                  </a:moveTo>
                  <a:cubicBezTo>
                    <a:pt x="49249" y="12354"/>
                    <a:pt x="39121" y="960"/>
                    <a:pt x="25737" y="56"/>
                  </a:cubicBezTo>
                  <a:cubicBezTo>
                    <a:pt x="12354" y="-848"/>
                    <a:pt x="960" y="9280"/>
                    <a:pt x="56" y="22663"/>
                  </a:cubicBezTo>
                  <a:cubicBezTo>
                    <a:pt x="-848" y="36046"/>
                    <a:pt x="9280" y="47440"/>
                    <a:pt x="22663" y="48344"/>
                  </a:cubicBezTo>
                  <a:cubicBezTo>
                    <a:pt x="36046" y="49068"/>
                    <a:pt x="47440" y="38940"/>
                    <a:pt x="48344" y="257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0" name="Google Shape;1400;p53"/>
            <p:cNvSpPr/>
            <p:nvPr/>
          </p:nvSpPr>
          <p:spPr>
            <a:xfrm>
              <a:off x="10055412" y="3840170"/>
              <a:ext cx="52372" cy="52371"/>
            </a:xfrm>
            <a:custGeom>
              <a:avLst/>
              <a:gdLst/>
              <a:ahLst/>
              <a:cxnLst/>
              <a:rect l="l" t="t" r="r" b="b"/>
              <a:pathLst>
                <a:path w="52372" h="52371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2"/>
                    <a:pt x="957" y="10000"/>
                    <a:pt x="53" y="24468"/>
                  </a:cubicBezTo>
                  <a:cubicBezTo>
                    <a:pt x="-852" y="38936"/>
                    <a:pt x="9999" y="51415"/>
                    <a:pt x="24468" y="52320"/>
                  </a:cubicBezTo>
                  <a:cubicBezTo>
                    <a:pt x="38936" y="53224"/>
                    <a:pt x="51415" y="42192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1" name="Google Shape;1401;p53"/>
            <p:cNvSpPr/>
            <p:nvPr/>
          </p:nvSpPr>
          <p:spPr>
            <a:xfrm>
              <a:off x="9899685" y="3870723"/>
              <a:ext cx="61980" cy="61980"/>
            </a:xfrm>
            <a:custGeom>
              <a:avLst/>
              <a:gdLst/>
              <a:ahLst/>
              <a:cxnLst/>
              <a:rect l="l" t="t" r="r" b="b"/>
              <a:pathLst>
                <a:path w="61980" h="61980" extrusionOk="0">
                  <a:moveTo>
                    <a:pt x="61916" y="32979"/>
                  </a:moveTo>
                  <a:cubicBezTo>
                    <a:pt x="63001" y="15979"/>
                    <a:pt x="50160" y="1149"/>
                    <a:pt x="32979" y="64"/>
                  </a:cubicBezTo>
                  <a:cubicBezTo>
                    <a:pt x="15979" y="-1021"/>
                    <a:pt x="1149" y="11819"/>
                    <a:pt x="64" y="29001"/>
                  </a:cubicBezTo>
                  <a:cubicBezTo>
                    <a:pt x="-1021" y="46001"/>
                    <a:pt x="11819" y="60831"/>
                    <a:pt x="29001" y="61916"/>
                  </a:cubicBezTo>
                  <a:cubicBezTo>
                    <a:pt x="46182" y="63001"/>
                    <a:pt x="60650" y="50161"/>
                    <a:pt x="61916" y="329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2" name="Google Shape;1402;p53"/>
            <p:cNvSpPr/>
            <p:nvPr/>
          </p:nvSpPr>
          <p:spPr>
            <a:xfrm>
              <a:off x="10051421" y="3835998"/>
              <a:ext cx="60535" cy="60535"/>
            </a:xfrm>
            <a:custGeom>
              <a:avLst/>
              <a:gdLst/>
              <a:ahLst/>
              <a:cxnLst/>
              <a:rect l="l" t="t" r="r" b="b"/>
              <a:pathLst>
                <a:path w="60535" h="60535" extrusionOk="0">
                  <a:moveTo>
                    <a:pt x="60470" y="32257"/>
                  </a:moveTo>
                  <a:cubicBezTo>
                    <a:pt x="61555" y="15618"/>
                    <a:pt x="48896" y="1150"/>
                    <a:pt x="32257" y="65"/>
                  </a:cubicBezTo>
                  <a:cubicBezTo>
                    <a:pt x="15618" y="-1020"/>
                    <a:pt x="1150" y="11640"/>
                    <a:pt x="65" y="28278"/>
                  </a:cubicBezTo>
                  <a:cubicBezTo>
                    <a:pt x="-1020" y="44917"/>
                    <a:pt x="11640" y="59385"/>
                    <a:pt x="28278" y="60470"/>
                  </a:cubicBezTo>
                  <a:cubicBezTo>
                    <a:pt x="44917" y="61556"/>
                    <a:pt x="59385" y="48896"/>
                    <a:pt x="60470" y="322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3" name="Google Shape;1403;p53"/>
            <p:cNvSpPr/>
            <p:nvPr/>
          </p:nvSpPr>
          <p:spPr>
            <a:xfrm>
              <a:off x="10175989" y="3504993"/>
              <a:ext cx="103480" cy="103480"/>
            </a:xfrm>
            <a:custGeom>
              <a:avLst/>
              <a:gdLst/>
              <a:ahLst/>
              <a:cxnLst/>
              <a:rect l="l" t="t" r="r" b="b"/>
              <a:pathLst>
                <a:path w="103480" h="103480" extrusionOk="0">
                  <a:moveTo>
                    <a:pt x="103374" y="55086"/>
                  </a:moveTo>
                  <a:cubicBezTo>
                    <a:pt x="105183" y="26511"/>
                    <a:pt x="83661" y="1915"/>
                    <a:pt x="55086" y="106"/>
                  </a:cubicBezTo>
                  <a:cubicBezTo>
                    <a:pt x="26511" y="-1702"/>
                    <a:pt x="1915" y="19819"/>
                    <a:pt x="106" y="48394"/>
                  </a:cubicBezTo>
                  <a:cubicBezTo>
                    <a:pt x="-1703" y="76969"/>
                    <a:pt x="19819" y="101566"/>
                    <a:pt x="48394" y="103374"/>
                  </a:cubicBezTo>
                  <a:cubicBezTo>
                    <a:pt x="76788" y="105183"/>
                    <a:pt x="101566" y="83661"/>
                    <a:pt x="103374" y="550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4" name="Google Shape;1404;p53"/>
            <p:cNvSpPr/>
            <p:nvPr/>
          </p:nvSpPr>
          <p:spPr>
            <a:xfrm>
              <a:off x="10068992" y="3853568"/>
              <a:ext cx="25575" cy="25575"/>
            </a:xfrm>
            <a:custGeom>
              <a:avLst/>
              <a:gdLst/>
              <a:ahLst/>
              <a:cxnLst/>
              <a:rect l="l" t="t" r="r" b="b"/>
              <a:pathLst>
                <a:path w="25575" h="25575" extrusionOk="0">
                  <a:moveTo>
                    <a:pt x="25538" y="13601"/>
                  </a:moveTo>
                  <a:cubicBezTo>
                    <a:pt x="26080" y="6548"/>
                    <a:pt x="20655" y="399"/>
                    <a:pt x="13601" y="37"/>
                  </a:cubicBezTo>
                  <a:cubicBezTo>
                    <a:pt x="6548" y="-505"/>
                    <a:pt x="399" y="4921"/>
                    <a:pt x="37" y="11974"/>
                  </a:cubicBezTo>
                  <a:cubicBezTo>
                    <a:pt x="-505" y="19027"/>
                    <a:pt x="4920" y="25176"/>
                    <a:pt x="11974" y="25538"/>
                  </a:cubicBezTo>
                  <a:cubicBezTo>
                    <a:pt x="18846" y="26080"/>
                    <a:pt x="24995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5" name="Google Shape;1405;p53"/>
            <p:cNvSpPr/>
            <p:nvPr/>
          </p:nvSpPr>
          <p:spPr>
            <a:xfrm>
              <a:off x="9885183" y="3856402"/>
              <a:ext cx="90802" cy="90802"/>
            </a:xfrm>
            <a:custGeom>
              <a:avLst/>
              <a:gdLst/>
              <a:ahLst/>
              <a:cxnLst/>
              <a:rect l="l" t="t" r="r" b="b"/>
              <a:pathLst>
                <a:path w="90802" h="90802" extrusionOk="0">
                  <a:moveTo>
                    <a:pt x="90705" y="48385"/>
                  </a:moveTo>
                  <a:cubicBezTo>
                    <a:pt x="92333" y="23428"/>
                    <a:pt x="73343" y="1725"/>
                    <a:pt x="48385" y="97"/>
                  </a:cubicBezTo>
                  <a:cubicBezTo>
                    <a:pt x="23427" y="-1530"/>
                    <a:pt x="1725" y="17459"/>
                    <a:pt x="97" y="42417"/>
                  </a:cubicBezTo>
                  <a:cubicBezTo>
                    <a:pt x="-1530" y="67375"/>
                    <a:pt x="17459" y="89078"/>
                    <a:pt x="42417" y="90705"/>
                  </a:cubicBezTo>
                  <a:cubicBezTo>
                    <a:pt x="67556" y="92333"/>
                    <a:pt x="89078" y="73343"/>
                    <a:pt x="90705" y="48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6" name="Google Shape;1406;p53"/>
            <p:cNvSpPr/>
            <p:nvPr/>
          </p:nvSpPr>
          <p:spPr>
            <a:xfrm>
              <a:off x="9840229" y="4570494"/>
              <a:ext cx="23368" cy="23368"/>
            </a:xfrm>
            <a:custGeom>
              <a:avLst/>
              <a:gdLst/>
              <a:ahLst/>
              <a:cxnLst/>
              <a:rect l="l" t="t" r="r" b="b"/>
              <a:pathLst>
                <a:path w="23368" h="23368" extrusionOk="0">
                  <a:moveTo>
                    <a:pt x="23349" y="12498"/>
                  </a:moveTo>
                  <a:cubicBezTo>
                    <a:pt x="23711" y="5987"/>
                    <a:pt x="18828" y="561"/>
                    <a:pt x="12498" y="19"/>
                  </a:cubicBezTo>
                  <a:cubicBezTo>
                    <a:pt x="5987" y="-343"/>
                    <a:pt x="561" y="4540"/>
                    <a:pt x="19" y="10870"/>
                  </a:cubicBezTo>
                  <a:cubicBezTo>
                    <a:pt x="-343" y="17381"/>
                    <a:pt x="4540" y="22807"/>
                    <a:pt x="10870" y="23349"/>
                  </a:cubicBezTo>
                  <a:cubicBezTo>
                    <a:pt x="17381" y="23711"/>
                    <a:pt x="22807" y="19009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7" name="Google Shape;1407;p53"/>
            <p:cNvSpPr/>
            <p:nvPr/>
          </p:nvSpPr>
          <p:spPr>
            <a:xfrm>
              <a:off x="10059585" y="3844161"/>
              <a:ext cx="44208" cy="44229"/>
            </a:xfrm>
            <a:custGeom>
              <a:avLst/>
              <a:gdLst/>
              <a:ahLst/>
              <a:cxnLst/>
              <a:rect l="l" t="t" r="r" b="b"/>
              <a:pathLst>
                <a:path w="44208" h="44229" extrusionOk="0">
                  <a:moveTo>
                    <a:pt x="44168" y="23551"/>
                  </a:moveTo>
                  <a:cubicBezTo>
                    <a:pt x="44892" y="11253"/>
                    <a:pt x="35668" y="763"/>
                    <a:pt x="23551" y="40"/>
                  </a:cubicBezTo>
                  <a:cubicBezTo>
                    <a:pt x="11253" y="-684"/>
                    <a:pt x="763" y="8540"/>
                    <a:pt x="40" y="20657"/>
                  </a:cubicBezTo>
                  <a:cubicBezTo>
                    <a:pt x="-684" y="32955"/>
                    <a:pt x="8540" y="43445"/>
                    <a:pt x="20657" y="44168"/>
                  </a:cubicBezTo>
                  <a:cubicBezTo>
                    <a:pt x="32774" y="45072"/>
                    <a:pt x="43445" y="35849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8" name="Google Shape;1408;p53"/>
            <p:cNvSpPr/>
            <p:nvPr/>
          </p:nvSpPr>
          <p:spPr>
            <a:xfrm rot="-3624134">
              <a:off x="11083596" y="3941901"/>
              <a:ext cx="75234" cy="75234"/>
            </a:xfrm>
            <a:custGeom>
              <a:avLst/>
              <a:gdLst/>
              <a:ahLst/>
              <a:cxnLst/>
              <a:rect l="l" t="t" r="r" b="b"/>
              <a:pathLst>
                <a:path w="75234" h="75234" extrusionOk="0">
                  <a:moveTo>
                    <a:pt x="75234" y="37617"/>
                  </a:moveTo>
                  <a:cubicBezTo>
                    <a:pt x="75234" y="58393"/>
                    <a:pt x="58393" y="75234"/>
                    <a:pt x="37617" y="75234"/>
                  </a:cubicBezTo>
                  <a:cubicBezTo>
                    <a:pt x="16842" y="75234"/>
                    <a:pt x="0" y="58393"/>
                    <a:pt x="0" y="37617"/>
                  </a:cubicBezTo>
                  <a:cubicBezTo>
                    <a:pt x="0" y="16842"/>
                    <a:pt x="16842" y="0"/>
                    <a:pt x="37617" y="0"/>
                  </a:cubicBezTo>
                  <a:cubicBezTo>
                    <a:pt x="58393" y="0"/>
                    <a:pt x="75234" y="16842"/>
                    <a:pt x="75234" y="3761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9" name="Google Shape;1409;p53"/>
            <p:cNvSpPr/>
            <p:nvPr/>
          </p:nvSpPr>
          <p:spPr>
            <a:xfrm>
              <a:off x="10182327" y="3511332"/>
              <a:ext cx="90802" cy="90802"/>
            </a:xfrm>
            <a:custGeom>
              <a:avLst/>
              <a:gdLst/>
              <a:ahLst/>
              <a:cxnLst/>
              <a:rect l="l" t="t" r="r" b="b"/>
              <a:pathLst>
                <a:path w="90802" h="90802" extrusionOk="0">
                  <a:moveTo>
                    <a:pt x="90706" y="48385"/>
                  </a:moveTo>
                  <a:cubicBezTo>
                    <a:pt x="92333" y="23428"/>
                    <a:pt x="73343" y="1906"/>
                    <a:pt x="48385" y="97"/>
                  </a:cubicBezTo>
                  <a:cubicBezTo>
                    <a:pt x="23428" y="-1530"/>
                    <a:pt x="1906" y="17459"/>
                    <a:pt x="97" y="42417"/>
                  </a:cubicBezTo>
                  <a:cubicBezTo>
                    <a:pt x="-1530" y="67375"/>
                    <a:pt x="17459" y="88897"/>
                    <a:pt x="42417" y="90706"/>
                  </a:cubicBezTo>
                  <a:cubicBezTo>
                    <a:pt x="67375" y="92333"/>
                    <a:pt x="89078" y="73343"/>
                    <a:pt x="90706" y="48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0" name="Google Shape;1410;p53"/>
            <p:cNvSpPr/>
            <p:nvPr/>
          </p:nvSpPr>
          <p:spPr>
            <a:xfrm>
              <a:off x="10160880" y="2713295"/>
              <a:ext cx="19396" cy="19380"/>
            </a:xfrm>
            <a:custGeom>
              <a:avLst/>
              <a:gdLst/>
              <a:ahLst/>
              <a:cxnLst/>
              <a:rect l="l" t="t" r="r" b="b"/>
              <a:pathLst>
                <a:path w="19396" h="19380" extrusionOk="0">
                  <a:moveTo>
                    <a:pt x="19374" y="10332"/>
                  </a:moveTo>
                  <a:cubicBezTo>
                    <a:pt x="19736" y="5087"/>
                    <a:pt x="15757" y="385"/>
                    <a:pt x="10331" y="23"/>
                  </a:cubicBezTo>
                  <a:cubicBezTo>
                    <a:pt x="5087" y="-339"/>
                    <a:pt x="384" y="3640"/>
                    <a:pt x="23" y="9066"/>
                  </a:cubicBezTo>
                  <a:cubicBezTo>
                    <a:pt x="-339" y="14310"/>
                    <a:pt x="3640" y="19013"/>
                    <a:pt x="9066" y="19374"/>
                  </a:cubicBezTo>
                  <a:cubicBezTo>
                    <a:pt x="14491" y="19555"/>
                    <a:pt x="19012" y="15576"/>
                    <a:pt x="19374" y="10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1" name="Google Shape;1411;p53"/>
            <p:cNvSpPr/>
            <p:nvPr/>
          </p:nvSpPr>
          <p:spPr>
            <a:xfrm>
              <a:off x="10685314" y="3173706"/>
              <a:ext cx="57827" cy="57808"/>
            </a:xfrm>
            <a:custGeom>
              <a:avLst/>
              <a:gdLst/>
              <a:ahLst/>
              <a:cxnLst/>
              <a:rect l="l" t="t" r="r" b="b"/>
              <a:pathLst>
                <a:path w="57827" h="57808" extrusionOk="0">
                  <a:moveTo>
                    <a:pt x="57760" y="30813"/>
                  </a:moveTo>
                  <a:cubicBezTo>
                    <a:pt x="58845" y="14898"/>
                    <a:pt x="46728" y="1153"/>
                    <a:pt x="30813" y="68"/>
                  </a:cubicBezTo>
                  <a:cubicBezTo>
                    <a:pt x="14898" y="-1018"/>
                    <a:pt x="1153" y="11100"/>
                    <a:pt x="68" y="27015"/>
                  </a:cubicBezTo>
                  <a:cubicBezTo>
                    <a:pt x="-1018" y="42930"/>
                    <a:pt x="11099" y="56675"/>
                    <a:pt x="27015" y="57760"/>
                  </a:cubicBezTo>
                  <a:cubicBezTo>
                    <a:pt x="42930" y="58664"/>
                    <a:pt x="56675" y="46728"/>
                    <a:pt x="57760" y="30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2" name="Google Shape;1412;p53"/>
            <p:cNvSpPr/>
            <p:nvPr/>
          </p:nvSpPr>
          <p:spPr>
            <a:xfrm>
              <a:off x="10210046" y="3539051"/>
              <a:ext cx="35364" cy="35344"/>
            </a:xfrm>
            <a:custGeom>
              <a:avLst/>
              <a:gdLst/>
              <a:ahLst/>
              <a:cxnLst/>
              <a:rect l="l" t="t" r="r" b="b"/>
              <a:pathLst>
                <a:path w="35364" h="35344" extrusionOk="0">
                  <a:moveTo>
                    <a:pt x="35316" y="18858"/>
                  </a:moveTo>
                  <a:cubicBezTo>
                    <a:pt x="36039" y="9091"/>
                    <a:pt x="28624" y="772"/>
                    <a:pt x="18858" y="49"/>
                  </a:cubicBezTo>
                  <a:cubicBezTo>
                    <a:pt x="9091" y="-675"/>
                    <a:pt x="772" y="6740"/>
                    <a:pt x="49" y="16506"/>
                  </a:cubicBezTo>
                  <a:cubicBezTo>
                    <a:pt x="-675" y="26273"/>
                    <a:pt x="6741" y="34592"/>
                    <a:pt x="16507" y="35315"/>
                  </a:cubicBezTo>
                  <a:cubicBezTo>
                    <a:pt x="26273" y="35858"/>
                    <a:pt x="34592" y="28624"/>
                    <a:pt x="35316" y="1885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3" name="Google Shape;1413;p53"/>
            <p:cNvSpPr/>
            <p:nvPr/>
          </p:nvSpPr>
          <p:spPr>
            <a:xfrm>
              <a:off x="10682967" y="3171179"/>
              <a:ext cx="62521" cy="62543"/>
            </a:xfrm>
            <a:custGeom>
              <a:avLst/>
              <a:gdLst/>
              <a:ahLst/>
              <a:cxnLst/>
              <a:rect l="l" t="t" r="r" b="b"/>
              <a:pathLst>
                <a:path w="62521" h="62543" extrusionOk="0">
                  <a:moveTo>
                    <a:pt x="62458" y="33340"/>
                  </a:moveTo>
                  <a:cubicBezTo>
                    <a:pt x="63543" y="16159"/>
                    <a:pt x="50521" y="1329"/>
                    <a:pt x="33340" y="63"/>
                  </a:cubicBezTo>
                  <a:cubicBezTo>
                    <a:pt x="16159" y="-1022"/>
                    <a:pt x="1329" y="12000"/>
                    <a:pt x="63" y="29181"/>
                  </a:cubicBezTo>
                  <a:cubicBezTo>
                    <a:pt x="-1022" y="46362"/>
                    <a:pt x="12000" y="61192"/>
                    <a:pt x="29181" y="62458"/>
                  </a:cubicBezTo>
                  <a:cubicBezTo>
                    <a:pt x="46543" y="63724"/>
                    <a:pt x="61373" y="50702"/>
                    <a:pt x="62458" y="333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4" name="Google Shape;1414;p53"/>
            <p:cNvSpPr/>
            <p:nvPr/>
          </p:nvSpPr>
          <p:spPr>
            <a:xfrm>
              <a:off x="10146739" y="2699155"/>
              <a:ext cx="47678" cy="47658"/>
            </a:xfrm>
            <a:custGeom>
              <a:avLst/>
              <a:gdLst/>
              <a:ahLst/>
              <a:cxnLst/>
              <a:rect l="l" t="t" r="r" b="b"/>
              <a:pathLst>
                <a:path w="47678" h="47658" extrusionOk="0">
                  <a:moveTo>
                    <a:pt x="47622" y="25377"/>
                  </a:moveTo>
                  <a:cubicBezTo>
                    <a:pt x="48526" y="12174"/>
                    <a:pt x="38579" y="961"/>
                    <a:pt x="25377" y="57"/>
                  </a:cubicBezTo>
                  <a:cubicBezTo>
                    <a:pt x="12175" y="-847"/>
                    <a:pt x="961" y="9100"/>
                    <a:pt x="57" y="22302"/>
                  </a:cubicBezTo>
                  <a:cubicBezTo>
                    <a:pt x="-847" y="35505"/>
                    <a:pt x="9100" y="46718"/>
                    <a:pt x="22302" y="47622"/>
                  </a:cubicBezTo>
                  <a:cubicBezTo>
                    <a:pt x="35505" y="48345"/>
                    <a:pt x="46718" y="38398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5" name="Google Shape;1415;p53"/>
            <p:cNvSpPr/>
            <p:nvPr/>
          </p:nvSpPr>
          <p:spPr>
            <a:xfrm>
              <a:off x="11091543" y="3042798"/>
              <a:ext cx="25575" cy="25555"/>
            </a:xfrm>
            <a:custGeom>
              <a:avLst/>
              <a:gdLst/>
              <a:ahLst/>
              <a:cxnLst/>
              <a:rect l="l" t="t" r="r" b="b"/>
              <a:pathLst>
                <a:path w="25575" h="25555" extrusionOk="0">
                  <a:moveTo>
                    <a:pt x="25538" y="13601"/>
                  </a:moveTo>
                  <a:cubicBezTo>
                    <a:pt x="26081" y="6548"/>
                    <a:pt x="20655" y="399"/>
                    <a:pt x="13601" y="37"/>
                  </a:cubicBezTo>
                  <a:cubicBezTo>
                    <a:pt x="6548" y="-505"/>
                    <a:pt x="399" y="4920"/>
                    <a:pt x="37" y="11974"/>
                  </a:cubicBezTo>
                  <a:cubicBezTo>
                    <a:pt x="-505" y="19027"/>
                    <a:pt x="4921" y="25176"/>
                    <a:pt x="11974" y="25538"/>
                  </a:cubicBezTo>
                  <a:cubicBezTo>
                    <a:pt x="19027" y="25900"/>
                    <a:pt x="25176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6" name="Google Shape;1416;p53"/>
            <p:cNvSpPr/>
            <p:nvPr/>
          </p:nvSpPr>
          <p:spPr>
            <a:xfrm>
              <a:off x="10705070" y="3193463"/>
              <a:ext cx="18494" cy="18477"/>
            </a:xfrm>
            <a:custGeom>
              <a:avLst/>
              <a:gdLst/>
              <a:ahLst/>
              <a:cxnLst/>
              <a:rect l="l" t="t" r="r" b="b"/>
              <a:pathLst>
                <a:path w="18494" h="18477" extrusionOk="0">
                  <a:moveTo>
                    <a:pt x="18471" y="9790"/>
                  </a:moveTo>
                  <a:cubicBezTo>
                    <a:pt x="18833" y="4726"/>
                    <a:pt x="15035" y="385"/>
                    <a:pt x="9790" y="24"/>
                  </a:cubicBezTo>
                  <a:cubicBezTo>
                    <a:pt x="4726" y="-338"/>
                    <a:pt x="385" y="3460"/>
                    <a:pt x="24" y="8705"/>
                  </a:cubicBezTo>
                  <a:cubicBezTo>
                    <a:pt x="-338" y="13769"/>
                    <a:pt x="3460" y="18109"/>
                    <a:pt x="8705" y="18471"/>
                  </a:cubicBezTo>
                  <a:cubicBezTo>
                    <a:pt x="13769" y="18652"/>
                    <a:pt x="18109" y="14854"/>
                    <a:pt x="18471" y="979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7" name="Google Shape;1417;p53"/>
            <p:cNvSpPr/>
            <p:nvPr/>
          </p:nvSpPr>
          <p:spPr>
            <a:xfrm>
              <a:off x="11048599" y="2999653"/>
              <a:ext cx="111462" cy="111504"/>
            </a:xfrm>
            <a:custGeom>
              <a:avLst/>
              <a:gdLst/>
              <a:ahLst/>
              <a:cxnLst/>
              <a:rect l="l" t="t" r="r" b="b"/>
              <a:pathLst>
                <a:path w="111462" h="111504" extrusionOk="0">
                  <a:moveTo>
                    <a:pt x="111344" y="59459"/>
                  </a:moveTo>
                  <a:cubicBezTo>
                    <a:pt x="113333" y="28714"/>
                    <a:pt x="90003" y="2309"/>
                    <a:pt x="59439" y="139"/>
                  </a:cubicBezTo>
                  <a:cubicBezTo>
                    <a:pt x="28874" y="-2031"/>
                    <a:pt x="2289" y="21480"/>
                    <a:pt x="118" y="52044"/>
                  </a:cubicBezTo>
                  <a:cubicBezTo>
                    <a:pt x="-1871" y="82789"/>
                    <a:pt x="21459" y="109194"/>
                    <a:pt x="52024" y="111364"/>
                  </a:cubicBezTo>
                  <a:cubicBezTo>
                    <a:pt x="82588" y="113535"/>
                    <a:pt x="109354" y="90204"/>
                    <a:pt x="111344" y="594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8" name="Google Shape;1418;p53"/>
            <p:cNvSpPr/>
            <p:nvPr/>
          </p:nvSpPr>
          <p:spPr>
            <a:xfrm>
              <a:off x="12448300" y="5157154"/>
              <a:ext cx="55080" cy="55100"/>
            </a:xfrm>
            <a:custGeom>
              <a:avLst/>
              <a:gdLst/>
              <a:ahLst/>
              <a:cxnLst/>
              <a:rect l="l" t="t" r="r" b="b"/>
              <a:pathLst>
                <a:path w="55080" h="55100" extrusionOk="0">
                  <a:moveTo>
                    <a:pt x="55030" y="29349"/>
                  </a:moveTo>
                  <a:cubicBezTo>
                    <a:pt x="55935" y="14157"/>
                    <a:pt x="44541" y="955"/>
                    <a:pt x="29349" y="50"/>
                  </a:cubicBezTo>
                  <a:cubicBezTo>
                    <a:pt x="14157" y="-854"/>
                    <a:pt x="955" y="10540"/>
                    <a:pt x="50" y="25732"/>
                  </a:cubicBezTo>
                  <a:cubicBezTo>
                    <a:pt x="-854" y="40924"/>
                    <a:pt x="10540" y="54126"/>
                    <a:pt x="25732" y="55030"/>
                  </a:cubicBezTo>
                  <a:cubicBezTo>
                    <a:pt x="40924" y="56115"/>
                    <a:pt x="54126" y="44541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9" name="Google Shape;1419;p53"/>
            <p:cNvSpPr/>
            <p:nvPr/>
          </p:nvSpPr>
          <p:spPr>
            <a:xfrm>
              <a:off x="12404403" y="5113257"/>
              <a:ext cx="142875" cy="142874"/>
            </a:xfrm>
            <a:custGeom>
              <a:avLst/>
              <a:gdLst/>
              <a:ahLst/>
              <a:cxnLst/>
              <a:rect l="l" t="t" r="r" b="b"/>
              <a:pathLst>
                <a:path w="142875" h="142874" extrusionOk="0">
                  <a:moveTo>
                    <a:pt x="142875" y="71438"/>
                  </a:moveTo>
                  <a:cubicBezTo>
                    <a:pt x="142875" y="110891"/>
                    <a:pt x="110891" y="142875"/>
                    <a:pt x="71437" y="142875"/>
                  </a:cubicBezTo>
                  <a:cubicBezTo>
                    <a:pt x="31983" y="142875"/>
                    <a:pt x="-1" y="110891"/>
                    <a:pt x="-1" y="71438"/>
                  </a:cubicBezTo>
                  <a:cubicBezTo>
                    <a:pt x="-1" y="31984"/>
                    <a:pt x="31983" y="0"/>
                    <a:pt x="71437" y="0"/>
                  </a:cubicBezTo>
                  <a:cubicBezTo>
                    <a:pt x="110891" y="0"/>
                    <a:pt x="142875" y="31984"/>
                    <a:pt x="142875" y="71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0" name="Google Shape;1420;p53"/>
            <p:cNvSpPr/>
            <p:nvPr/>
          </p:nvSpPr>
          <p:spPr>
            <a:xfrm>
              <a:off x="12727568" y="5681299"/>
              <a:ext cx="19756" cy="19756"/>
            </a:xfrm>
            <a:custGeom>
              <a:avLst/>
              <a:gdLst/>
              <a:ahLst/>
              <a:cxnLst/>
              <a:rect l="l" t="t" r="r" b="b"/>
              <a:pathLst>
                <a:path w="19756" h="19756" extrusionOk="0">
                  <a:moveTo>
                    <a:pt x="19735" y="10511"/>
                  </a:moveTo>
                  <a:cubicBezTo>
                    <a:pt x="20097" y="5086"/>
                    <a:pt x="15937" y="383"/>
                    <a:pt x="10512" y="22"/>
                  </a:cubicBezTo>
                  <a:cubicBezTo>
                    <a:pt x="5086" y="-340"/>
                    <a:pt x="384" y="3820"/>
                    <a:pt x="22" y="9245"/>
                  </a:cubicBezTo>
                  <a:cubicBezTo>
                    <a:pt x="-340" y="14671"/>
                    <a:pt x="3820" y="19373"/>
                    <a:pt x="9246" y="19735"/>
                  </a:cubicBezTo>
                  <a:cubicBezTo>
                    <a:pt x="14671" y="20097"/>
                    <a:pt x="19373" y="15937"/>
                    <a:pt x="19735" y="1051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1" name="Google Shape;1421;p53"/>
            <p:cNvSpPr/>
            <p:nvPr/>
          </p:nvSpPr>
          <p:spPr>
            <a:xfrm>
              <a:off x="12599259" y="6075116"/>
              <a:ext cx="104744" cy="104764"/>
            </a:xfrm>
            <a:custGeom>
              <a:avLst/>
              <a:gdLst/>
              <a:ahLst/>
              <a:cxnLst/>
              <a:rect l="l" t="t" r="r" b="b"/>
              <a:pathLst>
                <a:path w="104744" h="104764" extrusionOk="0">
                  <a:moveTo>
                    <a:pt x="104639" y="55808"/>
                  </a:moveTo>
                  <a:cubicBezTo>
                    <a:pt x="106448" y="26871"/>
                    <a:pt x="84745" y="2094"/>
                    <a:pt x="55809" y="105"/>
                  </a:cubicBezTo>
                  <a:cubicBezTo>
                    <a:pt x="26872" y="-1703"/>
                    <a:pt x="2095" y="19999"/>
                    <a:pt x="105" y="48936"/>
                  </a:cubicBezTo>
                  <a:cubicBezTo>
                    <a:pt x="-1703" y="77872"/>
                    <a:pt x="19999" y="102649"/>
                    <a:pt x="48936" y="104639"/>
                  </a:cubicBezTo>
                  <a:cubicBezTo>
                    <a:pt x="77873" y="106628"/>
                    <a:pt x="102831" y="84745"/>
                    <a:pt x="104639" y="558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2" name="Google Shape;1422;p53"/>
            <p:cNvSpPr/>
            <p:nvPr/>
          </p:nvSpPr>
          <p:spPr>
            <a:xfrm>
              <a:off x="12475060" y="5734073"/>
              <a:ext cx="46955" cy="46955"/>
            </a:xfrm>
            <a:custGeom>
              <a:avLst/>
              <a:gdLst/>
              <a:ahLst/>
              <a:cxnLst/>
              <a:rect l="l" t="t" r="r" b="b"/>
              <a:pathLst>
                <a:path w="46955" h="46955" extrusionOk="0">
                  <a:moveTo>
                    <a:pt x="46898" y="25015"/>
                  </a:moveTo>
                  <a:cubicBezTo>
                    <a:pt x="47803" y="11993"/>
                    <a:pt x="37856" y="961"/>
                    <a:pt x="25015" y="57"/>
                  </a:cubicBezTo>
                  <a:cubicBezTo>
                    <a:pt x="11994" y="-847"/>
                    <a:pt x="961" y="9100"/>
                    <a:pt x="57" y="21940"/>
                  </a:cubicBezTo>
                  <a:cubicBezTo>
                    <a:pt x="-847" y="34962"/>
                    <a:pt x="9100" y="45994"/>
                    <a:pt x="21940" y="46898"/>
                  </a:cubicBezTo>
                  <a:cubicBezTo>
                    <a:pt x="34781" y="47803"/>
                    <a:pt x="45994" y="37856"/>
                    <a:pt x="46898" y="250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3" name="Google Shape;1423;p53"/>
            <p:cNvSpPr/>
            <p:nvPr/>
          </p:nvSpPr>
          <p:spPr>
            <a:xfrm>
              <a:off x="12514674" y="5670037"/>
              <a:ext cx="55462" cy="55482"/>
            </a:xfrm>
            <a:custGeom>
              <a:avLst/>
              <a:gdLst/>
              <a:ahLst/>
              <a:cxnLst/>
              <a:rect l="l" t="t" r="r" b="b"/>
              <a:pathLst>
                <a:path w="55462" h="55482" extrusionOk="0">
                  <a:moveTo>
                    <a:pt x="55392" y="29550"/>
                  </a:moveTo>
                  <a:cubicBezTo>
                    <a:pt x="56477" y="14358"/>
                    <a:pt x="44902" y="1156"/>
                    <a:pt x="29530" y="70"/>
                  </a:cubicBezTo>
                  <a:cubicBezTo>
                    <a:pt x="14338" y="-1015"/>
                    <a:pt x="1135" y="10560"/>
                    <a:pt x="50" y="25933"/>
                  </a:cubicBezTo>
                  <a:cubicBezTo>
                    <a:pt x="-854" y="41125"/>
                    <a:pt x="10540" y="54327"/>
                    <a:pt x="25912" y="55412"/>
                  </a:cubicBezTo>
                  <a:cubicBezTo>
                    <a:pt x="41104" y="56497"/>
                    <a:pt x="54307" y="44922"/>
                    <a:pt x="55392" y="2955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4" name="Google Shape;1424;p53"/>
            <p:cNvSpPr/>
            <p:nvPr/>
          </p:nvSpPr>
          <p:spPr>
            <a:xfrm>
              <a:off x="12518843" y="5665545"/>
              <a:ext cx="42764" cy="42764"/>
            </a:xfrm>
            <a:custGeom>
              <a:avLst/>
              <a:gdLst/>
              <a:ahLst/>
              <a:cxnLst/>
              <a:rect l="l" t="t" r="r" b="b"/>
              <a:pathLst>
                <a:path w="42764" h="42764" extrusionOk="0">
                  <a:moveTo>
                    <a:pt x="42723" y="22829"/>
                  </a:moveTo>
                  <a:cubicBezTo>
                    <a:pt x="43446" y="11073"/>
                    <a:pt x="34584" y="946"/>
                    <a:pt x="22829" y="41"/>
                  </a:cubicBezTo>
                  <a:cubicBezTo>
                    <a:pt x="11073" y="-682"/>
                    <a:pt x="945" y="8180"/>
                    <a:pt x="41" y="19935"/>
                  </a:cubicBezTo>
                  <a:cubicBezTo>
                    <a:pt x="-682" y="31691"/>
                    <a:pt x="8179" y="41819"/>
                    <a:pt x="19935" y="42723"/>
                  </a:cubicBezTo>
                  <a:cubicBezTo>
                    <a:pt x="31871" y="43447"/>
                    <a:pt x="41999" y="34585"/>
                    <a:pt x="42723" y="2282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5" name="Google Shape;1425;p53"/>
            <p:cNvSpPr/>
            <p:nvPr/>
          </p:nvSpPr>
          <p:spPr>
            <a:xfrm>
              <a:off x="12479953" y="5738966"/>
              <a:ext cx="36987" cy="36987"/>
            </a:xfrm>
            <a:custGeom>
              <a:avLst/>
              <a:gdLst/>
              <a:ahLst/>
              <a:cxnLst/>
              <a:rect l="l" t="t" r="r" b="b"/>
              <a:pathLst>
                <a:path w="36987" h="36987" extrusionOk="0">
                  <a:moveTo>
                    <a:pt x="36941" y="19760"/>
                  </a:moveTo>
                  <a:cubicBezTo>
                    <a:pt x="37665" y="9632"/>
                    <a:pt x="29888" y="770"/>
                    <a:pt x="19760" y="47"/>
                  </a:cubicBezTo>
                  <a:cubicBezTo>
                    <a:pt x="9632" y="-677"/>
                    <a:pt x="770" y="7100"/>
                    <a:pt x="47" y="17228"/>
                  </a:cubicBezTo>
                  <a:cubicBezTo>
                    <a:pt x="-676" y="27356"/>
                    <a:pt x="7100" y="36218"/>
                    <a:pt x="17228" y="36941"/>
                  </a:cubicBezTo>
                  <a:cubicBezTo>
                    <a:pt x="27537" y="37664"/>
                    <a:pt x="36218" y="29888"/>
                    <a:pt x="36941" y="197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6" name="Google Shape;1426;p53"/>
            <p:cNvSpPr/>
            <p:nvPr/>
          </p:nvSpPr>
          <p:spPr>
            <a:xfrm>
              <a:off x="12530079" y="5685643"/>
              <a:ext cx="24451" cy="24451"/>
            </a:xfrm>
            <a:custGeom>
              <a:avLst/>
              <a:gdLst/>
              <a:ahLst/>
              <a:cxnLst/>
              <a:rect l="l" t="t" r="r" b="b"/>
              <a:pathLst>
                <a:path w="24451" h="24451" extrusionOk="0">
                  <a:moveTo>
                    <a:pt x="24434" y="13040"/>
                  </a:moveTo>
                  <a:cubicBezTo>
                    <a:pt x="24795" y="6348"/>
                    <a:pt x="19731" y="561"/>
                    <a:pt x="13040" y="18"/>
                  </a:cubicBezTo>
                  <a:cubicBezTo>
                    <a:pt x="6348" y="-344"/>
                    <a:pt x="561" y="4721"/>
                    <a:pt x="18" y="11412"/>
                  </a:cubicBezTo>
                  <a:cubicBezTo>
                    <a:pt x="-344" y="18104"/>
                    <a:pt x="4720" y="23891"/>
                    <a:pt x="11412" y="24434"/>
                  </a:cubicBezTo>
                  <a:cubicBezTo>
                    <a:pt x="18284" y="24795"/>
                    <a:pt x="24072" y="19731"/>
                    <a:pt x="24434" y="130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7" name="Google Shape;1427;p53"/>
            <p:cNvSpPr/>
            <p:nvPr/>
          </p:nvSpPr>
          <p:spPr>
            <a:xfrm>
              <a:off x="12476704" y="5735696"/>
              <a:ext cx="43486" cy="43527"/>
            </a:xfrm>
            <a:custGeom>
              <a:avLst/>
              <a:gdLst/>
              <a:ahLst/>
              <a:cxnLst/>
              <a:rect l="l" t="t" r="r" b="b"/>
              <a:pathLst>
                <a:path w="43486" h="43527" extrusionOk="0">
                  <a:moveTo>
                    <a:pt x="43446" y="23211"/>
                  </a:moveTo>
                  <a:cubicBezTo>
                    <a:pt x="44169" y="11274"/>
                    <a:pt x="35126" y="966"/>
                    <a:pt x="23190" y="61"/>
                  </a:cubicBezTo>
                  <a:cubicBezTo>
                    <a:pt x="11253" y="-843"/>
                    <a:pt x="945" y="8380"/>
                    <a:pt x="41" y="20317"/>
                  </a:cubicBezTo>
                  <a:cubicBezTo>
                    <a:pt x="-683" y="32253"/>
                    <a:pt x="8360" y="42562"/>
                    <a:pt x="20296" y="43466"/>
                  </a:cubicBezTo>
                  <a:cubicBezTo>
                    <a:pt x="32414" y="44371"/>
                    <a:pt x="42723" y="35147"/>
                    <a:pt x="43446" y="2321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8" name="Google Shape;1428;p53"/>
            <p:cNvSpPr/>
            <p:nvPr/>
          </p:nvSpPr>
          <p:spPr>
            <a:xfrm>
              <a:off x="12722674" y="5676585"/>
              <a:ext cx="29364" cy="29347"/>
            </a:xfrm>
            <a:custGeom>
              <a:avLst/>
              <a:gdLst/>
              <a:ahLst/>
              <a:cxnLst/>
              <a:rect l="l" t="t" r="r" b="b"/>
              <a:pathLst>
                <a:path w="29364" h="29347" extrusionOk="0">
                  <a:moveTo>
                    <a:pt x="29332" y="15587"/>
                  </a:moveTo>
                  <a:cubicBezTo>
                    <a:pt x="29874" y="7448"/>
                    <a:pt x="23725" y="576"/>
                    <a:pt x="15587" y="33"/>
                  </a:cubicBezTo>
                  <a:cubicBezTo>
                    <a:pt x="7448" y="-509"/>
                    <a:pt x="576" y="5640"/>
                    <a:pt x="33" y="13778"/>
                  </a:cubicBezTo>
                  <a:cubicBezTo>
                    <a:pt x="-509" y="21917"/>
                    <a:pt x="5640" y="28789"/>
                    <a:pt x="13778" y="29332"/>
                  </a:cubicBezTo>
                  <a:cubicBezTo>
                    <a:pt x="21736" y="29693"/>
                    <a:pt x="28789" y="23725"/>
                    <a:pt x="29332" y="155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9" name="Google Shape;1429;p53"/>
            <p:cNvSpPr/>
            <p:nvPr/>
          </p:nvSpPr>
          <p:spPr>
            <a:xfrm>
              <a:off x="12638392" y="6114250"/>
              <a:ext cx="26658" cy="26658"/>
            </a:xfrm>
            <a:custGeom>
              <a:avLst/>
              <a:gdLst/>
              <a:ahLst/>
              <a:cxnLst/>
              <a:rect l="l" t="t" r="r" b="b"/>
              <a:pathLst>
                <a:path w="26658" h="26658" extrusionOk="0">
                  <a:moveTo>
                    <a:pt x="26622" y="14143"/>
                  </a:moveTo>
                  <a:cubicBezTo>
                    <a:pt x="27164" y="6728"/>
                    <a:pt x="21558" y="398"/>
                    <a:pt x="14143" y="36"/>
                  </a:cubicBezTo>
                  <a:cubicBezTo>
                    <a:pt x="6728" y="-506"/>
                    <a:pt x="398" y="5100"/>
                    <a:pt x="36" y="12515"/>
                  </a:cubicBezTo>
                  <a:cubicBezTo>
                    <a:pt x="-506" y="19930"/>
                    <a:pt x="5100" y="26260"/>
                    <a:pt x="12515" y="26622"/>
                  </a:cubicBezTo>
                  <a:cubicBezTo>
                    <a:pt x="19749" y="27164"/>
                    <a:pt x="26079" y="21558"/>
                    <a:pt x="26622" y="141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0" name="Google Shape;1430;p53"/>
            <p:cNvSpPr/>
            <p:nvPr/>
          </p:nvSpPr>
          <p:spPr>
            <a:xfrm>
              <a:off x="10822437" y="4443159"/>
              <a:ext cx="31531" cy="31553"/>
            </a:xfrm>
            <a:custGeom>
              <a:avLst/>
              <a:gdLst/>
              <a:ahLst/>
              <a:cxnLst/>
              <a:rect l="l" t="t" r="r" b="b"/>
              <a:pathLst>
                <a:path w="31531" h="31553" extrusionOk="0">
                  <a:moveTo>
                    <a:pt x="31500" y="16851"/>
                  </a:moveTo>
                  <a:cubicBezTo>
                    <a:pt x="32043" y="8170"/>
                    <a:pt x="25532" y="755"/>
                    <a:pt x="16851" y="32"/>
                  </a:cubicBezTo>
                  <a:cubicBezTo>
                    <a:pt x="8170" y="-511"/>
                    <a:pt x="755" y="6000"/>
                    <a:pt x="32" y="14681"/>
                  </a:cubicBezTo>
                  <a:cubicBezTo>
                    <a:pt x="-511" y="23362"/>
                    <a:pt x="6000" y="30777"/>
                    <a:pt x="14681" y="31500"/>
                  </a:cubicBezTo>
                  <a:cubicBezTo>
                    <a:pt x="23362" y="32224"/>
                    <a:pt x="30958" y="25532"/>
                    <a:pt x="31500" y="168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1" name="Google Shape;1431;p53"/>
            <p:cNvSpPr/>
            <p:nvPr/>
          </p:nvSpPr>
          <p:spPr>
            <a:xfrm>
              <a:off x="10071539" y="3856296"/>
              <a:ext cx="20118" cy="20102"/>
            </a:xfrm>
            <a:custGeom>
              <a:avLst/>
              <a:gdLst/>
              <a:ahLst/>
              <a:cxnLst/>
              <a:rect l="l" t="t" r="r" b="b"/>
              <a:pathLst>
                <a:path w="20118" h="20102" extrusionOk="0">
                  <a:moveTo>
                    <a:pt x="20097" y="10692"/>
                  </a:moveTo>
                  <a:cubicBezTo>
                    <a:pt x="20458" y="5267"/>
                    <a:pt x="16299" y="383"/>
                    <a:pt x="10692" y="22"/>
                  </a:cubicBezTo>
                  <a:cubicBezTo>
                    <a:pt x="5267" y="-340"/>
                    <a:pt x="383" y="3820"/>
                    <a:pt x="22" y="9426"/>
                  </a:cubicBezTo>
                  <a:cubicBezTo>
                    <a:pt x="-340" y="14852"/>
                    <a:pt x="3820" y="19735"/>
                    <a:pt x="9426" y="20097"/>
                  </a:cubicBezTo>
                  <a:cubicBezTo>
                    <a:pt x="15033" y="20278"/>
                    <a:pt x="19735" y="16118"/>
                    <a:pt x="20097" y="106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2" name="Google Shape;1432;p53"/>
            <p:cNvSpPr/>
            <p:nvPr/>
          </p:nvSpPr>
          <p:spPr>
            <a:xfrm>
              <a:off x="9825366" y="4555631"/>
              <a:ext cx="53093" cy="53114"/>
            </a:xfrm>
            <a:custGeom>
              <a:avLst/>
              <a:gdLst/>
              <a:ahLst/>
              <a:cxnLst/>
              <a:rect l="l" t="t" r="r" b="b"/>
              <a:pathLst>
                <a:path w="53093" h="53114" extrusionOk="0">
                  <a:moveTo>
                    <a:pt x="53042" y="28265"/>
                  </a:moveTo>
                  <a:cubicBezTo>
                    <a:pt x="53946" y="13616"/>
                    <a:pt x="42914" y="956"/>
                    <a:pt x="28265" y="52"/>
                  </a:cubicBezTo>
                  <a:cubicBezTo>
                    <a:pt x="13616" y="-852"/>
                    <a:pt x="956" y="10180"/>
                    <a:pt x="52" y="24829"/>
                  </a:cubicBezTo>
                  <a:cubicBezTo>
                    <a:pt x="-852" y="39478"/>
                    <a:pt x="10180" y="52138"/>
                    <a:pt x="24829" y="53042"/>
                  </a:cubicBezTo>
                  <a:cubicBezTo>
                    <a:pt x="39478" y="54127"/>
                    <a:pt x="52138" y="42914"/>
                    <a:pt x="53042" y="282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3" name="Google Shape;1433;p53"/>
            <p:cNvSpPr/>
            <p:nvPr/>
          </p:nvSpPr>
          <p:spPr>
            <a:xfrm>
              <a:off x="10801958" y="4422861"/>
              <a:ext cx="72490" cy="72471"/>
            </a:xfrm>
            <a:custGeom>
              <a:avLst/>
              <a:gdLst/>
              <a:ahLst/>
              <a:cxnLst/>
              <a:rect l="l" t="t" r="r" b="b"/>
              <a:pathLst>
                <a:path w="72490" h="72471" extrusionOk="0">
                  <a:moveTo>
                    <a:pt x="72416" y="38596"/>
                  </a:moveTo>
                  <a:cubicBezTo>
                    <a:pt x="73682" y="18703"/>
                    <a:pt x="58671" y="1521"/>
                    <a:pt x="38596" y="75"/>
                  </a:cubicBezTo>
                  <a:cubicBezTo>
                    <a:pt x="18703" y="-1192"/>
                    <a:pt x="1521" y="13819"/>
                    <a:pt x="75" y="33894"/>
                  </a:cubicBezTo>
                  <a:cubicBezTo>
                    <a:pt x="-1192" y="53788"/>
                    <a:pt x="13819" y="70969"/>
                    <a:pt x="33894" y="72416"/>
                  </a:cubicBezTo>
                  <a:cubicBezTo>
                    <a:pt x="53788" y="73501"/>
                    <a:pt x="71150" y="58490"/>
                    <a:pt x="72416" y="385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4" name="Google Shape;1434;p53"/>
            <p:cNvSpPr/>
            <p:nvPr/>
          </p:nvSpPr>
          <p:spPr>
            <a:xfrm>
              <a:off x="10387458" y="4872303"/>
              <a:ext cx="49302" cy="49302"/>
            </a:xfrm>
            <a:custGeom>
              <a:avLst/>
              <a:gdLst/>
              <a:ahLst/>
              <a:cxnLst/>
              <a:rect l="l" t="t" r="r" b="b"/>
              <a:pathLst>
                <a:path w="49302" h="49302" extrusionOk="0">
                  <a:moveTo>
                    <a:pt x="49248" y="26279"/>
                  </a:moveTo>
                  <a:cubicBezTo>
                    <a:pt x="50152" y="12715"/>
                    <a:pt x="39843" y="960"/>
                    <a:pt x="26279" y="55"/>
                  </a:cubicBezTo>
                  <a:cubicBezTo>
                    <a:pt x="12715" y="-849"/>
                    <a:pt x="959" y="9460"/>
                    <a:pt x="55" y="23024"/>
                  </a:cubicBezTo>
                  <a:cubicBezTo>
                    <a:pt x="-849" y="36588"/>
                    <a:pt x="9459" y="48343"/>
                    <a:pt x="23024" y="49248"/>
                  </a:cubicBezTo>
                  <a:cubicBezTo>
                    <a:pt x="36588" y="50152"/>
                    <a:pt x="48343" y="39843"/>
                    <a:pt x="4924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5" name="Google Shape;1435;p53"/>
            <p:cNvSpPr/>
            <p:nvPr/>
          </p:nvSpPr>
          <p:spPr>
            <a:xfrm>
              <a:off x="9837140" y="4567586"/>
              <a:ext cx="29364" cy="29364"/>
            </a:xfrm>
            <a:custGeom>
              <a:avLst/>
              <a:gdLst/>
              <a:ahLst/>
              <a:cxnLst/>
              <a:rect l="l" t="t" r="r" b="b"/>
              <a:pathLst>
                <a:path w="29364" h="29364" extrusionOk="0">
                  <a:moveTo>
                    <a:pt x="29332" y="15587"/>
                  </a:moveTo>
                  <a:cubicBezTo>
                    <a:pt x="29874" y="7448"/>
                    <a:pt x="23725" y="576"/>
                    <a:pt x="15587" y="33"/>
                  </a:cubicBezTo>
                  <a:cubicBezTo>
                    <a:pt x="7448" y="-509"/>
                    <a:pt x="576" y="5640"/>
                    <a:pt x="33" y="13778"/>
                  </a:cubicBezTo>
                  <a:cubicBezTo>
                    <a:pt x="-509" y="21917"/>
                    <a:pt x="5640" y="28789"/>
                    <a:pt x="13778" y="29332"/>
                  </a:cubicBezTo>
                  <a:cubicBezTo>
                    <a:pt x="21917" y="29874"/>
                    <a:pt x="28789" y="23725"/>
                    <a:pt x="29332" y="155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6" name="Google Shape;1436;p53"/>
            <p:cNvSpPr/>
            <p:nvPr/>
          </p:nvSpPr>
          <p:spPr>
            <a:xfrm>
              <a:off x="10813372" y="4434275"/>
              <a:ext cx="49843" cy="49824"/>
            </a:xfrm>
            <a:custGeom>
              <a:avLst/>
              <a:gdLst/>
              <a:ahLst/>
              <a:cxnLst/>
              <a:rect l="l" t="t" r="r" b="b"/>
              <a:pathLst>
                <a:path w="49843" h="49824" extrusionOk="0">
                  <a:moveTo>
                    <a:pt x="49789" y="26459"/>
                  </a:moveTo>
                  <a:cubicBezTo>
                    <a:pt x="50694" y="12714"/>
                    <a:pt x="40204" y="959"/>
                    <a:pt x="26459" y="54"/>
                  </a:cubicBezTo>
                  <a:cubicBezTo>
                    <a:pt x="12714" y="-850"/>
                    <a:pt x="959" y="9640"/>
                    <a:pt x="54" y="23385"/>
                  </a:cubicBezTo>
                  <a:cubicBezTo>
                    <a:pt x="-850" y="37130"/>
                    <a:pt x="9640" y="48885"/>
                    <a:pt x="23385" y="49789"/>
                  </a:cubicBezTo>
                  <a:cubicBezTo>
                    <a:pt x="36949" y="50513"/>
                    <a:pt x="48885" y="40023"/>
                    <a:pt x="49789" y="264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7" name="Google Shape;1437;p53"/>
            <p:cNvSpPr/>
            <p:nvPr/>
          </p:nvSpPr>
          <p:spPr>
            <a:xfrm>
              <a:off x="11112715" y="3970955"/>
              <a:ext cx="17050" cy="17050"/>
            </a:xfrm>
            <a:custGeom>
              <a:avLst/>
              <a:gdLst/>
              <a:ahLst/>
              <a:cxnLst/>
              <a:rect l="l" t="t" r="r" b="b"/>
              <a:pathLst>
                <a:path w="17050" h="17050" extrusionOk="0">
                  <a:moveTo>
                    <a:pt x="17025" y="9068"/>
                  </a:moveTo>
                  <a:cubicBezTo>
                    <a:pt x="17387" y="4366"/>
                    <a:pt x="13770" y="206"/>
                    <a:pt x="9068" y="25"/>
                  </a:cubicBezTo>
                  <a:cubicBezTo>
                    <a:pt x="4366" y="-337"/>
                    <a:pt x="206" y="3280"/>
                    <a:pt x="25" y="7983"/>
                  </a:cubicBezTo>
                  <a:cubicBezTo>
                    <a:pt x="-337" y="12685"/>
                    <a:pt x="3280" y="16844"/>
                    <a:pt x="7983" y="17025"/>
                  </a:cubicBezTo>
                  <a:cubicBezTo>
                    <a:pt x="12685" y="17387"/>
                    <a:pt x="16845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8" name="Google Shape;1438;p53"/>
            <p:cNvSpPr/>
            <p:nvPr/>
          </p:nvSpPr>
          <p:spPr>
            <a:xfrm>
              <a:off x="10061390" y="3846148"/>
              <a:ext cx="40416" cy="40416"/>
            </a:xfrm>
            <a:custGeom>
              <a:avLst/>
              <a:gdLst/>
              <a:ahLst/>
              <a:cxnLst/>
              <a:rect l="l" t="t" r="r" b="b"/>
              <a:pathLst>
                <a:path w="40416" h="40416" extrusionOk="0">
                  <a:moveTo>
                    <a:pt x="40373" y="21564"/>
                  </a:moveTo>
                  <a:cubicBezTo>
                    <a:pt x="41097" y="10352"/>
                    <a:pt x="32597" y="766"/>
                    <a:pt x="21564" y="43"/>
                  </a:cubicBezTo>
                  <a:cubicBezTo>
                    <a:pt x="10352" y="-681"/>
                    <a:pt x="766" y="7820"/>
                    <a:pt x="43" y="18852"/>
                  </a:cubicBezTo>
                  <a:cubicBezTo>
                    <a:pt x="-681" y="30065"/>
                    <a:pt x="7820" y="39650"/>
                    <a:pt x="18852" y="40373"/>
                  </a:cubicBezTo>
                  <a:cubicBezTo>
                    <a:pt x="30065" y="41097"/>
                    <a:pt x="39650" y="32597"/>
                    <a:pt x="40373" y="2156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9" name="Google Shape;1439;p53"/>
            <p:cNvSpPr/>
            <p:nvPr/>
          </p:nvSpPr>
          <p:spPr>
            <a:xfrm>
              <a:off x="10807394" y="4428116"/>
              <a:ext cx="61799" cy="61799"/>
            </a:xfrm>
            <a:custGeom>
              <a:avLst/>
              <a:gdLst/>
              <a:ahLst/>
              <a:cxnLst/>
              <a:rect l="l" t="t" r="r" b="b"/>
              <a:pathLst>
                <a:path w="61799" h="61799" extrusionOk="0">
                  <a:moveTo>
                    <a:pt x="61735" y="32980"/>
                  </a:moveTo>
                  <a:cubicBezTo>
                    <a:pt x="62820" y="15979"/>
                    <a:pt x="49980" y="1330"/>
                    <a:pt x="32979" y="64"/>
                  </a:cubicBezTo>
                  <a:cubicBezTo>
                    <a:pt x="15979" y="-1021"/>
                    <a:pt x="1330" y="11819"/>
                    <a:pt x="64" y="28820"/>
                  </a:cubicBezTo>
                  <a:cubicBezTo>
                    <a:pt x="-1021" y="45820"/>
                    <a:pt x="11819" y="60469"/>
                    <a:pt x="28820" y="61735"/>
                  </a:cubicBezTo>
                  <a:cubicBezTo>
                    <a:pt x="45820" y="62821"/>
                    <a:pt x="60650" y="49980"/>
                    <a:pt x="61735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0" name="Google Shape;1440;p53"/>
            <p:cNvSpPr/>
            <p:nvPr/>
          </p:nvSpPr>
          <p:spPr>
            <a:xfrm>
              <a:off x="10643884" y="4976450"/>
              <a:ext cx="65249" cy="65249"/>
            </a:xfrm>
            <a:custGeom>
              <a:avLst/>
              <a:gdLst/>
              <a:ahLst/>
              <a:cxnLst/>
              <a:rect l="l" t="t" r="r" b="b"/>
              <a:pathLst>
                <a:path w="65249" h="65249" extrusionOk="0">
                  <a:moveTo>
                    <a:pt x="65189" y="34805"/>
                  </a:moveTo>
                  <a:cubicBezTo>
                    <a:pt x="66274" y="16900"/>
                    <a:pt x="52710" y="1347"/>
                    <a:pt x="34805" y="81"/>
                  </a:cubicBezTo>
                  <a:cubicBezTo>
                    <a:pt x="16901" y="-1185"/>
                    <a:pt x="1347" y="12560"/>
                    <a:pt x="81" y="30464"/>
                  </a:cubicBezTo>
                  <a:cubicBezTo>
                    <a:pt x="-1185" y="48369"/>
                    <a:pt x="12560" y="63923"/>
                    <a:pt x="30465" y="65188"/>
                  </a:cubicBezTo>
                  <a:cubicBezTo>
                    <a:pt x="48550" y="66273"/>
                    <a:pt x="63923" y="52709"/>
                    <a:pt x="65189" y="348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1" name="Google Shape;1441;p53"/>
            <p:cNvSpPr/>
            <p:nvPr/>
          </p:nvSpPr>
          <p:spPr>
            <a:xfrm>
              <a:off x="10388721" y="4873566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5"/>
                    <a:pt x="37676" y="962"/>
                    <a:pt x="24835" y="58"/>
                  </a:cubicBezTo>
                  <a:cubicBezTo>
                    <a:pt x="11995" y="-846"/>
                    <a:pt x="962" y="8920"/>
                    <a:pt x="58" y="21761"/>
                  </a:cubicBezTo>
                  <a:cubicBezTo>
                    <a:pt x="-846" y="34601"/>
                    <a:pt x="8920" y="45633"/>
                    <a:pt x="21761" y="46538"/>
                  </a:cubicBezTo>
                  <a:cubicBezTo>
                    <a:pt x="34601" y="47442"/>
                    <a:pt x="45633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2" name="Google Shape;1442;p53"/>
            <p:cNvSpPr/>
            <p:nvPr/>
          </p:nvSpPr>
          <p:spPr>
            <a:xfrm>
              <a:off x="10792711" y="4413434"/>
              <a:ext cx="91164" cy="91164"/>
            </a:xfrm>
            <a:custGeom>
              <a:avLst/>
              <a:gdLst/>
              <a:ahLst/>
              <a:cxnLst/>
              <a:rect l="l" t="t" r="r" b="b"/>
              <a:pathLst>
                <a:path w="91164" h="91164" extrusionOk="0">
                  <a:moveTo>
                    <a:pt x="91067" y="48566"/>
                  </a:moveTo>
                  <a:cubicBezTo>
                    <a:pt x="92695" y="23427"/>
                    <a:pt x="73705" y="1725"/>
                    <a:pt x="48566" y="97"/>
                  </a:cubicBezTo>
                  <a:cubicBezTo>
                    <a:pt x="23428" y="-1530"/>
                    <a:pt x="1725" y="17459"/>
                    <a:pt x="97" y="42598"/>
                  </a:cubicBezTo>
                  <a:cubicBezTo>
                    <a:pt x="-1530" y="67737"/>
                    <a:pt x="17459" y="89439"/>
                    <a:pt x="42598" y="91067"/>
                  </a:cubicBezTo>
                  <a:cubicBezTo>
                    <a:pt x="67737" y="92695"/>
                    <a:pt x="89439" y="73705"/>
                    <a:pt x="91067" y="485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3" name="Google Shape;1443;p53"/>
            <p:cNvSpPr/>
            <p:nvPr/>
          </p:nvSpPr>
          <p:spPr>
            <a:xfrm>
              <a:off x="11275042" y="4939169"/>
              <a:ext cx="103840" cy="103861"/>
            </a:xfrm>
            <a:custGeom>
              <a:avLst/>
              <a:gdLst/>
              <a:ahLst/>
              <a:cxnLst/>
              <a:rect l="l" t="t" r="r" b="b"/>
              <a:pathLst>
                <a:path w="103840" h="103861" extrusionOk="0">
                  <a:moveTo>
                    <a:pt x="103735" y="55266"/>
                  </a:moveTo>
                  <a:cubicBezTo>
                    <a:pt x="105543" y="26691"/>
                    <a:pt x="83841" y="1914"/>
                    <a:pt x="55266" y="105"/>
                  </a:cubicBezTo>
                  <a:cubicBezTo>
                    <a:pt x="26691" y="-1703"/>
                    <a:pt x="1914" y="19999"/>
                    <a:pt x="105" y="48574"/>
                  </a:cubicBezTo>
                  <a:cubicBezTo>
                    <a:pt x="-1703" y="77149"/>
                    <a:pt x="19999" y="101926"/>
                    <a:pt x="48574" y="103735"/>
                  </a:cubicBezTo>
                  <a:cubicBezTo>
                    <a:pt x="77149" y="105724"/>
                    <a:pt x="101926" y="84022"/>
                    <a:pt x="103735" y="552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4" name="Google Shape;1444;p53"/>
            <p:cNvSpPr/>
            <p:nvPr/>
          </p:nvSpPr>
          <p:spPr>
            <a:xfrm>
              <a:off x="10652229" y="4984794"/>
              <a:ext cx="48581" cy="48581"/>
            </a:xfrm>
            <a:custGeom>
              <a:avLst/>
              <a:gdLst/>
              <a:ahLst/>
              <a:cxnLst/>
              <a:rect l="l" t="t" r="r" b="b"/>
              <a:pathLst>
                <a:path w="48581" h="48581" extrusionOk="0">
                  <a:moveTo>
                    <a:pt x="48525" y="25918"/>
                  </a:moveTo>
                  <a:cubicBezTo>
                    <a:pt x="49429" y="12535"/>
                    <a:pt x="39302" y="960"/>
                    <a:pt x="25918" y="56"/>
                  </a:cubicBezTo>
                  <a:cubicBezTo>
                    <a:pt x="12535" y="-848"/>
                    <a:pt x="960" y="9280"/>
                    <a:pt x="56" y="22663"/>
                  </a:cubicBezTo>
                  <a:cubicBezTo>
                    <a:pt x="-848" y="36046"/>
                    <a:pt x="9280" y="47621"/>
                    <a:pt x="22663" y="48525"/>
                  </a:cubicBezTo>
                  <a:cubicBezTo>
                    <a:pt x="36046" y="49429"/>
                    <a:pt x="47621" y="39302"/>
                    <a:pt x="48525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5" name="Google Shape;1445;p53"/>
            <p:cNvSpPr/>
            <p:nvPr/>
          </p:nvSpPr>
          <p:spPr>
            <a:xfrm>
              <a:off x="10812107" y="4432830"/>
              <a:ext cx="52372" cy="52372"/>
            </a:xfrm>
            <a:custGeom>
              <a:avLst/>
              <a:gdLst/>
              <a:ahLst/>
              <a:cxnLst/>
              <a:rect l="l" t="t" r="r" b="b"/>
              <a:pathLst>
                <a:path w="52372" h="52372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1"/>
                    <a:pt x="957" y="10000"/>
                    <a:pt x="53" y="24468"/>
                  </a:cubicBezTo>
                  <a:cubicBezTo>
                    <a:pt x="-852" y="38936"/>
                    <a:pt x="10000" y="51415"/>
                    <a:pt x="24468" y="52320"/>
                  </a:cubicBezTo>
                  <a:cubicBezTo>
                    <a:pt x="38936" y="53224"/>
                    <a:pt x="51415" y="42373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6" name="Google Shape;1446;p53"/>
            <p:cNvSpPr/>
            <p:nvPr/>
          </p:nvSpPr>
          <p:spPr>
            <a:xfrm>
              <a:off x="11381650" y="4204623"/>
              <a:ext cx="20478" cy="20478"/>
            </a:xfrm>
            <a:custGeom>
              <a:avLst/>
              <a:gdLst/>
              <a:ahLst/>
              <a:cxnLst/>
              <a:rect l="l" t="t" r="r" b="b"/>
              <a:pathLst>
                <a:path w="20478" h="20478" extrusionOk="0">
                  <a:moveTo>
                    <a:pt x="20457" y="10872"/>
                  </a:moveTo>
                  <a:cubicBezTo>
                    <a:pt x="20819" y="5266"/>
                    <a:pt x="16479" y="383"/>
                    <a:pt x="10872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1" y="15213"/>
                    <a:pt x="4000" y="20096"/>
                    <a:pt x="9606" y="20458"/>
                  </a:cubicBezTo>
                  <a:cubicBezTo>
                    <a:pt x="15213" y="20820"/>
                    <a:pt x="20096" y="16479"/>
                    <a:pt x="20457" y="108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7" name="Google Shape;1447;p53"/>
            <p:cNvSpPr/>
            <p:nvPr/>
          </p:nvSpPr>
          <p:spPr>
            <a:xfrm>
              <a:off x="11067765" y="3925824"/>
              <a:ext cx="107130" cy="107130"/>
            </a:xfrm>
            <a:custGeom>
              <a:avLst/>
              <a:gdLst/>
              <a:ahLst/>
              <a:cxnLst/>
              <a:rect l="l" t="t" r="r" b="b"/>
              <a:pathLst>
                <a:path w="107130" h="107130" extrusionOk="0">
                  <a:moveTo>
                    <a:pt x="107008" y="57092"/>
                  </a:moveTo>
                  <a:cubicBezTo>
                    <a:pt x="108997" y="27613"/>
                    <a:pt x="86571" y="2112"/>
                    <a:pt x="57092" y="123"/>
                  </a:cubicBezTo>
                  <a:cubicBezTo>
                    <a:pt x="27613" y="-1867"/>
                    <a:pt x="2112" y="20559"/>
                    <a:pt x="123" y="50039"/>
                  </a:cubicBezTo>
                  <a:cubicBezTo>
                    <a:pt x="-1867" y="79518"/>
                    <a:pt x="20559" y="105018"/>
                    <a:pt x="50039" y="107008"/>
                  </a:cubicBezTo>
                  <a:cubicBezTo>
                    <a:pt x="79518" y="108997"/>
                    <a:pt x="105018" y="86571"/>
                    <a:pt x="107008" y="570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8" name="Google Shape;1448;p53"/>
            <p:cNvSpPr/>
            <p:nvPr/>
          </p:nvSpPr>
          <p:spPr>
            <a:xfrm>
              <a:off x="10797425" y="4418147"/>
              <a:ext cx="81737" cy="81737"/>
            </a:xfrm>
            <a:custGeom>
              <a:avLst/>
              <a:gdLst/>
              <a:ahLst/>
              <a:cxnLst/>
              <a:rect l="l" t="t" r="r" b="b"/>
              <a:pathLst>
                <a:path w="81737" h="81737" extrusionOk="0">
                  <a:moveTo>
                    <a:pt x="81651" y="43491"/>
                  </a:moveTo>
                  <a:cubicBezTo>
                    <a:pt x="83098" y="20884"/>
                    <a:pt x="66098" y="1533"/>
                    <a:pt x="43491" y="86"/>
                  </a:cubicBezTo>
                  <a:cubicBezTo>
                    <a:pt x="20884" y="-1361"/>
                    <a:pt x="1533" y="15639"/>
                    <a:pt x="86" y="38246"/>
                  </a:cubicBezTo>
                  <a:cubicBezTo>
                    <a:pt x="-1361" y="60853"/>
                    <a:pt x="15639" y="80205"/>
                    <a:pt x="38246" y="81651"/>
                  </a:cubicBezTo>
                  <a:cubicBezTo>
                    <a:pt x="60672" y="83098"/>
                    <a:pt x="80204" y="66098"/>
                    <a:pt x="81651" y="434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9" name="Google Shape;1449;p53"/>
            <p:cNvSpPr/>
            <p:nvPr/>
          </p:nvSpPr>
          <p:spPr>
            <a:xfrm>
              <a:off x="11562461" y="4251060"/>
              <a:ext cx="61980" cy="61961"/>
            </a:xfrm>
            <a:custGeom>
              <a:avLst/>
              <a:gdLst/>
              <a:ahLst/>
              <a:cxnLst/>
              <a:rect l="l" t="t" r="r" b="b"/>
              <a:pathLst>
                <a:path w="61980" h="61961" extrusionOk="0">
                  <a:moveTo>
                    <a:pt x="61916" y="32979"/>
                  </a:moveTo>
                  <a:cubicBezTo>
                    <a:pt x="63001" y="15979"/>
                    <a:pt x="50161" y="1149"/>
                    <a:pt x="32979" y="64"/>
                  </a:cubicBezTo>
                  <a:cubicBezTo>
                    <a:pt x="15798" y="-1021"/>
                    <a:pt x="1149" y="11819"/>
                    <a:pt x="64" y="29001"/>
                  </a:cubicBezTo>
                  <a:cubicBezTo>
                    <a:pt x="-1021" y="46001"/>
                    <a:pt x="11819" y="60831"/>
                    <a:pt x="29001" y="61916"/>
                  </a:cubicBezTo>
                  <a:cubicBezTo>
                    <a:pt x="46182" y="62821"/>
                    <a:pt x="60831" y="49980"/>
                    <a:pt x="61916" y="329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0" name="Google Shape;1450;p53"/>
            <p:cNvSpPr/>
            <p:nvPr/>
          </p:nvSpPr>
          <p:spPr>
            <a:xfrm>
              <a:off x="11320714" y="4984841"/>
              <a:ext cx="12497" cy="12497"/>
            </a:xfrm>
            <a:custGeom>
              <a:avLst/>
              <a:gdLst/>
              <a:ahLst/>
              <a:cxnLst/>
              <a:rect l="l" t="t" r="r" b="b"/>
              <a:pathLst>
                <a:path w="12497" h="12497" extrusionOk="0">
                  <a:moveTo>
                    <a:pt x="12488" y="6701"/>
                  </a:moveTo>
                  <a:cubicBezTo>
                    <a:pt x="12669" y="3265"/>
                    <a:pt x="10137" y="371"/>
                    <a:pt x="6701" y="9"/>
                  </a:cubicBezTo>
                  <a:cubicBezTo>
                    <a:pt x="3265" y="-172"/>
                    <a:pt x="371" y="2360"/>
                    <a:pt x="9" y="5797"/>
                  </a:cubicBezTo>
                  <a:cubicBezTo>
                    <a:pt x="-172" y="9233"/>
                    <a:pt x="2360" y="12126"/>
                    <a:pt x="5797" y="12488"/>
                  </a:cubicBezTo>
                  <a:cubicBezTo>
                    <a:pt x="9233" y="12669"/>
                    <a:pt x="12307" y="10137"/>
                    <a:pt x="12488" y="67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1" name="Google Shape;1451;p53"/>
            <p:cNvSpPr/>
            <p:nvPr/>
          </p:nvSpPr>
          <p:spPr>
            <a:xfrm>
              <a:off x="10815738" y="4436460"/>
              <a:ext cx="45111" cy="45130"/>
            </a:xfrm>
            <a:custGeom>
              <a:avLst/>
              <a:gdLst/>
              <a:ahLst/>
              <a:cxnLst/>
              <a:rect l="l" t="t" r="r" b="b"/>
              <a:pathLst>
                <a:path w="45111" h="45130" extrusionOk="0">
                  <a:moveTo>
                    <a:pt x="45072" y="24093"/>
                  </a:moveTo>
                  <a:cubicBezTo>
                    <a:pt x="45795" y="11614"/>
                    <a:pt x="36391" y="943"/>
                    <a:pt x="24093" y="39"/>
                  </a:cubicBezTo>
                  <a:cubicBezTo>
                    <a:pt x="11614" y="-684"/>
                    <a:pt x="943" y="8720"/>
                    <a:pt x="39" y="21018"/>
                  </a:cubicBezTo>
                  <a:cubicBezTo>
                    <a:pt x="-684" y="33497"/>
                    <a:pt x="8720" y="44167"/>
                    <a:pt x="21018" y="45072"/>
                  </a:cubicBezTo>
                  <a:cubicBezTo>
                    <a:pt x="33497" y="45976"/>
                    <a:pt x="44168" y="36391"/>
                    <a:pt x="45072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2" name="Google Shape;1452;p53"/>
            <p:cNvSpPr/>
            <p:nvPr/>
          </p:nvSpPr>
          <p:spPr>
            <a:xfrm>
              <a:off x="11570063" y="4258480"/>
              <a:ext cx="46957" cy="46937"/>
            </a:xfrm>
            <a:custGeom>
              <a:avLst/>
              <a:gdLst/>
              <a:ahLst/>
              <a:cxnLst/>
              <a:rect l="l" t="t" r="r" b="b"/>
              <a:pathLst>
                <a:path w="46957" h="46937" extrusionOk="0">
                  <a:moveTo>
                    <a:pt x="46899" y="25016"/>
                  </a:moveTo>
                  <a:cubicBezTo>
                    <a:pt x="47804" y="12176"/>
                    <a:pt x="38037" y="962"/>
                    <a:pt x="25016" y="58"/>
                  </a:cubicBezTo>
                  <a:cubicBezTo>
                    <a:pt x="12175" y="-846"/>
                    <a:pt x="962" y="8920"/>
                    <a:pt x="58" y="21942"/>
                  </a:cubicBezTo>
                  <a:cubicBezTo>
                    <a:pt x="-846" y="34782"/>
                    <a:pt x="8920" y="45995"/>
                    <a:pt x="21941" y="46900"/>
                  </a:cubicBezTo>
                  <a:cubicBezTo>
                    <a:pt x="34782" y="47623"/>
                    <a:pt x="45995" y="37857"/>
                    <a:pt x="46899" y="2501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3" name="Google Shape;1453;p53"/>
            <p:cNvSpPr/>
            <p:nvPr/>
          </p:nvSpPr>
          <p:spPr>
            <a:xfrm>
              <a:off x="11350299" y="4173272"/>
              <a:ext cx="83361" cy="83360"/>
            </a:xfrm>
            <a:custGeom>
              <a:avLst/>
              <a:gdLst/>
              <a:ahLst/>
              <a:cxnLst/>
              <a:rect l="l" t="t" r="r" b="b"/>
              <a:pathLst>
                <a:path w="83361" h="83360" extrusionOk="0">
                  <a:moveTo>
                    <a:pt x="83277" y="44394"/>
                  </a:moveTo>
                  <a:cubicBezTo>
                    <a:pt x="84724" y="21425"/>
                    <a:pt x="67362" y="1712"/>
                    <a:pt x="44394" y="84"/>
                  </a:cubicBezTo>
                  <a:cubicBezTo>
                    <a:pt x="21425" y="-1363"/>
                    <a:pt x="1712" y="16000"/>
                    <a:pt x="84" y="38968"/>
                  </a:cubicBezTo>
                  <a:cubicBezTo>
                    <a:pt x="-1363" y="61936"/>
                    <a:pt x="16000" y="81649"/>
                    <a:pt x="38968" y="83277"/>
                  </a:cubicBezTo>
                  <a:cubicBezTo>
                    <a:pt x="61936" y="84724"/>
                    <a:pt x="81650" y="67181"/>
                    <a:pt x="83277" y="443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4" name="Google Shape;1454;p53"/>
            <p:cNvSpPr/>
            <p:nvPr/>
          </p:nvSpPr>
          <p:spPr>
            <a:xfrm>
              <a:off x="12350596" y="5755197"/>
              <a:ext cx="95315" cy="95315"/>
            </a:xfrm>
            <a:custGeom>
              <a:avLst/>
              <a:gdLst/>
              <a:ahLst/>
              <a:cxnLst/>
              <a:rect l="l" t="t" r="r" b="b"/>
              <a:pathLst>
                <a:path w="95315" h="95315" extrusionOk="0">
                  <a:moveTo>
                    <a:pt x="95223" y="50732"/>
                  </a:moveTo>
                  <a:cubicBezTo>
                    <a:pt x="96850" y="24508"/>
                    <a:pt x="76956" y="1721"/>
                    <a:pt x="50733" y="93"/>
                  </a:cubicBezTo>
                  <a:cubicBezTo>
                    <a:pt x="24509" y="-1534"/>
                    <a:pt x="1721" y="18359"/>
                    <a:pt x="93" y="44583"/>
                  </a:cubicBezTo>
                  <a:cubicBezTo>
                    <a:pt x="-1534" y="70807"/>
                    <a:pt x="18360" y="93595"/>
                    <a:pt x="44583" y="95222"/>
                  </a:cubicBezTo>
                  <a:cubicBezTo>
                    <a:pt x="70807" y="96850"/>
                    <a:pt x="93414" y="76956"/>
                    <a:pt x="95223" y="50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5" name="Google Shape;1455;p53"/>
            <p:cNvSpPr/>
            <p:nvPr/>
          </p:nvSpPr>
          <p:spPr>
            <a:xfrm>
              <a:off x="12534428" y="5680950"/>
              <a:ext cx="11954" cy="11979"/>
            </a:xfrm>
            <a:custGeom>
              <a:avLst/>
              <a:gdLst/>
              <a:ahLst/>
              <a:cxnLst/>
              <a:rect l="l" t="t" r="r" b="b"/>
              <a:pathLst>
                <a:path w="11954" h="11979" extrusionOk="0">
                  <a:moveTo>
                    <a:pt x="11946" y="6339"/>
                  </a:moveTo>
                  <a:cubicBezTo>
                    <a:pt x="12127" y="3084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2" y="8871"/>
                    <a:pt x="2360" y="11765"/>
                    <a:pt x="5616" y="11946"/>
                  </a:cubicBezTo>
                  <a:cubicBezTo>
                    <a:pt x="8690" y="12307"/>
                    <a:pt x="11584" y="9775"/>
                    <a:pt x="11946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6" name="Google Shape;1456;p53"/>
            <p:cNvSpPr/>
            <p:nvPr/>
          </p:nvSpPr>
          <p:spPr>
            <a:xfrm>
              <a:off x="11888947" y="5716205"/>
              <a:ext cx="21743" cy="21743"/>
            </a:xfrm>
            <a:custGeom>
              <a:avLst/>
              <a:gdLst/>
              <a:ahLst/>
              <a:cxnLst/>
              <a:rect l="l" t="t" r="r" b="b"/>
              <a:pathLst>
                <a:path w="21743" h="21743" extrusionOk="0">
                  <a:moveTo>
                    <a:pt x="21723" y="11595"/>
                  </a:moveTo>
                  <a:cubicBezTo>
                    <a:pt x="22085" y="5627"/>
                    <a:pt x="17563" y="382"/>
                    <a:pt x="11595" y="20"/>
                  </a:cubicBezTo>
                  <a:cubicBezTo>
                    <a:pt x="5627" y="-342"/>
                    <a:pt x="382" y="4180"/>
                    <a:pt x="20" y="10148"/>
                  </a:cubicBezTo>
                  <a:cubicBezTo>
                    <a:pt x="-341" y="16116"/>
                    <a:pt x="4180" y="21361"/>
                    <a:pt x="10148" y="21723"/>
                  </a:cubicBezTo>
                  <a:cubicBezTo>
                    <a:pt x="16116" y="22085"/>
                    <a:pt x="21361" y="17563"/>
                    <a:pt x="21723" y="1159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7" name="Google Shape;1457;p53"/>
            <p:cNvSpPr/>
            <p:nvPr/>
          </p:nvSpPr>
          <p:spPr>
            <a:xfrm>
              <a:off x="12378858" y="5783278"/>
              <a:ext cx="38792" cy="38792"/>
            </a:xfrm>
            <a:custGeom>
              <a:avLst/>
              <a:gdLst/>
              <a:ahLst/>
              <a:cxnLst/>
              <a:rect l="l" t="t" r="r" b="b"/>
              <a:pathLst>
                <a:path w="38792" h="38792" extrusionOk="0">
                  <a:moveTo>
                    <a:pt x="38748" y="20662"/>
                  </a:moveTo>
                  <a:cubicBezTo>
                    <a:pt x="39471" y="9992"/>
                    <a:pt x="31333" y="768"/>
                    <a:pt x="20662" y="45"/>
                  </a:cubicBezTo>
                  <a:cubicBezTo>
                    <a:pt x="9992" y="-679"/>
                    <a:pt x="768" y="7460"/>
                    <a:pt x="45" y="18130"/>
                  </a:cubicBezTo>
                  <a:cubicBezTo>
                    <a:pt x="-678" y="28801"/>
                    <a:pt x="7460" y="38024"/>
                    <a:pt x="18130" y="38748"/>
                  </a:cubicBezTo>
                  <a:cubicBezTo>
                    <a:pt x="28800" y="39471"/>
                    <a:pt x="38024" y="31332"/>
                    <a:pt x="38748" y="206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8" name="Google Shape;1458;p53"/>
            <p:cNvSpPr/>
            <p:nvPr/>
          </p:nvSpPr>
          <p:spPr>
            <a:xfrm>
              <a:off x="12625896" y="6101754"/>
              <a:ext cx="51650" cy="51650"/>
            </a:xfrm>
            <a:custGeom>
              <a:avLst/>
              <a:gdLst/>
              <a:ahLst/>
              <a:cxnLst/>
              <a:rect l="l" t="t" r="r" b="b"/>
              <a:pathLst>
                <a:path w="51650" h="51650" extrusionOk="0">
                  <a:moveTo>
                    <a:pt x="51597" y="27543"/>
                  </a:moveTo>
                  <a:cubicBezTo>
                    <a:pt x="52501" y="13256"/>
                    <a:pt x="41831" y="958"/>
                    <a:pt x="27544" y="54"/>
                  </a:cubicBezTo>
                  <a:cubicBezTo>
                    <a:pt x="13256" y="-851"/>
                    <a:pt x="958" y="9819"/>
                    <a:pt x="53" y="24107"/>
                  </a:cubicBezTo>
                  <a:cubicBezTo>
                    <a:pt x="-851" y="38395"/>
                    <a:pt x="9820" y="50693"/>
                    <a:pt x="24107" y="51597"/>
                  </a:cubicBezTo>
                  <a:cubicBezTo>
                    <a:pt x="38395" y="52501"/>
                    <a:pt x="50693" y="41831"/>
                    <a:pt x="51597" y="275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9" name="Google Shape;1459;p53"/>
            <p:cNvSpPr/>
            <p:nvPr/>
          </p:nvSpPr>
          <p:spPr>
            <a:xfrm>
              <a:off x="11882970" y="5710228"/>
              <a:ext cx="33697" cy="33697"/>
            </a:xfrm>
            <a:custGeom>
              <a:avLst/>
              <a:gdLst/>
              <a:ahLst/>
              <a:cxnLst/>
              <a:rect l="l" t="t" r="r" b="b"/>
              <a:pathLst>
                <a:path w="33697" h="33697" extrusionOk="0">
                  <a:moveTo>
                    <a:pt x="33668" y="17934"/>
                  </a:moveTo>
                  <a:cubicBezTo>
                    <a:pt x="34211" y="8710"/>
                    <a:pt x="27157" y="572"/>
                    <a:pt x="17934" y="29"/>
                  </a:cubicBezTo>
                  <a:cubicBezTo>
                    <a:pt x="8711" y="-513"/>
                    <a:pt x="572" y="6540"/>
                    <a:pt x="29" y="15764"/>
                  </a:cubicBezTo>
                  <a:cubicBezTo>
                    <a:pt x="-513" y="24987"/>
                    <a:pt x="6540" y="33126"/>
                    <a:pt x="15764" y="33668"/>
                  </a:cubicBezTo>
                  <a:cubicBezTo>
                    <a:pt x="24987" y="34211"/>
                    <a:pt x="32945" y="27157"/>
                    <a:pt x="33668" y="179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0" name="Google Shape;1460;p53"/>
            <p:cNvSpPr/>
            <p:nvPr/>
          </p:nvSpPr>
          <p:spPr>
            <a:xfrm>
              <a:off x="12339524" y="5743943"/>
              <a:ext cx="117640" cy="117641"/>
            </a:xfrm>
            <a:custGeom>
              <a:avLst/>
              <a:gdLst/>
              <a:ahLst/>
              <a:cxnLst/>
              <a:rect l="l" t="t" r="r" b="b"/>
              <a:pathLst>
                <a:path w="117640" h="117641" extrusionOk="0">
                  <a:moveTo>
                    <a:pt x="117508" y="62709"/>
                  </a:moveTo>
                  <a:cubicBezTo>
                    <a:pt x="119678" y="30336"/>
                    <a:pt x="95082" y="2304"/>
                    <a:pt x="62709" y="133"/>
                  </a:cubicBezTo>
                  <a:cubicBezTo>
                    <a:pt x="30336" y="-2037"/>
                    <a:pt x="2303" y="22559"/>
                    <a:pt x="133" y="54932"/>
                  </a:cubicBezTo>
                  <a:cubicBezTo>
                    <a:pt x="-2037" y="87305"/>
                    <a:pt x="22559" y="115338"/>
                    <a:pt x="54932" y="117508"/>
                  </a:cubicBezTo>
                  <a:cubicBezTo>
                    <a:pt x="87305" y="119678"/>
                    <a:pt x="115337" y="95082"/>
                    <a:pt x="117508" y="627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1" name="Google Shape;1461;p53"/>
            <p:cNvSpPr/>
            <p:nvPr/>
          </p:nvSpPr>
          <p:spPr>
            <a:xfrm>
              <a:off x="12508937" y="5655639"/>
              <a:ext cx="62575" cy="62575"/>
            </a:xfrm>
            <a:custGeom>
              <a:avLst/>
              <a:gdLst/>
              <a:ahLst/>
              <a:cxnLst/>
              <a:rect l="l" t="t" r="r" b="b"/>
              <a:pathLst>
                <a:path w="62575" h="62575" extrusionOk="0">
                  <a:moveTo>
                    <a:pt x="62575" y="31288"/>
                  </a:moveTo>
                  <a:cubicBezTo>
                    <a:pt x="62575" y="48568"/>
                    <a:pt x="48568" y="62576"/>
                    <a:pt x="31287" y="62576"/>
                  </a:cubicBezTo>
                  <a:cubicBezTo>
                    <a:pt x="14008" y="62576"/>
                    <a:pt x="-1" y="48568"/>
                    <a:pt x="-1" y="31288"/>
                  </a:cubicBezTo>
                  <a:cubicBezTo>
                    <a:pt x="-1" y="14008"/>
                    <a:pt x="14007" y="0"/>
                    <a:pt x="31287" y="0"/>
                  </a:cubicBezTo>
                  <a:cubicBezTo>
                    <a:pt x="48567" y="0"/>
                    <a:pt x="62575" y="14008"/>
                    <a:pt x="62575" y="3128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2" name="Google Shape;1462;p53"/>
            <p:cNvSpPr/>
            <p:nvPr/>
          </p:nvSpPr>
          <p:spPr>
            <a:xfrm>
              <a:off x="12474337" y="5733350"/>
              <a:ext cx="48400" cy="48400"/>
            </a:xfrm>
            <a:custGeom>
              <a:avLst/>
              <a:gdLst/>
              <a:ahLst/>
              <a:cxnLst/>
              <a:rect l="l" t="t" r="r" b="b"/>
              <a:pathLst>
                <a:path w="48400" h="48400" extrusionOk="0">
                  <a:moveTo>
                    <a:pt x="48345" y="25737"/>
                  </a:moveTo>
                  <a:cubicBezTo>
                    <a:pt x="49249" y="12354"/>
                    <a:pt x="39121" y="960"/>
                    <a:pt x="25738" y="56"/>
                  </a:cubicBezTo>
                  <a:cubicBezTo>
                    <a:pt x="12355" y="-848"/>
                    <a:pt x="961" y="9280"/>
                    <a:pt x="56" y="22663"/>
                  </a:cubicBezTo>
                  <a:cubicBezTo>
                    <a:pt x="-848" y="36046"/>
                    <a:pt x="9280" y="47440"/>
                    <a:pt x="22663" y="48344"/>
                  </a:cubicBezTo>
                  <a:cubicBezTo>
                    <a:pt x="35866" y="49249"/>
                    <a:pt x="47440" y="39121"/>
                    <a:pt x="48345" y="257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3" name="Google Shape;1463;p53"/>
            <p:cNvSpPr/>
            <p:nvPr/>
          </p:nvSpPr>
          <p:spPr>
            <a:xfrm>
              <a:off x="12368166" y="5772586"/>
              <a:ext cx="60175" cy="60175"/>
            </a:xfrm>
            <a:custGeom>
              <a:avLst/>
              <a:gdLst/>
              <a:ahLst/>
              <a:cxnLst/>
              <a:rect l="l" t="t" r="r" b="b"/>
              <a:pathLst>
                <a:path w="60175" h="60175" extrusionOk="0">
                  <a:moveTo>
                    <a:pt x="60110" y="32077"/>
                  </a:moveTo>
                  <a:cubicBezTo>
                    <a:pt x="61195" y="15438"/>
                    <a:pt x="48716" y="1151"/>
                    <a:pt x="32077" y="66"/>
                  </a:cubicBezTo>
                  <a:cubicBezTo>
                    <a:pt x="15438" y="-1019"/>
                    <a:pt x="1151" y="11460"/>
                    <a:pt x="66" y="28098"/>
                  </a:cubicBezTo>
                  <a:cubicBezTo>
                    <a:pt x="-1019" y="44737"/>
                    <a:pt x="11460" y="59024"/>
                    <a:pt x="28098" y="60110"/>
                  </a:cubicBezTo>
                  <a:cubicBezTo>
                    <a:pt x="44737" y="61195"/>
                    <a:pt x="59024" y="48716"/>
                    <a:pt x="60110" y="320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4" name="Google Shape;1464;p53"/>
            <p:cNvSpPr/>
            <p:nvPr/>
          </p:nvSpPr>
          <p:spPr>
            <a:xfrm>
              <a:off x="12635324" y="6111181"/>
              <a:ext cx="32615" cy="32637"/>
            </a:xfrm>
            <a:custGeom>
              <a:avLst/>
              <a:gdLst/>
              <a:ahLst/>
              <a:cxnLst/>
              <a:rect l="l" t="t" r="r" b="b"/>
              <a:pathLst>
                <a:path w="32615" h="32637" extrusionOk="0">
                  <a:moveTo>
                    <a:pt x="32584" y="17393"/>
                  </a:moveTo>
                  <a:cubicBezTo>
                    <a:pt x="33127" y="8350"/>
                    <a:pt x="26435" y="573"/>
                    <a:pt x="17393" y="31"/>
                  </a:cubicBezTo>
                  <a:cubicBezTo>
                    <a:pt x="8350" y="-512"/>
                    <a:pt x="573" y="6180"/>
                    <a:pt x="31" y="15222"/>
                  </a:cubicBezTo>
                  <a:cubicBezTo>
                    <a:pt x="-512" y="24265"/>
                    <a:pt x="6180" y="32042"/>
                    <a:pt x="15223" y="32585"/>
                  </a:cubicBezTo>
                  <a:cubicBezTo>
                    <a:pt x="24265" y="33308"/>
                    <a:pt x="32042" y="26435"/>
                    <a:pt x="32584" y="173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5" name="Google Shape;1465;p53"/>
            <p:cNvSpPr/>
            <p:nvPr/>
          </p:nvSpPr>
          <p:spPr>
            <a:xfrm>
              <a:off x="12438634" y="5697647"/>
              <a:ext cx="119808" cy="119807"/>
            </a:xfrm>
            <a:custGeom>
              <a:avLst/>
              <a:gdLst/>
              <a:ahLst/>
              <a:cxnLst/>
              <a:rect l="l" t="t" r="r" b="b"/>
              <a:pathLst>
                <a:path w="119808" h="119807" extrusionOk="0">
                  <a:moveTo>
                    <a:pt x="119677" y="63792"/>
                  </a:moveTo>
                  <a:cubicBezTo>
                    <a:pt x="121847" y="30696"/>
                    <a:pt x="96889" y="2302"/>
                    <a:pt x="63793" y="131"/>
                  </a:cubicBezTo>
                  <a:cubicBezTo>
                    <a:pt x="30696" y="-2039"/>
                    <a:pt x="2302" y="22919"/>
                    <a:pt x="131" y="56016"/>
                  </a:cubicBezTo>
                  <a:cubicBezTo>
                    <a:pt x="-2039" y="89112"/>
                    <a:pt x="22919" y="117506"/>
                    <a:pt x="56015" y="119676"/>
                  </a:cubicBezTo>
                  <a:cubicBezTo>
                    <a:pt x="88931" y="121847"/>
                    <a:pt x="117506" y="96889"/>
                    <a:pt x="119677" y="637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6" name="Google Shape;1466;p53"/>
            <p:cNvSpPr/>
            <p:nvPr/>
          </p:nvSpPr>
          <p:spPr>
            <a:xfrm>
              <a:off x="8220796" y="4186297"/>
              <a:ext cx="65631" cy="65631"/>
            </a:xfrm>
            <a:custGeom>
              <a:avLst/>
              <a:gdLst/>
              <a:ahLst/>
              <a:cxnLst/>
              <a:rect l="l" t="t" r="r" b="b"/>
              <a:pathLst>
                <a:path w="65631" h="65631" extrusionOk="0">
                  <a:moveTo>
                    <a:pt x="65550" y="34986"/>
                  </a:moveTo>
                  <a:cubicBezTo>
                    <a:pt x="66816" y="16900"/>
                    <a:pt x="53071" y="1347"/>
                    <a:pt x="34986" y="81"/>
                  </a:cubicBezTo>
                  <a:cubicBezTo>
                    <a:pt x="16900" y="-1185"/>
                    <a:pt x="1347" y="12560"/>
                    <a:pt x="81" y="30645"/>
                  </a:cubicBezTo>
                  <a:cubicBezTo>
                    <a:pt x="-1185" y="48731"/>
                    <a:pt x="12560" y="64284"/>
                    <a:pt x="30645" y="65550"/>
                  </a:cubicBezTo>
                  <a:cubicBezTo>
                    <a:pt x="48731" y="66816"/>
                    <a:pt x="64284" y="53071"/>
                    <a:pt x="65550" y="349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7" name="Google Shape;1467;p53"/>
            <p:cNvSpPr/>
            <p:nvPr/>
          </p:nvSpPr>
          <p:spPr>
            <a:xfrm>
              <a:off x="7599233" y="4523805"/>
              <a:ext cx="36445" cy="36445"/>
            </a:xfrm>
            <a:custGeom>
              <a:avLst/>
              <a:gdLst/>
              <a:ahLst/>
              <a:cxnLst/>
              <a:rect l="l" t="t" r="r" b="b"/>
              <a:pathLst>
                <a:path w="36445" h="36445" extrusionOk="0">
                  <a:moveTo>
                    <a:pt x="36398" y="19398"/>
                  </a:moveTo>
                  <a:cubicBezTo>
                    <a:pt x="37122" y="9270"/>
                    <a:pt x="29345" y="589"/>
                    <a:pt x="19398" y="47"/>
                  </a:cubicBezTo>
                  <a:cubicBezTo>
                    <a:pt x="9270" y="-677"/>
                    <a:pt x="589" y="7100"/>
                    <a:pt x="47" y="17047"/>
                  </a:cubicBezTo>
                  <a:cubicBezTo>
                    <a:pt x="-677" y="27175"/>
                    <a:pt x="7100" y="35856"/>
                    <a:pt x="17047" y="36398"/>
                  </a:cubicBezTo>
                  <a:cubicBezTo>
                    <a:pt x="27175" y="37122"/>
                    <a:pt x="35856" y="29526"/>
                    <a:pt x="36398" y="193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8" name="Google Shape;1468;p53"/>
            <p:cNvSpPr/>
            <p:nvPr/>
          </p:nvSpPr>
          <p:spPr>
            <a:xfrm>
              <a:off x="8239650" y="4205332"/>
              <a:ext cx="27741" cy="27902"/>
            </a:xfrm>
            <a:custGeom>
              <a:avLst/>
              <a:gdLst/>
              <a:ahLst/>
              <a:cxnLst/>
              <a:rect l="l" t="t" r="r" b="b"/>
              <a:pathLst>
                <a:path w="27741" h="27902" extrusionOk="0">
                  <a:moveTo>
                    <a:pt x="27706" y="14865"/>
                  </a:moveTo>
                  <a:cubicBezTo>
                    <a:pt x="28249" y="7269"/>
                    <a:pt x="22461" y="578"/>
                    <a:pt x="14684" y="35"/>
                  </a:cubicBezTo>
                  <a:cubicBezTo>
                    <a:pt x="6908" y="-508"/>
                    <a:pt x="397" y="5280"/>
                    <a:pt x="35" y="13057"/>
                  </a:cubicBezTo>
                  <a:cubicBezTo>
                    <a:pt x="-507" y="20653"/>
                    <a:pt x="5280" y="27344"/>
                    <a:pt x="13057" y="27887"/>
                  </a:cubicBezTo>
                  <a:cubicBezTo>
                    <a:pt x="20653" y="28249"/>
                    <a:pt x="27344" y="22461"/>
                    <a:pt x="27706" y="148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9" name="Google Shape;1469;p53"/>
            <p:cNvSpPr/>
            <p:nvPr/>
          </p:nvSpPr>
          <p:spPr>
            <a:xfrm>
              <a:off x="8217728" y="4183229"/>
              <a:ext cx="71767" cy="71768"/>
            </a:xfrm>
            <a:custGeom>
              <a:avLst/>
              <a:gdLst/>
              <a:ahLst/>
              <a:cxnLst/>
              <a:rect l="l" t="t" r="r" b="b"/>
              <a:pathLst>
                <a:path w="71767" h="71768" extrusionOk="0">
                  <a:moveTo>
                    <a:pt x="71693" y="38235"/>
                  </a:moveTo>
                  <a:cubicBezTo>
                    <a:pt x="72959" y="18522"/>
                    <a:pt x="57948" y="1521"/>
                    <a:pt x="38235" y="75"/>
                  </a:cubicBezTo>
                  <a:cubicBezTo>
                    <a:pt x="18522" y="-1192"/>
                    <a:pt x="1521" y="13819"/>
                    <a:pt x="75" y="33532"/>
                  </a:cubicBezTo>
                  <a:cubicBezTo>
                    <a:pt x="-1191" y="53246"/>
                    <a:pt x="13819" y="70246"/>
                    <a:pt x="33533" y="71693"/>
                  </a:cubicBezTo>
                  <a:cubicBezTo>
                    <a:pt x="53246" y="72959"/>
                    <a:pt x="70246" y="58129"/>
                    <a:pt x="71693" y="382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0" name="Google Shape;1470;p53"/>
            <p:cNvSpPr/>
            <p:nvPr/>
          </p:nvSpPr>
          <p:spPr>
            <a:xfrm>
              <a:off x="8341272" y="4427403"/>
              <a:ext cx="51469" cy="51450"/>
            </a:xfrm>
            <a:custGeom>
              <a:avLst/>
              <a:gdLst/>
              <a:ahLst/>
              <a:cxnLst/>
              <a:rect l="l" t="t" r="r" b="b"/>
              <a:pathLst>
                <a:path w="51469" h="51450" extrusionOk="0">
                  <a:moveTo>
                    <a:pt x="51416" y="27362"/>
                  </a:moveTo>
                  <a:cubicBezTo>
                    <a:pt x="52320" y="13256"/>
                    <a:pt x="41650" y="958"/>
                    <a:pt x="27363" y="53"/>
                  </a:cubicBezTo>
                  <a:cubicBezTo>
                    <a:pt x="13256" y="-851"/>
                    <a:pt x="958" y="9819"/>
                    <a:pt x="53" y="24107"/>
                  </a:cubicBezTo>
                  <a:cubicBezTo>
                    <a:pt x="-851" y="38214"/>
                    <a:pt x="9820" y="50512"/>
                    <a:pt x="24107" y="51416"/>
                  </a:cubicBezTo>
                  <a:cubicBezTo>
                    <a:pt x="38395" y="52139"/>
                    <a:pt x="50512" y="41469"/>
                    <a:pt x="51416" y="273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1" name="Google Shape;1471;p53"/>
            <p:cNvSpPr/>
            <p:nvPr/>
          </p:nvSpPr>
          <p:spPr>
            <a:xfrm>
              <a:off x="7598331" y="4522903"/>
              <a:ext cx="38430" cy="38430"/>
            </a:xfrm>
            <a:custGeom>
              <a:avLst/>
              <a:gdLst/>
              <a:ahLst/>
              <a:cxnLst/>
              <a:rect l="l" t="t" r="r" b="b"/>
              <a:pathLst>
                <a:path w="38430" h="38430" extrusionOk="0">
                  <a:moveTo>
                    <a:pt x="38386" y="20481"/>
                  </a:moveTo>
                  <a:cubicBezTo>
                    <a:pt x="39109" y="9811"/>
                    <a:pt x="30971" y="768"/>
                    <a:pt x="20481" y="45"/>
                  </a:cubicBezTo>
                  <a:cubicBezTo>
                    <a:pt x="9811" y="-679"/>
                    <a:pt x="768" y="7460"/>
                    <a:pt x="45" y="17949"/>
                  </a:cubicBezTo>
                  <a:cubicBezTo>
                    <a:pt x="-679" y="28620"/>
                    <a:pt x="7460" y="37663"/>
                    <a:pt x="17949" y="38386"/>
                  </a:cubicBezTo>
                  <a:cubicBezTo>
                    <a:pt x="28439" y="39109"/>
                    <a:pt x="37662" y="30971"/>
                    <a:pt x="38386" y="204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2" name="Google Shape;1472;p53"/>
            <p:cNvSpPr/>
            <p:nvPr/>
          </p:nvSpPr>
          <p:spPr>
            <a:xfrm>
              <a:off x="8216283" y="4181784"/>
              <a:ext cx="74837" cy="74857"/>
            </a:xfrm>
            <a:custGeom>
              <a:avLst/>
              <a:gdLst/>
              <a:ahLst/>
              <a:cxnLst/>
              <a:rect l="l" t="t" r="r" b="b"/>
              <a:pathLst>
                <a:path w="74837" h="74857" extrusionOk="0">
                  <a:moveTo>
                    <a:pt x="74765" y="39860"/>
                  </a:moveTo>
                  <a:cubicBezTo>
                    <a:pt x="76031" y="19243"/>
                    <a:pt x="60478" y="1338"/>
                    <a:pt x="39860" y="72"/>
                  </a:cubicBezTo>
                  <a:cubicBezTo>
                    <a:pt x="19243" y="-1194"/>
                    <a:pt x="1338" y="14359"/>
                    <a:pt x="72" y="34977"/>
                  </a:cubicBezTo>
                  <a:cubicBezTo>
                    <a:pt x="-1194" y="55594"/>
                    <a:pt x="14360" y="73499"/>
                    <a:pt x="34977" y="74765"/>
                  </a:cubicBezTo>
                  <a:cubicBezTo>
                    <a:pt x="55594" y="76212"/>
                    <a:pt x="73318" y="60477"/>
                    <a:pt x="74765" y="398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3" name="Google Shape;1473;p53"/>
            <p:cNvSpPr/>
            <p:nvPr/>
          </p:nvSpPr>
          <p:spPr>
            <a:xfrm>
              <a:off x="8602404" y="4131503"/>
              <a:ext cx="70143" cy="70143"/>
            </a:xfrm>
            <a:custGeom>
              <a:avLst/>
              <a:gdLst/>
              <a:ahLst/>
              <a:cxnLst/>
              <a:rect l="l" t="t" r="r" b="b"/>
              <a:pathLst>
                <a:path w="70143" h="70143" extrusionOk="0">
                  <a:moveTo>
                    <a:pt x="70067" y="37332"/>
                  </a:moveTo>
                  <a:cubicBezTo>
                    <a:pt x="71333" y="17981"/>
                    <a:pt x="56684" y="1342"/>
                    <a:pt x="37332" y="76"/>
                  </a:cubicBezTo>
                  <a:cubicBezTo>
                    <a:pt x="17981" y="-1190"/>
                    <a:pt x="1342" y="13459"/>
                    <a:pt x="76" y="32811"/>
                  </a:cubicBezTo>
                  <a:cubicBezTo>
                    <a:pt x="-1190" y="52162"/>
                    <a:pt x="13459" y="68801"/>
                    <a:pt x="32811" y="70067"/>
                  </a:cubicBezTo>
                  <a:cubicBezTo>
                    <a:pt x="52162" y="71333"/>
                    <a:pt x="68801" y="56684"/>
                    <a:pt x="70067" y="37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4" name="Google Shape;1474;p53"/>
            <p:cNvSpPr/>
            <p:nvPr/>
          </p:nvSpPr>
          <p:spPr>
            <a:xfrm>
              <a:off x="8236040" y="4201701"/>
              <a:ext cx="34962" cy="34982"/>
            </a:xfrm>
            <a:custGeom>
              <a:avLst/>
              <a:gdLst/>
              <a:ahLst/>
              <a:cxnLst/>
              <a:rect l="l" t="t" r="r" b="b"/>
              <a:pathLst>
                <a:path w="34962" h="34982" extrusionOk="0">
                  <a:moveTo>
                    <a:pt x="34934" y="18677"/>
                  </a:moveTo>
                  <a:cubicBezTo>
                    <a:pt x="35476" y="9091"/>
                    <a:pt x="28242" y="772"/>
                    <a:pt x="18657" y="49"/>
                  </a:cubicBezTo>
                  <a:cubicBezTo>
                    <a:pt x="9071" y="-675"/>
                    <a:pt x="752" y="6741"/>
                    <a:pt x="29" y="16326"/>
                  </a:cubicBezTo>
                  <a:cubicBezTo>
                    <a:pt x="-514" y="25911"/>
                    <a:pt x="6720" y="34230"/>
                    <a:pt x="16306" y="34954"/>
                  </a:cubicBezTo>
                  <a:cubicBezTo>
                    <a:pt x="26072" y="35496"/>
                    <a:pt x="34391" y="28262"/>
                    <a:pt x="34934" y="186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5" name="Google Shape;1475;p53"/>
            <p:cNvSpPr/>
            <p:nvPr/>
          </p:nvSpPr>
          <p:spPr>
            <a:xfrm>
              <a:off x="8604750" y="4133849"/>
              <a:ext cx="65631" cy="65631"/>
            </a:xfrm>
            <a:custGeom>
              <a:avLst/>
              <a:gdLst/>
              <a:ahLst/>
              <a:cxnLst/>
              <a:rect l="l" t="t" r="r" b="b"/>
              <a:pathLst>
                <a:path w="65631" h="65631" extrusionOk="0">
                  <a:moveTo>
                    <a:pt x="65550" y="34986"/>
                  </a:moveTo>
                  <a:cubicBezTo>
                    <a:pt x="66816" y="16900"/>
                    <a:pt x="53071" y="1166"/>
                    <a:pt x="34986" y="81"/>
                  </a:cubicBezTo>
                  <a:cubicBezTo>
                    <a:pt x="16900" y="-1185"/>
                    <a:pt x="1166" y="12560"/>
                    <a:pt x="81" y="30645"/>
                  </a:cubicBezTo>
                  <a:cubicBezTo>
                    <a:pt x="-1185" y="48731"/>
                    <a:pt x="12560" y="64465"/>
                    <a:pt x="30645" y="65550"/>
                  </a:cubicBezTo>
                  <a:cubicBezTo>
                    <a:pt x="48731" y="66816"/>
                    <a:pt x="64284" y="53071"/>
                    <a:pt x="65550" y="349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6" name="Google Shape;1476;p53"/>
            <p:cNvSpPr/>
            <p:nvPr/>
          </p:nvSpPr>
          <p:spPr>
            <a:xfrm>
              <a:off x="8354691" y="4440641"/>
              <a:ext cx="24813" cy="24812"/>
            </a:xfrm>
            <a:custGeom>
              <a:avLst/>
              <a:gdLst/>
              <a:ahLst/>
              <a:cxnLst/>
              <a:rect l="l" t="t" r="r" b="b"/>
              <a:pathLst>
                <a:path w="24813" h="24812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0"/>
                    <a:pt x="18" y="11593"/>
                  </a:cubicBezTo>
                  <a:cubicBezTo>
                    <a:pt x="-343" y="18465"/>
                    <a:pt x="4720" y="24253"/>
                    <a:pt x="11593" y="24795"/>
                  </a:cubicBezTo>
                  <a:cubicBezTo>
                    <a:pt x="18465" y="25157"/>
                    <a:pt x="24253" y="19912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7" name="Google Shape;1477;p53"/>
            <p:cNvSpPr/>
            <p:nvPr/>
          </p:nvSpPr>
          <p:spPr>
            <a:xfrm>
              <a:off x="10160339" y="2712755"/>
              <a:ext cx="20478" cy="20478"/>
            </a:xfrm>
            <a:custGeom>
              <a:avLst/>
              <a:gdLst/>
              <a:ahLst/>
              <a:cxnLst/>
              <a:rect l="l" t="t" r="r" b="b"/>
              <a:pathLst>
                <a:path w="20478" h="20478" extrusionOk="0">
                  <a:moveTo>
                    <a:pt x="20458" y="10872"/>
                  </a:moveTo>
                  <a:cubicBezTo>
                    <a:pt x="20819" y="5266"/>
                    <a:pt x="16479" y="383"/>
                    <a:pt x="10872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0" y="15213"/>
                    <a:pt x="4000" y="20096"/>
                    <a:pt x="9607" y="20458"/>
                  </a:cubicBezTo>
                  <a:cubicBezTo>
                    <a:pt x="15213" y="20819"/>
                    <a:pt x="20096" y="16479"/>
                    <a:pt x="20458" y="108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8" name="Google Shape;1478;p53"/>
            <p:cNvSpPr/>
            <p:nvPr/>
          </p:nvSpPr>
          <p:spPr>
            <a:xfrm>
              <a:off x="10215322" y="3544326"/>
              <a:ext cx="24813" cy="24813"/>
            </a:xfrm>
            <a:custGeom>
              <a:avLst/>
              <a:gdLst/>
              <a:ahLst/>
              <a:cxnLst/>
              <a:rect l="l" t="t" r="r" b="b"/>
              <a:pathLst>
                <a:path w="24813" h="24813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0"/>
                    <a:pt x="18" y="11593"/>
                  </a:cubicBezTo>
                  <a:cubicBezTo>
                    <a:pt x="-344" y="18465"/>
                    <a:pt x="4720" y="24253"/>
                    <a:pt x="11593" y="24795"/>
                  </a:cubicBezTo>
                  <a:cubicBezTo>
                    <a:pt x="18465" y="25157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9" name="Google Shape;1479;p53"/>
            <p:cNvSpPr/>
            <p:nvPr/>
          </p:nvSpPr>
          <p:spPr>
            <a:xfrm>
              <a:off x="10216225" y="3545229"/>
              <a:ext cx="23188" cy="23187"/>
            </a:xfrm>
            <a:custGeom>
              <a:avLst/>
              <a:gdLst/>
              <a:ahLst/>
              <a:cxnLst/>
              <a:rect l="l" t="t" r="r" b="b"/>
              <a:pathLst>
                <a:path w="23188" h="23187" extrusionOk="0">
                  <a:moveTo>
                    <a:pt x="23169" y="12318"/>
                  </a:moveTo>
                  <a:cubicBezTo>
                    <a:pt x="23530" y="5988"/>
                    <a:pt x="18828" y="381"/>
                    <a:pt x="12318" y="20"/>
                  </a:cubicBezTo>
                  <a:cubicBezTo>
                    <a:pt x="5988" y="-342"/>
                    <a:pt x="381" y="4360"/>
                    <a:pt x="20" y="10871"/>
                  </a:cubicBezTo>
                  <a:cubicBezTo>
                    <a:pt x="-342" y="17201"/>
                    <a:pt x="4360" y="22807"/>
                    <a:pt x="10871" y="23169"/>
                  </a:cubicBezTo>
                  <a:cubicBezTo>
                    <a:pt x="17201" y="23531"/>
                    <a:pt x="22626" y="18648"/>
                    <a:pt x="23169" y="123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0" name="Google Shape;1480;p53"/>
            <p:cNvSpPr/>
            <p:nvPr/>
          </p:nvSpPr>
          <p:spPr>
            <a:xfrm>
              <a:off x="10141484" y="2693899"/>
              <a:ext cx="58189" cy="58169"/>
            </a:xfrm>
            <a:custGeom>
              <a:avLst/>
              <a:gdLst/>
              <a:ahLst/>
              <a:cxnLst/>
              <a:rect l="l" t="t" r="r" b="b"/>
              <a:pathLst>
                <a:path w="58189" h="58169" extrusionOk="0">
                  <a:moveTo>
                    <a:pt x="58122" y="30994"/>
                  </a:moveTo>
                  <a:cubicBezTo>
                    <a:pt x="59207" y="14898"/>
                    <a:pt x="47090" y="1153"/>
                    <a:pt x="30994" y="68"/>
                  </a:cubicBezTo>
                  <a:cubicBezTo>
                    <a:pt x="14898" y="-1018"/>
                    <a:pt x="1153" y="11100"/>
                    <a:pt x="68" y="27196"/>
                  </a:cubicBezTo>
                  <a:cubicBezTo>
                    <a:pt x="-1018" y="43292"/>
                    <a:pt x="11100" y="57037"/>
                    <a:pt x="27196" y="58122"/>
                  </a:cubicBezTo>
                  <a:cubicBezTo>
                    <a:pt x="43292" y="59026"/>
                    <a:pt x="57037" y="46909"/>
                    <a:pt x="58122" y="309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1" name="Google Shape;1481;p53"/>
            <p:cNvSpPr/>
            <p:nvPr/>
          </p:nvSpPr>
          <p:spPr>
            <a:xfrm>
              <a:off x="8631588" y="4160687"/>
              <a:ext cx="11954" cy="11954"/>
            </a:xfrm>
            <a:custGeom>
              <a:avLst/>
              <a:gdLst/>
              <a:ahLst/>
              <a:cxnLst/>
              <a:rect l="l" t="t" r="r" b="b"/>
              <a:pathLst>
                <a:path w="11954" h="11954" extrusionOk="0">
                  <a:moveTo>
                    <a:pt x="11945" y="6339"/>
                  </a:moveTo>
                  <a:cubicBezTo>
                    <a:pt x="12126" y="3084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2" y="8871"/>
                    <a:pt x="2360" y="11765"/>
                    <a:pt x="5616" y="11945"/>
                  </a:cubicBezTo>
                  <a:cubicBezTo>
                    <a:pt x="8871" y="12126"/>
                    <a:pt x="11765" y="9594"/>
                    <a:pt x="11945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2" name="Google Shape;1482;p53"/>
            <p:cNvSpPr/>
            <p:nvPr/>
          </p:nvSpPr>
          <p:spPr>
            <a:xfrm>
              <a:off x="9906384" y="3877422"/>
              <a:ext cx="48581" cy="48581"/>
            </a:xfrm>
            <a:custGeom>
              <a:avLst/>
              <a:gdLst/>
              <a:ahLst/>
              <a:cxnLst/>
              <a:rect l="l" t="t" r="r" b="b"/>
              <a:pathLst>
                <a:path w="48581" h="48581" extrusionOk="0">
                  <a:moveTo>
                    <a:pt x="48525" y="25918"/>
                  </a:moveTo>
                  <a:cubicBezTo>
                    <a:pt x="49429" y="12535"/>
                    <a:pt x="39302" y="960"/>
                    <a:pt x="25918" y="56"/>
                  </a:cubicBezTo>
                  <a:cubicBezTo>
                    <a:pt x="12535" y="-848"/>
                    <a:pt x="960" y="9280"/>
                    <a:pt x="56" y="22663"/>
                  </a:cubicBezTo>
                  <a:cubicBezTo>
                    <a:pt x="-848" y="36046"/>
                    <a:pt x="9280" y="47621"/>
                    <a:pt x="22663" y="48525"/>
                  </a:cubicBezTo>
                  <a:cubicBezTo>
                    <a:pt x="36046" y="49429"/>
                    <a:pt x="47621" y="39302"/>
                    <a:pt x="48525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3" name="Google Shape;1483;p53"/>
            <p:cNvSpPr/>
            <p:nvPr/>
          </p:nvSpPr>
          <p:spPr>
            <a:xfrm>
              <a:off x="9922331" y="3893369"/>
              <a:ext cx="16688" cy="16689"/>
            </a:xfrm>
            <a:custGeom>
              <a:avLst/>
              <a:gdLst/>
              <a:ahLst/>
              <a:cxnLst/>
              <a:rect l="l" t="t" r="r" b="b"/>
              <a:pathLst>
                <a:path w="16688" h="16689" extrusionOk="0">
                  <a:moveTo>
                    <a:pt x="16664" y="8887"/>
                  </a:moveTo>
                  <a:cubicBezTo>
                    <a:pt x="17025" y="4185"/>
                    <a:pt x="13408" y="206"/>
                    <a:pt x="8887" y="25"/>
                  </a:cubicBezTo>
                  <a:cubicBezTo>
                    <a:pt x="4185" y="-337"/>
                    <a:pt x="206" y="3280"/>
                    <a:pt x="25" y="7802"/>
                  </a:cubicBezTo>
                  <a:cubicBezTo>
                    <a:pt x="-337" y="12504"/>
                    <a:pt x="3280" y="16483"/>
                    <a:pt x="7802" y="16664"/>
                  </a:cubicBezTo>
                  <a:cubicBezTo>
                    <a:pt x="12323" y="17025"/>
                    <a:pt x="16302" y="13589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4" name="Google Shape;1484;p53"/>
            <p:cNvSpPr/>
            <p:nvPr/>
          </p:nvSpPr>
          <p:spPr>
            <a:xfrm>
              <a:off x="9810864" y="4541309"/>
              <a:ext cx="81918" cy="81917"/>
            </a:xfrm>
            <a:custGeom>
              <a:avLst/>
              <a:gdLst/>
              <a:ahLst/>
              <a:cxnLst/>
              <a:rect l="l" t="t" r="r" b="b"/>
              <a:pathLst>
                <a:path w="81918" h="81917" extrusionOk="0">
                  <a:moveTo>
                    <a:pt x="81832" y="43672"/>
                  </a:moveTo>
                  <a:cubicBezTo>
                    <a:pt x="83279" y="21065"/>
                    <a:pt x="66279" y="1714"/>
                    <a:pt x="43672" y="86"/>
                  </a:cubicBezTo>
                  <a:cubicBezTo>
                    <a:pt x="21065" y="-1361"/>
                    <a:pt x="1714" y="15639"/>
                    <a:pt x="86" y="38246"/>
                  </a:cubicBezTo>
                  <a:cubicBezTo>
                    <a:pt x="-1361" y="60853"/>
                    <a:pt x="15639" y="80205"/>
                    <a:pt x="38246" y="81832"/>
                  </a:cubicBezTo>
                  <a:cubicBezTo>
                    <a:pt x="60853" y="83279"/>
                    <a:pt x="80385" y="66098"/>
                    <a:pt x="81832" y="436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5" name="Google Shape;1485;p53"/>
            <p:cNvSpPr/>
            <p:nvPr/>
          </p:nvSpPr>
          <p:spPr>
            <a:xfrm>
              <a:off x="12114807" y="3406305"/>
              <a:ext cx="36447" cy="36426"/>
            </a:xfrm>
            <a:custGeom>
              <a:avLst/>
              <a:gdLst/>
              <a:ahLst/>
              <a:cxnLst/>
              <a:rect l="l" t="t" r="r" b="b"/>
              <a:pathLst>
                <a:path w="36447" h="36426" extrusionOk="0">
                  <a:moveTo>
                    <a:pt x="36400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452" y="-676"/>
                    <a:pt x="771" y="6920"/>
                    <a:pt x="48" y="17048"/>
                  </a:cubicBezTo>
                  <a:cubicBezTo>
                    <a:pt x="-675" y="26995"/>
                    <a:pt x="6920" y="35676"/>
                    <a:pt x="17048" y="36399"/>
                  </a:cubicBezTo>
                  <a:cubicBezTo>
                    <a:pt x="26995" y="36942"/>
                    <a:pt x="35676" y="29346"/>
                    <a:pt x="36400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6" name="Google Shape;1486;p53"/>
            <p:cNvSpPr/>
            <p:nvPr/>
          </p:nvSpPr>
          <p:spPr>
            <a:xfrm>
              <a:off x="11108182" y="3966422"/>
              <a:ext cx="26296" cy="26276"/>
            </a:xfrm>
            <a:custGeom>
              <a:avLst/>
              <a:gdLst/>
              <a:ahLst/>
              <a:cxnLst/>
              <a:rect l="l" t="t" r="r" b="b"/>
              <a:pathLst>
                <a:path w="26296" h="26276" extrusionOk="0">
                  <a:moveTo>
                    <a:pt x="26260" y="13962"/>
                  </a:moveTo>
                  <a:cubicBezTo>
                    <a:pt x="26803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5" y="26260"/>
                  </a:cubicBezTo>
                  <a:cubicBezTo>
                    <a:pt x="19388" y="26622"/>
                    <a:pt x="25718" y="21015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7" name="Google Shape;1487;p53"/>
            <p:cNvSpPr/>
            <p:nvPr/>
          </p:nvSpPr>
          <p:spPr>
            <a:xfrm>
              <a:off x="12117897" y="3409395"/>
              <a:ext cx="30267" cy="30267"/>
            </a:xfrm>
            <a:custGeom>
              <a:avLst/>
              <a:gdLst/>
              <a:ahLst/>
              <a:cxnLst/>
              <a:rect l="l" t="t" r="r" b="b"/>
              <a:pathLst>
                <a:path w="30267" h="30267" extrusionOk="0">
                  <a:moveTo>
                    <a:pt x="30235" y="16128"/>
                  </a:moveTo>
                  <a:cubicBezTo>
                    <a:pt x="30778" y="7809"/>
                    <a:pt x="24448" y="575"/>
                    <a:pt x="16129" y="32"/>
                  </a:cubicBezTo>
                  <a:cubicBezTo>
                    <a:pt x="7809" y="-510"/>
                    <a:pt x="575" y="5820"/>
                    <a:pt x="32" y="14139"/>
                  </a:cubicBezTo>
                  <a:cubicBezTo>
                    <a:pt x="-510" y="22458"/>
                    <a:pt x="5820" y="29693"/>
                    <a:pt x="14139" y="30235"/>
                  </a:cubicBezTo>
                  <a:cubicBezTo>
                    <a:pt x="22458" y="30778"/>
                    <a:pt x="29693" y="24448"/>
                    <a:pt x="30235" y="161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8" name="Google Shape;1488;p53"/>
            <p:cNvSpPr/>
            <p:nvPr/>
          </p:nvSpPr>
          <p:spPr>
            <a:xfrm>
              <a:off x="12301822" y="3910538"/>
              <a:ext cx="26296" cy="26277"/>
            </a:xfrm>
            <a:custGeom>
              <a:avLst/>
              <a:gdLst/>
              <a:ahLst/>
              <a:cxnLst/>
              <a:rect l="l" t="t" r="r" b="b"/>
              <a:pathLst>
                <a:path w="26296" h="26277" extrusionOk="0">
                  <a:moveTo>
                    <a:pt x="26260" y="13962"/>
                  </a:moveTo>
                  <a:cubicBezTo>
                    <a:pt x="26802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4" y="26260"/>
                  </a:cubicBezTo>
                  <a:cubicBezTo>
                    <a:pt x="19568" y="26622"/>
                    <a:pt x="25717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9" name="Google Shape;1489;p53"/>
            <p:cNvSpPr/>
            <p:nvPr/>
          </p:nvSpPr>
          <p:spPr>
            <a:xfrm>
              <a:off x="11092778" y="3951017"/>
              <a:ext cx="56925" cy="56905"/>
            </a:xfrm>
            <a:custGeom>
              <a:avLst/>
              <a:gdLst/>
              <a:ahLst/>
              <a:cxnLst/>
              <a:rect l="l" t="t" r="r" b="b"/>
              <a:pathLst>
                <a:path w="56925" h="56905" extrusionOk="0">
                  <a:moveTo>
                    <a:pt x="56857" y="30271"/>
                  </a:moveTo>
                  <a:cubicBezTo>
                    <a:pt x="57942" y="14537"/>
                    <a:pt x="46005" y="973"/>
                    <a:pt x="30271" y="68"/>
                  </a:cubicBezTo>
                  <a:cubicBezTo>
                    <a:pt x="14537" y="-1017"/>
                    <a:pt x="973" y="10920"/>
                    <a:pt x="69" y="26654"/>
                  </a:cubicBezTo>
                  <a:cubicBezTo>
                    <a:pt x="-1017" y="42389"/>
                    <a:pt x="10920" y="55953"/>
                    <a:pt x="26654" y="56857"/>
                  </a:cubicBezTo>
                  <a:cubicBezTo>
                    <a:pt x="42388" y="57761"/>
                    <a:pt x="55953" y="46006"/>
                    <a:pt x="56857" y="302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0" name="Google Shape;1490;p53"/>
            <p:cNvSpPr/>
            <p:nvPr/>
          </p:nvSpPr>
          <p:spPr>
            <a:xfrm>
              <a:off x="12111920" y="3403418"/>
              <a:ext cx="42221" cy="42222"/>
            </a:xfrm>
            <a:custGeom>
              <a:avLst/>
              <a:gdLst/>
              <a:ahLst/>
              <a:cxnLst/>
              <a:rect l="l" t="t" r="r" b="b"/>
              <a:pathLst>
                <a:path w="42221" h="42222" extrusionOk="0">
                  <a:moveTo>
                    <a:pt x="42180" y="22467"/>
                  </a:moveTo>
                  <a:cubicBezTo>
                    <a:pt x="42904" y="10712"/>
                    <a:pt x="34042" y="765"/>
                    <a:pt x="22467" y="41"/>
                  </a:cubicBezTo>
                  <a:cubicBezTo>
                    <a:pt x="10892" y="-682"/>
                    <a:pt x="764" y="8180"/>
                    <a:pt x="41" y="19754"/>
                  </a:cubicBezTo>
                  <a:cubicBezTo>
                    <a:pt x="-682" y="31510"/>
                    <a:pt x="8179" y="41457"/>
                    <a:pt x="19754" y="42180"/>
                  </a:cubicBezTo>
                  <a:cubicBezTo>
                    <a:pt x="31329" y="42904"/>
                    <a:pt x="41457" y="34223"/>
                    <a:pt x="42180" y="2246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1" name="Google Shape;1491;p53"/>
            <p:cNvSpPr/>
            <p:nvPr/>
          </p:nvSpPr>
          <p:spPr>
            <a:xfrm>
              <a:off x="12180610" y="3131739"/>
              <a:ext cx="69962" cy="69984"/>
            </a:xfrm>
            <a:custGeom>
              <a:avLst/>
              <a:gdLst/>
              <a:ahLst/>
              <a:cxnLst/>
              <a:rect l="l" t="t" r="r" b="b"/>
              <a:pathLst>
                <a:path w="69962" h="69984" extrusionOk="0">
                  <a:moveTo>
                    <a:pt x="69886" y="37332"/>
                  </a:moveTo>
                  <a:cubicBezTo>
                    <a:pt x="71152" y="17981"/>
                    <a:pt x="56503" y="1342"/>
                    <a:pt x="37332" y="76"/>
                  </a:cubicBezTo>
                  <a:cubicBezTo>
                    <a:pt x="17981" y="-1190"/>
                    <a:pt x="1342" y="13459"/>
                    <a:pt x="76" y="32630"/>
                  </a:cubicBezTo>
                  <a:cubicBezTo>
                    <a:pt x="-1190" y="51982"/>
                    <a:pt x="13459" y="68620"/>
                    <a:pt x="32630" y="69886"/>
                  </a:cubicBezTo>
                  <a:cubicBezTo>
                    <a:pt x="51981" y="71333"/>
                    <a:pt x="68620" y="56684"/>
                    <a:pt x="69886" y="37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2" name="Google Shape;1492;p53"/>
            <p:cNvSpPr/>
            <p:nvPr/>
          </p:nvSpPr>
          <p:spPr>
            <a:xfrm>
              <a:off x="12084540" y="3376038"/>
              <a:ext cx="96981" cy="96981"/>
            </a:xfrm>
            <a:custGeom>
              <a:avLst/>
              <a:gdLst/>
              <a:ahLst/>
              <a:cxnLst/>
              <a:rect l="l" t="t" r="r" b="b"/>
              <a:pathLst>
                <a:path w="96981" h="96981" extrusionOk="0">
                  <a:moveTo>
                    <a:pt x="96870" y="51656"/>
                  </a:moveTo>
                  <a:cubicBezTo>
                    <a:pt x="98678" y="24889"/>
                    <a:pt x="78422" y="1740"/>
                    <a:pt x="51656" y="112"/>
                  </a:cubicBezTo>
                  <a:cubicBezTo>
                    <a:pt x="24889" y="-1696"/>
                    <a:pt x="1740" y="18559"/>
                    <a:pt x="112" y="45326"/>
                  </a:cubicBezTo>
                  <a:cubicBezTo>
                    <a:pt x="-1696" y="72092"/>
                    <a:pt x="18559" y="95242"/>
                    <a:pt x="45326" y="96869"/>
                  </a:cubicBezTo>
                  <a:cubicBezTo>
                    <a:pt x="72093" y="98678"/>
                    <a:pt x="95061" y="78422"/>
                    <a:pt x="96870" y="516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3" name="Google Shape;1493;p53"/>
            <p:cNvSpPr/>
            <p:nvPr/>
          </p:nvSpPr>
          <p:spPr>
            <a:xfrm>
              <a:off x="12196014" y="3147324"/>
              <a:ext cx="39154" cy="39153"/>
            </a:xfrm>
            <a:custGeom>
              <a:avLst/>
              <a:gdLst/>
              <a:ahLst/>
              <a:cxnLst/>
              <a:rect l="l" t="t" r="r" b="b"/>
              <a:pathLst>
                <a:path w="39154" h="39153" extrusionOk="0">
                  <a:moveTo>
                    <a:pt x="39109" y="20843"/>
                  </a:moveTo>
                  <a:cubicBezTo>
                    <a:pt x="39832" y="9992"/>
                    <a:pt x="31694" y="768"/>
                    <a:pt x="20843" y="45"/>
                  </a:cubicBezTo>
                  <a:cubicBezTo>
                    <a:pt x="9992" y="-679"/>
                    <a:pt x="768" y="7460"/>
                    <a:pt x="45" y="18311"/>
                  </a:cubicBezTo>
                  <a:cubicBezTo>
                    <a:pt x="-679" y="29162"/>
                    <a:pt x="7460" y="38386"/>
                    <a:pt x="18311" y="39109"/>
                  </a:cubicBezTo>
                  <a:cubicBezTo>
                    <a:pt x="28982" y="39833"/>
                    <a:pt x="38386" y="31513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4" name="Google Shape;1494;p53"/>
            <p:cNvSpPr/>
            <p:nvPr/>
          </p:nvSpPr>
          <p:spPr>
            <a:xfrm>
              <a:off x="12099945" y="3391442"/>
              <a:ext cx="65990" cy="65991"/>
            </a:xfrm>
            <a:custGeom>
              <a:avLst/>
              <a:gdLst/>
              <a:ahLst/>
              <a:cxnLst/>
              <a:rect l="l" t="t" r="r" b="b"/>
              <a:pathLst>
                <a:path w="65990" h="65991" extrusionOk="0">
                  <a:moveTo>
                    <a:pt x="65911" y="35166"/>
                  </a:moveTo>
                  <a:cubicBezTo>
                    <a:pt x="67177" y="16899"/>
                    <a:pt x="53251" y="1346"/>
                    <a:pt x="35166" y="80"/>
                  </a:cubicBezTo>
                  <a:cubicBezTo>
                    <a:pt x="16899" y="-1186"/>
                    <a:pt x="1346" y="12740"/>
                    <a:pt x="80" y="30825"/>
                  </a:cubicBezTo>
                  <a:cubicBezTo>
                    <a:pt x="-1186" y="49091"/>
                    <a:pt x="12739" y="64645"/>
                    <a:pt x="30825" y="65911"/>
                  </a:cubicBezTo>
                  <a:cubicBezTo>
                    <a:pt x="49091" y="67177"/>
                    <a:pt x="64826" y="53432"/>
                    <a:pt x="65911" y="351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5" name="Google Shape;1495;p53"/>
            <p:cNvSpPr/>
            <p:nvPr/>
          </p:nvSpPr>
          <p:spPr>
            <a:xfrm>
              <a:off x="12307257" y="3915973"/>
              <a:ext cx="15427" cy="15427"/>
            </a:xfrm>
            <a:custGeom>
              <a:avLst/>
              <a:gdLst/>
              <a:ahLst/>
              <a:cxnLst/>
              <a:rect l="l" t="t" r="r" b="b"/>
              <a:pathLst>
                <a:path w="15427" h="15427" extrusionOk="0">
                  <a:moveTo>
                    <a:pt x="15400" y="8166"/>
                  </a:moveTo>
                  <a:cubicBezTo>
                    <a:pt x="15762" y="3825"/>
                    <a:pt x="12506" y="208"/>
                    <a:pt x="8166" y="27"/>
                  </a:cubicBezTo>
                  <a:cubicBezTo>
                    <a:pt x="3825" y="-334"/>
                    <a:pt x="208" y="2921"/>
                    <a:pt x="27" y="7262"/>
                  </a:cubicBezTo>
                  <a:cubicBezTo>
                    <a:pt x="-334" y="11602"/>
                    <a:pt x="2921" y="15219"/>
                    <a:pt x="7261" y="15400"/>
                  </a:cubicBezTo>
                  <a:cubicBezTo>
                    <a:pt x="11421" y="15762"/>
                    <a:pt x="15038" y="12506"/>
                    <a:pt x="15400" y="81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6" name="Google Shape;1496;p53"/>
            <p:cNvSpPr/>
            <p:nvPr/>
          </p:nvSpPr>
          <p:spPr>
            <a:xfrm>
              <a:off x="12102854" y="3394351"/>
              <a:ext cx="60354" cy="60354"/>
            </a:xfrm>
            <a:custGeom>
              <a:avLst/>
              <a:gdLst/>
              <a:ahLst/>
              <a:cxnLst/>
              <a:rect l="l" t="t" r="r" b="b"/>
              <a:pathLst>
                <a:path w="60354" h="60354" extrusionOk="0">
                  <a:moveTo>
                    <a:pt x="60289" y="32076"/>
                  </a:moveTo>
                  <a:cubicBezTo>
                    <a:pt x="61374" y="15437"/>
                    <a:pt x="48715" y="1150"/>
                    <a:pt x="32076" y="65"/>
                  </a:cubicBezTo>
                  <a:cubicBezTo>
                    <a:pt x="15437" y="-1020"/>
                    <a:pt x="1150" y="11640"/>
                    <a:pt x="65" y="28278"/>
                  </a:cubicBezTo>
                  <a:cubicBezTo>
                    <a:pt x="-1020" y="44917"/>
                    <a:pt x="11639" y="59204"/>
                    <a:pt x="28278" y="60289"/>
                  </a:cubicBezTo>
                  <a:cubicBezTo>
                    <a:pt x="44736" y="61375"/>
                    <a:pt x="59204" y="48715"/>
                    <a:pt x="60289" y="320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7" name="Google Shape;1497;p53"/>
            <p:cNvSpPr/>
            <p:nvPr/>
          </p:nvSpPr>
          <p:spPr>
            <a:xfrm>
              <a:off x="9111530" y="4170226"/>
              <a:ext cx="49483" cy="49464"/>
            </a:xfrm>
            <a:custGeom>
              <a:avLst/>
              <a:gdLst/>
              <a:ahLst/>
              <a:cxnLst/>
              <a:rect l="l" t="t" r="r" b="b"/>
              <a:pathLst>
                <a:path w="49483" h="49464" extrusionOk="0">
                  <a:moveTo>
                    <a:pt x="49428" y="26279"/>
                  </a:moveTo>
                  <a:cubicBezTo>
                    <a:pt x="50333" y="12715"/>
                    <a:pt x="40024" y="779"/>
                    <a:pt x="26279" y="55"/>
                  </a:cubicBezTo>
                  <a:cubicBezTo>
                    <a:pt x="12715" y="-849"/>
                    <a:pt x="779" y="9459"/>
                    <a:pt x="55" y="23205"/>
                  </a:cubicBezTo>
                  <a:cubicBezTo>
                    <a:pt x="-849" y="36769"/>
                    <a:pt x="9460" y="48705"/>
                    <a:pt x="23205" y="49428"/>
                  </a:cubicBezTo>
                  <a:cubicBezTo>
                    <a:pt x="36769" y="50152"/>
                    <a:pt x="48524" y="39843"/>
                    <a:pt x="4942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8" name="Google Shape;1498;p53"/>
            <p:cNvSpPr/>
            <p:nvPr/>
          </p:nvSpPr>
          <p:spPr>
            <a:xfrm>
              <a:off x="8618891" y="4148171"/>
              <a:ext cx="37168" cy="37148"/>
            </a:xfrm>
            <a:custGeom>
              <a:avLst/>
              <a:gdLst/>
              <a:ahLst/>
              <a:cxnLst/>
              <a:rect l="l" t="t" r="r" b="b"/>
              <a:pathLst>
                <a:path w="37168" h="37148" extrusionOk="0">
                  <a:moveTo>
                    <a:pt x="37122" y="19760"/>
                  </a:moveTo>
                  <a:cubicBezTo>
                    <a:pt x="37845" y="9632"/>
                    <a:pt x="30069" y="770"/>
                    <a:pt x="19760" y="47"/>
                  </a:cubicBezTo>
                  <a:cubicBezTo>
                    <a:pt x="9632" y="-677"/>
                    <a:pt x="770" y="7100"/>
                    <a:pt x="47" y="17409"/>
                  </a:cubicBezTo>
                  <a:cubicBezTo>
                    <a:pt x="-677" y="27537"/>
                    <a:pt x="7100" y="36398"/>
                    <a:pt x="17409" y="37122"/>
                  </a:cubicBezTo>
                  <a:cubicBezTo>
                    <a:pt x="27537" y="37664"/>
                    <a:pt x="36398" y="29888"/>
                    <a:pt x="37122" y="197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9" name="Google Shape;1499;p53"/>
            <p:cNvSpPr/>
            <p:nvPr/>
          </p:nvSpPr>
          <p:spPr>
            <a:xfrm>
              <a:off x="8341814" y="4427764"/>
              <a:ext cx="50386" cy="50386"/>
            </a:xfrm>
            <a:custGeom>
              <a:avLst/>
              <a:gdLst/>
              <a:ahLst/>
              <a:cxnLst/>
              <a:rect l="l" t="t" r="r" b="b"/>
              <a:pathLst>
                <a:path w="50386" h="50386" extrusionOk="0">
                  <a:moveTo>
                    <a:pt x="50332" y="26821"/>
                  </a:moveTo>
                  <a:cubicBezTo>
                    <a:pt x="51236" y="12895"/>
                    <a:pt x="40747" y="959"/>
                    <a:pt x="26821" y="54"/>
                  </a:cubicBezTo>
                  <a:cubicBezTo>
                    <a:pt x="12895" y="-850"/>
                    <a:pt x="959" y="9640"/>
                    <a:pt x="54" y="23565"/>
                  </a:cubicBezTo>
                  <a:cubicBezTo>
                    <a:pt x="-850" y="37491"/>
                    <a:pt x="9640" y="49428"/>
                    <a:pt x="23565" y="50332"/>
                  </a:cubicBezTo>
                  <a:cubicBezTo>
                    <a:pt x="37491" y="51236"/>
                    <a:pt x="49428" y="40747"/>
                    <a:pt x="50332" y="268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0" name="Google Shape;1500;p53"/>
            <p:cNvSpPr/>
            <p:nvPr/>
          </p:nvSpPr>
          <p:spPr>
            <a:xfrm>
              <a:off x="9103567" y="4162243"/>
              <a:ext cx="65229" cy="65269"/>
            </a:xfrm>
            <a:custGeom>
              <a:avLst/>
              <a:gdLst/>
              <a:ahLst/>
              <a:cxnLst/>
              <a:rect l="l" t="t" r="r" b="b"/>
              <a:pathLst>
                <a:path w="65229" h="65269" extrusionOk="0">
                  <a:moveTo>
                    <a:pt x="65168" y="34805"/>
                  </a:moveTo>
                  <a:cubicBezTo>
                    <a:pt x="66253" y="16900"/>
                    <a:pt x="52689" y="1347"/>
                    <a:pt x="34785" y="81"/>
                  </a:cubicBezTo>
                  <a:cubicBezTo>
                    <a:pt x="16880" y="-1185"/>
                    <a:pt x="1327" y="12560"/>
                    <a:pt x="61" y="30464"/>
                  </a:cubicBezTo>
                  <a:cubicBezTo>
                    <a:pt x="-1024" y="48369"/>
                    <a:pt x="12540" y="63923"/>
                    <a:pt x="30444" y="65188"/>
                  </a:cubicBezTo>
                  <a:cubicBezTo>
                    <a:pt x="48530" y="66454"/>
                    <a:pt x="64083" y="52710"/>
                    <a:pt x="65168" y="348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1" name="Google Shape;1501;p53"/>
            <p:cNvSpPr/>
            <p:nvPr/>
          </p:nvSpPr>
          <p:spPr>
            <a:xfrm>
              <a:off x="8929071" y="4966552"/>
              <a:ext cx="31351" cy="31350"/>
            </a:xfrm>
            <a:custGeom>
              <a:avLst/>
              <a:gdLst/>
              <a:ahLst/>
              <a:cxnLst/>
              <a:rect l="l" t="t" r="r" b="b"/>
              <a:pathLst>
                <a:path w="31351" h="31350" extrusionOk="0">
                  <a:moveTo>
                    <a:pt x="31319" y="16670"/>
                  </a:moveTo>
                  <a:cubicBezTo>
                    <a:pt x="31862" y="7989"/>
                    <a:pt x="25351" y="574"/>
                    <a:pt x="16670" y="32"/>
                  </a:cubicBezTo>
                  <a:cubicBezTo>
                    <a:pt x="7989" y="-511"/>
                    <a:pt x="574" y="6000"/>
                    <a:pt x="32" y="14681"/>
                  </a:cubicBezTo>
                  <a:cubicBezTo>
                    <a:pt x="-511" y="23362"/>
                    <a:pt x="6000" y="30777"/>
                    <a:pt x="14681" y="31319"/>
                  </a:cubicBezTo>
                  <a:cubicBezTo>
                    <a:pt x="23181" y="31862"/>
                    <a:pt x="30777" y="25351"/>
                    <a:pt x="31319" y="166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2" name="Google Shape;1502;p53"/>
            <p:cNvSpPr/>
            <p:nvPr/>
          </p:nvSpPr>
          <p:spPr>
            <a:xfrm>
              <a:off x="8355775" y="4441725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6"/>
                  </a:cubicBezTo>
                  <a:cubicBezTo>
                    <a:pt x="16839" y="22807"/>
                    <a:pt x="22084" y="18286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3" name="Google Shape;1503;p53"/>
            <p:cNvSpPr/>
            <p:nvPr/>
          </p:nvSpPr>
          <p:spPr>
            <a:xfrm>
              <a:off x="9116243" y="4174759"/>
              <a:ext cx="40056" cy="40078"/>
            </a:xfrm>
            <a:custGeom>
              <a:avLst/>
              <a:gdLst/>
              <a:ahLst/>
              <a:cxnLst/>
              <a:rect l="l" t="t" r="r" b="b"/>
              <a:pathLst>
                <a:path w="40056" h="40078" extrusionOk="0">
                  <a:moveTo>
                    <a:pt x="40013" y="21385"/>
                  </a:moveTo>
                  <a:cubicBezTo>
                    <a:pt x="40736" y="10352"/>
                    <a:pt x="32417" y="767"/>
                    <a:pt x="21385" y="44"/>
                  </a:cubicBezTo>
                  <a:cubicBezTo>
                    <a:pt x="10353" y="-680"/>
                    <a:pt x="767" y="7640"/>
                    <a:pt x="44" y="18672"/>
                  </a:cubicBezTo>
                  <a:cubicBezTo>
                    <a:pt x="-680" y="29704"/>
                    <a:pt x="7640" y="39289"/>
                    <a:pt x="18672" y="40013"/>
                  </a:cubicBezTo>
                  <a:cubicBezTo>
                    <a:pt x="29704" y="40917"/>
                    <a:pt x="39289" y="32417"/>
                    <a:pt x="40013" y="21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4" name="Google Shape;1504;p53"/>
            <p:cNvSpPr/>
            <p:nvPr/>
          </p:nvSpPr>
          <p:spPr>
            <a:xfrm>
              <a:off x="8628680" y="4157779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205"/>
                    <a:pt x="9428" y="24"/>
                  </a:cubicBezTo>
                  <a:cubicBezTo>
                    <a:pt x="4545" y="-338"/>
                    <a:pt x="205" y="3460"/>
                    <a:pt x="24" y="8343"/>
                  </a:cubicBezTo>
                  <a:cubicBezTo>
                    <a:pt x="-338" y="13226"/>
                    <a:pt x="3460" y="17567"/>
                    <a:pt x="8343" y="17748"/>
                  </a:cubicBezTo>
                  <a:cubicBezTo>
                    <a:pt x="13226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5" name="Google Shape;1505;p53"/>
            <p:cNvSpPr/>
            <p:nvPr/>
          </p:nvSpPr>
          <p:spPr>
            <a:xfrm>
              <a:off x="9108260" y="4166957"/>
              <a:ext cx="55842" cy="55842"/>
            </a:xfrm>
            <a:custGeom>
              <a:avLst/>
              <a:gdLst/>
              <a:ahLst/>
              <a:cxnLst/>
              <a:rect l="l" t="t" r="r" b="b"/>
              <a:pathLst>
                <a:path w="55842" h="55842" extrusionOk="0">
                  <a:moveTo>
                    <a:pt x="55773" y="29730"/>
                  </a:moveTo>
                  <a:cubicBezTo>
                    <a:pt x="56858" y="14357"/>
                    <a:pt x="45102" y="1155"/>
                    <a:pt x="29730" y="69"/>
                  </a:cubicBezTo>
                  <a:cubicBezTo>
                    <a:pt x="14357" y="-1016"/>
                    <a:pt x="1155" y="10740"/>
                    <a:pt x="69" y="26113"/>
                  </a:cubicBezTo>
                  <a:cubicBezTo>
                    <a:pt x="-1016" y="41485"/>
                    <a:pt x="10740" y="54688"/>
                    <a:pt x="26112" y="55773"/>
                  </a:cubicBezTo>
                  <a:cubicBezTo>
                    <a:pt x="41485" y="56858"/>
                    <a:pt x="54868" y="45102"/>
                    <a:pt x="55773" y="297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6" name="Google Shape;1506;p53"/>
            <p:cNvSpPr/>
            <p:nvPr/>
          </p:nvSpPr>
          <p:spPr>
            <a:xfrm>
              <a:off x="9824081" y="4554527"/>
              <a:ext cx="55482" cy="55461"/>
            </a:xfrm>
            <a:custGeom>
              <a:avLst/>
              <a:gdLst/>
              <a:ahLst/>
              <a:cxnLst/>
              <a:rect l="l" t="t" r="r" b="b"/>
              <a:pathLst>
                <a:path w="55482" h="55461" extrusionOk="0">
                  <a:moveTo>
                    <a:pt x="55412" y="29550"/>
                  </a:moveTo>
                  <a:cubicBezTo>
                    <a:pt x="56497" y="14358"/>
                    <a:pt x="44922" y="1156"/>
                    <a:pt x="29550" y="70"/>
                  </a:cubicBezTo>
                  <a:cubicBezTo>
                    <a:pt x="14358" y="-1015"/>
                    <a:pt x="1156" y="10560"/>
                    <a:pt x="70" y="25933"/>
                  </a:cubicBezTo>
                  <a:cubicBezTo>
                    <a:pt x="-1015" y="41124"/>
                    <a:pt x="10560" y="54327"/>
                    <a:pt x="25933" y="55412"/>
                  </a:cubicBezTo>
                  <a:cubicBezTo>
                    <a:pt x="41305" y="56316"/>
                    <a:pt x="54327" y="44742"/>
                    <a:pt x="55412" y="2955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7" name="Google Shape;1507;p53"/>
            <p:cNvSpPr/>
            <p:nvPr/>
          </p:nvSpPr>
          <p:spPr>
            <a:xfrm>
              <a:off x="8892646" y="4930308"/>
              <a:ext cx="104021" cy="104020"/>
            </a:xfrm>
            <a:custGeom>
              <a:avLst/>
              <a:gdLst/>
              <a:ahLst/>
              <a:cxnLst/>
              <a:rect l="l" t="t" r="r" b="b"/>
              <a:pathLst>
                <a:path w="104021" h="104020" extrusionOk="0">
                  <a:moveTo>
                    <a:pt x="103916" y="55447"/>
                  </a:moveTo>
                  <a:cubicBezTo>
                    <a:pt x="105724" y="26691"/>
                    <a:pt x="84022" y="1914"/>
                    <a:pt x="55447" y="105"/>
                  </a:cubicBezTo>
                  <a:cubicBezTo>
                    <a:pt x="26691" y="-1703"/>
                    <a:pt x="1914" y="19999"/>
                    <a:pt x="105" y="48574"/>
                  </a:cubicBezTo>
                  <a:cubicBezTo>
                    <a:pt x="-1703" y="77330"/>
                    <a:pt x="19999" y="102107"/>
                    <a:pt x="48574" y="103916"/>
                  </a:cubicBezTo>
                  <a:cubicBezTo>
                    <a:pt x="77330" y="105724"/>
                    <a:pt x="102107" y="84022"/>
                    <a:pt x="103916" y="5544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8" name="Google Shape;1508;p53"/>
            <p:cNvSpPr/>
            <p:nvPr/>
          </p:nvSpPr>
          <p:spPr>
            <a:xfrm>
              <a:off x="9104830" y="4163346"/>
              <a:ext cx="62882" cy="62903"/>
            </a:xfrm>
            <a:custGeom>
              <a:avLst/>
              <a:gdLst/>
              <a:ahLst/>
              <a:cxnLst/>
              <a:rect l="l" t="t" r="r" b="b"/>
              <a:pathLst>
                <a:path w="62882" h="62903" extrusionOk="0">
                  <a:moveTo>
                    <a:pt x="62820" y="33521"/>
                  </a:moveTo>
                  <a:cubicBezTo>
                    <a:pt x="63905" y="16159"/>
                    <a:pt x="50883" y="1148"/>
                    <a:pt x="33521" y="63"/>
                  </a:cubicBezTo>
                  <a:cubicBezTo>
                    <a:pt x="16159" y="-1022"/>
                    <a:pt x="1148" y="12000"/>
                    <a:pt x="63" y="29361"/>
                  </a:cubicBezTo>
                  <a:cubicBezTo>
                    <a:pt x="-1022" y="46724"/>
                    <a:pt x="11999" y="61735"/>
                    <a:pt x="29362" y="62820"/>
                  </a:cubicBezTo>
                  <a:cubicBezTo>
                    <a:pt x="46724" y="64086"/>
                    <a:pt x="61734" y="50883"/>
                    <a:pt x="62820" y="335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9" name="Google Shape;1509;p53"/>
            <p:cNvSpPr/>
            <p:nvPr/>
          </p:nvSpPr>
          <p:spPr>
            <a:xfrm>
              <a:off x="9821374" y="4551820"/>
              <a:ext cx="60896" cy="60896"/>
            </a:xfrm>
            <a:custGeom>
              <a:avLst/>
              <a:gdLst/>
              <a:ahLst/>
              <a:cxnLst/>
              <a:rect l="l" t="t" r="r" b="b"/>
              <a:pathLst>
                <a:path w="60896" h="60896" extrusionOk="0">
                  <a:moveTo>
                    <a:pt x="60832" y="32438"/>
                  </a:moveTo>
                  <a:cubicBezTo>
                    <a:pt x="61917" y="15618"/>
                    <a:pt x="49257" y="1150"/>
                    <a:pt x="32438" y="65"/>
                  </a:cubicBezTo>
                  <a:cubicBezTo>
                    <a:pt x="15618" y="-1020"/>
                    <a:pt x="1150" y="11640"/>
                    <a:pt x="65" y="28459"/>
                  </a:cubicBezTo>
                  <a:cubicBezTo>
                    <a:pt x="-1020" y="45278"/>
                    <a:pt x="11640" y="59747"/>
                    <a:pt x="28459" y="60832"/>
                  </a:cubicBezTo>
                  <a:cubicBezTo>
                    <a:pt x="45278" y="61917"/>
                    <a:pt x="59747" y="49257"/>
                    <a:pt x="60832" y="32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0" name="Google Shape;1510;p53"/>
            <p:cNvSpPr/>
            <p:nvPr/>
          </p:nvSpPr>
          <p:spPr>
            <a:xfrm>
              <a:off x="12098555" y="4500137"/>
              <a:ext cx="18673" cy="18674"/>
            </a:xfrm>
            <a:custGeom>
              <a:avLst/>
              <a:gdLst/>
              <a:ahLst/>
              <a:cxnLst/>
              <a:rect l="l" t="t" r="r" b="b"/>
              <a:pathLst>
                <a:path w="18673" h="18674" extrusionOk="0">
                  <a:moveTo>
                    <a:pt x="18651" y="9970"/>
                  </a:moveTo>
                  <a:cubicBezTo>
                    <a:pt x="19013" y="4725"/>
                    <a:pt x="15034" y="385"/>
                    <a:pt x="9970" y="23"/>
                  </a:cubicBezTo>
                  <a:cubicBezTo>
                    <a:pt x="4725" y="-339"/>
                    <a:pt x="385" y="3640"/>
                    <a:pt x="23" y="8704"/>
                  </a:cubicBezTo>
                  <a:cubicBezTo>
                    <a:pt x="-339" y="13949"/>
                    <a:pt x="3640" y="18289"/>
                    <a:pt x="8704" y="18651"/>
                  </a:cubicBezTo>
                  <a:cubicBezTo>
                    <a:pt x="13949" y="19013"/>
                    <a:pt x="18289" y="15215"/>
                    <a:pt x="18651" y="99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1" name="Google Shape;1511;p53"/>
            <p:cNvSpPr/>
            <p:nvPr/>
          </p:nvSpPr>
          <p:spPr>
            <a:xfrm>
              <a:off x="12297108" y="3906005"/>
              <a:ext cx="35364" cy="35343"/>
            </a:xfrm>
            <a:custGeom>
              <a:avLst/>
              <a:gdLst/>
              <a:ahLst/>
              <a:cxnLst/>
              <a:rect l="l" t="t" r="r" b="b"/>
              <a:pathLst>
                <a:path w="35364" h="35343" extrusionOk="0">
                  <a:moveTo>
                    <a:pt x="35316" y="18858"/>
                  </a:moveTo>
                  <a:cubicBezTo>
                    <a:pt x="36039" y="9091"/>
                    <a:pt x="28624" y="772"/>
                    <a:pt x="18858" y="49"/>
                  </a:cubicBezTo>
                  <a:cubicBezTo>
                    <a:pt x="9091" y="-675"/>
                    <a:pt x="772" y="6740"/>
                    <a:pt x="49" y="16507"/>
                  </a:cubicBezTo>
                  <a:cubicBezTo>
                    <a:pt x="-675" y="26273"/>
                    <a:pt x="6740" y="34592"/>
                    <a:pt x="16507" y="35315"/>
                  </a:cubicBezTo>
                  <a:cubicBezTo>
                    <a:pt x="26453" y="35858"/>
                    <a:pt x="34773" y="28443"/>
                    <a:pt x="35316" y="1885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2" name="Google Shape;1512;p53"/>
            <p:cNvSpPr/>
            <p:nvPr/>
          </p:nvSpPr>
          <p:spPr>
            <a:xfrm>
              <a:off x="11567717" y="4256135"/>
              <a:ext cx="51648" cy="51648"/>
            </a:xfrm>
            <a:custGeom>
              <a:avLst/>
              <a:gdLst/>
              <a:ahLst/>
              <a:cxnLst/>
              <a:rect l="l" t="t" r="r" b="b"/>
              <a:pathLst>
                <a:path w="51648" h="51648" extrusionOk="0">
                  <a:moveTo>
                    <a:pt x="51596" y="27542"/>
                  </a:moveTo>
                  <a:cubicBezTo>
                    <a:pt x="52500" y="13255"/>
                    <a:pt x="41649" y="957"/>
                    <a:pt x="27543" y="53"/>
                  </a:cubicBezTo>
                  <a:cubicBezTo>
                    <a:pt x="13255" y="-852"/>
                    <a:pt x="957" y="10000"/>
                    <a:pt x="53" y="24106"/>
                  </a:cubicBezTo>
                  <a:cubicBezTo>
                    <a:pt x="-852" y="38394"/>
                    <a:pt x="10000" y="50692"/>
                    <a:pt x="24106" y="51596"/>
                  </a:cubicBezTo>
                  <a:cubicBezTo>
                    <a:pt x="38394" y="52500"/>
                    <a:pt x="50692" y="41649"/>
                    <a:pt x="51596" y="2754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3" name="Google Shape;1513;p53"/>
            <p:cNvSpPr/>
            <p:nvPr/>
          </p:nvSpPr>
          <p:spPr>
            <a:xfrm>
              <a:off x="12083511" y="4485274"/>
              <a:ext cx="48762" cy="48742"/>
            </a:xfrm>
            <a:custGeom>
              <a:avLst/>
              <a:gdLst/>
              <a:ahLst/>
              <a:cxnLst/>
              <a:rect l="l" t="t" r="r" b="b"/>
              <a:pathLst>
                <a:path w="48762" h="48742" extrusionOk="0">
                  <a:moveTo>
                    <a:pt x="48706" y="25918"/>
                  </a:moveTo>
                  <a:cubicBezTo>
                    <a:pt x="49610" y="12535"/>
                    <a:pt x="39482" y="779"/>
                    <a:pt x="25918" y="56"/>
                  </a:cubicBezTo>
                  <a:cubicBezTo>
                    <a:pt x="12535" y="-848"/>
                    <a:pt x="780" y="9280"/>
                    <a:pt x="56" y="22844"/>
                  </a:cubicBezTo>
                  <a:cubicBezTo>
                    <a:pt x="-848" y="36227"/>
                    <a:pt x="9280" y="47982"/>
                    <a:pt x="22844" y="48706"/>
                  </a:cubicBezTo>
                  <a:cubicBezTo>
                    <a:pt x="36227" y="49429"/>
                    <a:pt x="47801" y="39302"/>
                    <a:pt x="48706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4" name="Google Shape;1514;p53"/>
            <p:cNvSpPr/>
            <p:nvPr/>
          </p:nvSpPr>
          <p:spPr>
            <a:xfrm>
              <a:off x="12716186" y="4390914"/>
              <a:ext cx="11232" cy="11232"/>
            </a:xfrm>
            <a:custGeom>
              <a:avLst/>
              <a:gdLst/>
              <a:ahLst/>
              <a:cxnLst/>
              <a:rect l="l" t="t" r="r" b="b"/>
              <a:pathLst>
                <a:path w="11232" h="11232" extrusionOk="0">
                  <a:moveTo>
                    <a:pt x="11223" y="5978"/>
                  </a:moveTo>
                  <a:cubicBezTo>
                    <a:pt x="11404" y="2904"/>
                    <a:pt x="9052" y="191"/>
                    <a:pt x="5978" y="10"/>
                  </a:cubicBezTo>
                  <a:cubicBezTo>
                    <a:pt x="2903" y="-171"/>
                    <a:pt x="191" y="2180"/>
                    <a:pt x="10" y="5254"/>
                  </a:cubicBezTo>
                  <a:cubicBezTo>
                    <a:pt x="-171" y="8329"/>
                    <a:pt x="2180" y="11042"/>
                    <a:pt x="5255" y="11223"/>
                  </a:cubicBezTo>
                  <a:cubicBezTo>
                    <a:pt x="8329" y="11404"/>
                    <a:pt x="10861" y="9052"/>
                    <a:pt x="11223" y="597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5" name="Google Shape;1515;p53"/>
            <p:cNvSpPr/>
            <p:nvPr/>
          </p:nvSpPr>
          <p:spPr>
            <a:xfrm>
              <a:off x="12284252" y="3892968"/>
              <a:ext cx="61256" cy="61279"/>
            </a:xfrm>
            <a:custGeom>
              <a:avLst/>
              <a:gdLst/>
              <a:ahLst/>
              <a:cxnLst/>
              <a:rect l="l" t="t" r="r" b="b"/>
              <a:pathLst>
                <a:path w="61256" h="61279" extrusionOk="0">
                  <a:moveTo>
                    <a:pt x="61192" y="32618"/>
                  </a:moveTo>
                  <a:cubicBezTo>
                    <a:pt x="62278" y="15798"/>
                    <a:pt x="49437" y="1149"/>
                    <a:pt x="32618" y="64"/>
                  </a:cubicBezTo>
                  <a:cubicBezTo>
                    <a:pt x="15798" y="-1021"/>
                    <a:pt x="1149" y="11819"/>
                    <a:pt x="64" y="28639"/>
                  </a:cubicBezTo>
                  <a:cubicBezTo>
                    <a:pt x="-1021" y="45458"/>
                    <a:pt x="11819" y="60108"/>
                    <a:pt x="28639" y="61193"/>
                  </a:cubicBezTo>
                  <a:cubicBezTo>
                    <a:pt x="45639" y="62459"/>
                    <a:pt x="60107" y="49618"/>
                    <a:pt x="61192" y="326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6" name="Google Shape;1516;p53"/>
            <p:cNvSpPr/>
            <p:nvPr/>
          </p:nvSpPr>
          <p:spPr>
            <a:xfrm>
              <a:off x="12050155" y="4451757"/>
              <a:ext cx="115655" cy="115795"/>
            </a:xfrm>
            <a:custGeom>
              <a:avLst/>
              <a:gdLst/>
              <a:ahLst/>
              <a:cxnLst/>
              <a:rect l="l" t="t" r="r" b="b"/>
              <a:pathLst>
                <a:path w="115655" h="115795" extrusionOk="0">
                  <a:moveTo>
                    <a:pt x="115520" y="61606"/>
                  </a:moveTo>
                  <a:cubicBezTo>
                    <a:pt x="117691" y="29775"/>
                    <a:pt x="93456" y="2104"/>
                    <a:pt x="61626" y="115"/>
                  </a:cubicBezTo>
                  <a:cubicBezTo>
                    <a:pt x="29795" y="-1874"/>
                    <a:pt x="2124" y="22179"/>
                    <a:pt x="135" y="54191"/>
                  </a:cubicBezTo>
                  <a:cubicBezTo>
                    <a:pt x="-2035" y="86021"/>
                    <a:pt x="22199" y="113692"/>
                    <a:pt x="54029" y="115681"/>
                  </a:cubicBezTo>
                  <a:cubicBezTo>
                    <a:pt x="85860" y="117670"/>
                    <a:pt x="113350" y="93436"/>
                    <a:pt x="115520" y="616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7" name="Google Shape;1517;p53"/>
            <p:cNvSpPr/>
            <p:nvPr/>
          </p:nvSpPr>
          <p:spPr>
            <a:xfrm>
              <a:off x="12464246" y="5173100"/>
              <a:ext cx="23188" cy="23187"/>
            </a:xfrm>
            <a:custGeom>
              <a:avLst/>
              <a:gdLst/>
              <a:ahLst/>
              <a:cxnLst/>
              <a:rect l="l" t="t" r="r" b="b"/>
              <a:pathLst>
                <a:path w="23188" h="23187" extrusionOk="0">
                  <a:moveTo>
                    <a:pt x="23169" y="12318"/>
                  </a:moveTo>
                  <a:cubicBezTo>
                    <a:pt x="23531" y="5988"/>
                    <a:pt x="18829" y="381"/>
                    <a:pt x="12317" y="20"/>
                  </a:cubicBezTo>
                  <a:cubicBezTo>
                    <a:pt x="5988" y="-342"/>
                    <a:pt x="382" y="4360"/>
                    <a:pt x="20" y="10871"/>
                  </a:cubicBezTo>
                  <a:cubicBezTo>
                    <a:pt x="-342" y="17201"/>
                    <a:pt x="4360" y="22807"/>
                    <a:pt x="10871" y="23169"/>
                  </a:cubicBezTo>
                  <a:cubicBezTo>
                    <a:pt x="17201" y="23531"/>
                    <a:pt x="22626" y="18648"/>
                    <a:pt x="23169" y="123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8" name="Google Shape;1518;p53"/>
            <p:cNvSpPr/>
            <p:nvPr/>
          </p:nvSpPr>
          <p:spPr>
            <a:xfrm>
              <a:off x="12078256" y="4480019"/>
              <a:ext cx="59270" cy="59252"/>
            </a:xfrm>
            <a:custGeom>
              <a:avLst/>
              <a:gdLst/>
              <a:ahLst/>
              <a:cxnLst/>
              <a:rect l="l" t="t" r="r" b="b"/>
              <a:pathLst>
                <a:path w="59270" h="59252" extrusionOk="0">
                  <a:moveTo>
                    <a:pt x="59205" y="31535"/>
                  </a:moveTo>
                  <a:cubicBezTo>
                    <a:pt x="60291" y="15258"/>
                    <a:pt x="47812" y="1151"/>
                    <a:pt x="31534" y="66"/>
                  </a:cubicBezTo>
                  <a:cubicBezTo>
                    <a:pt x="15257" y="-1019"/>
                    <a:pt x="1151" y="11460"/>
                    <a:pt x="66" y="27736"/>
                  </a:cubicBezTo>
                  <a:cubicBezTo>
                    <a:pt x="-1019" y="44014"/>
                    <a:pt x="11460" y="58120"/>
                    <a:pt x="27736" y="59205"/>
                  </a:cubicBezTo>
                  <a:cubicBezTo>
                    <a:pt x="44013" y="60110"/>
                    <a:pt x="58120" y="47811"/>
                    <a:pt x="59205" y="315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9" name="Google Shape;1519;p53"/>
            <p:cNvSpPr/>
            <p:nvPr/>
          </p:nvSpPr>
          <p:spPr>
            <a:xfrm>
              <a:off x="12702587" y="4377315"/>
              <a:ext cx="38431" cy="38431"/>
            </a:xfrm>
            <a:custGeom>
              <a:avLst/>
              <a:gdLst/>
              <a:ahLst/>
              <a:cxnLst/>
              <a:rect l="l" t="t" r="r" b="b"/>
              <a:pathLst>
                <a:path w="38431" h="38431" extrusionOk="0">
                  <a:moveTo>
                    <a:pt x="38386" y="20481"/>
                  </a:moveTo>
                  <a:cubicBezTo>
                    <a:pt x="39109" y="9811"/>
                    <a:pt x="30971" y="768"/>
                    <a:pt x="20481" y="45"/>
                  </a:cubicBezTo>
                  <a:cubicBezTo>
                    <a:pt x="9811" y="-679"/>
                    <a:pt x="768" y="7460"/>
                    <a:pt x="45" y="17949"/>
                  </a:cubicBezTo>
                  <a:cubicBezTo>
                    <a:pt x="-678" y="28620"/>
                    <a:pt x="7460" y="37663"/>
                    <a:pt x="17950" y="38386"/>
                  </a:cubicBezTo>
                  <a:cubicBezTo>
                    <a:pt x="28439" y="39109"/>
                    <a:pt x="37663" y="31152"/>
                    <a:pt x="38386" y="204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0" name="Google Shape;1520;p53"/>
            <p:cNvSpPr/>
            <p:nvPr/>
          </p:nvSpPr>
          <p:spPr>
            <a:xfrm>
              <a:off x="10158534" y="2710949"/>
              <a:ext cx="24090" cy="24090"/>
            </a:xfrm>
            <a:custGeom>
              <a:avLst/>
              <a:gdLst/>
              <a:ahLst/>
              <a:cxnLst/>
              <a:rect l="l" t="t" r="r" b="b"/>
              <a:pathLst>
                <a:path w="24090" h="24090" extrusionOk="0">
                  <a:moveTo>
                    <a:pt x="24072" y="12859"/>
                  </a:moveTo>
                  <a:cubicBezTo>
                    <a:pt x="24433" y="6167"/>
                    <a:pt x="19370" y="380"/>
                    <a:pt x="12859" y="18"/>
                  </a:cubicBezTo>
                  <a:cubicBezTo>
                    <a:pt x="6167" y="-344"/>
                    <a:pt x="380" y="4720"/>
                    <a:pt x="18" y="11231"/>
                  </a:cubicBezTo>
                  <a:cubicBezTo>
                    <a:pt x="-344" y="17923"/>
                    <a:pt x="4720" y="23710"/>
                    <a:pt x="11231" y="24072"/>
                  </a:cubicBezTo>
                  <a:cubicBezTo>
                    <a:pt x="17923" y="24434"/>
                    <a:pt x="23710" y="19370"/>
                    <a:pt x="24072" y="128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1" name="Google Shape;1521;p53"/>
            <p:cNvSpPr/>
            <p:nvPr/>
          </p:nvSpPr>
          <p:spPr>
            <a:xfrm>
              <a:off x="10161783" y="2714018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385"/>
                    <a:pt x="9428" y="24"/>
                  </a:cubicBezTo>
                  <a:cubicBezTo>
                    <a:pt x="4545" y="-338"/>
                    <a:pt x="386" y="3460"/>
                    <a:pt x="24" y="8343"/>
                  </a:cubicBezTo>
                  <a:cubicBezTo>
                    <a:pt x="-338" y="13226"/>
                    <a:pt x="3460" y="17386"/>
                    <a:pt x="8343" y="17748"/>
                  </a:cubicBezTo>
                  <a:cubicBezTo>
                    <a:pt x="13045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grpSp>
          <p:nvGrpSpPr>
            <p:cNvPr id="1522" name="Google Shape;1522;p53"/>
            <p:cNvGrpSpPr/>
            <p:nvPr/>
          </p:nvGrpSpPr>
          <p:grpSpPr>
            <a:xfrm>
              <a:off x="9214555" y="1244711"/>
              <a:ext cx="2483318" cy="2784621"/>
              <a:chOff x="9214555" y="1244711"/>
              <a:chExt cx="2483318" cy="2784621"/>
            </a:xfrm>
          </p:grpSpPr>
          <p:sp>
            <p:nvSpPr>
              <p:cNvPr id="1523" name="Google Shape;1523;p53"/>
              <p:cNvSpPr/>
              <p:nvPr/>
            </p:nvSpPr>
            <p:spPr>
              <a:xfrm>
                <a:off x="11478884" y="1352121"/>
                <a:ext cx="80292" cy="80292"/>
              </a:xfrm>
              <a:custGeom>
                <a:avLst/>
                <a:gdLst/>
                <a:ahLst/>
                <a:cxnLst/>
                <a:rect l="l" t="t" r="r" b="b"/>
                <a:pathLst>
                  <a:path w="80292" h="80292" extrusionOk="0">
                    <a:moveTo>
                      <a:pt x="80205" y="42768"/>
                    </a:moveTo>
                    <a:cubicBezTo>
                      <a:pt x="81652" y="20704"/>
                      <a:pt x="64833" y="1534"/>
                      <a:pt x="42768" y="87"/>
                    </a:cubicBezTo>
                    <a:cubicBezTo>
                      <a:pt x="20704" y="-1360"/>
                      <a:pt x="1534" y="15459"/>
                      <a:pt x="87" y="37524"/>
                    </a:cubicBezTo>
                    <a:cubicBezTo>
                      <a:pt x="-1360" y="59588"/>
                      <a:pt x="15460" y="78758"/>
                      <a:pt x="37524" y="80205"/>
                    </a:cubicBezTo>
                    <a:cubicBezTo>
                      <a:pt x="59588" y="81652"/>
                      <a:pt x="78759" y="64833"/>
                      <a:pt x="80205" y="427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4" name="Google Shape;1524;p53"/>
              <p:cNvSpPr/>
              <p:nvPr/>
            </p:nvSpPr>
            <p:spPr>
              <a:xfrm>
                <a:off x="11653826" y="1256686"/>
                <a:ext cx="31892" cy="31914"/>
              </a:xfrm>
              <a:custGeom>
                <a:avLst/>
                <a:gdLst/>
                <a:ahLst/>
                <a:cxnLst/>
                <a:rect l="l" t="t" r="r" b="b"/>
                <a:pathLst>
                  <a:path w="31892" h="31914" extrusionOk="0">
                    <a:moveTo>
                      <a:pt x="31861" y="17031"/>
                    </a:moveTo>
                    <a:cubicBezTo>
                      <a:pt x="32404" y="8169"/>
                      <a:pt x="25712" y="573"/>
                      <a:pt x="17031" y="31"/>
                    </a:cubicBezTo>
                    <a:cubicBezTo>
                      <a:pt x="8169" y="-512"/>
                      <a:pt x="573" y="6180"/>
                      <a:pt x="31" y="14861"/>
                    </a:cubicBezTo>
                    <a:cubicBezTo>
                      <a:pt x="-512" y="23723"/>
                      <a:pt x="6180" y="31319"/>
                      <a:pt x="14861" y="31861"/>
                    </a:cubicBezTo>
                    <a:cubicBezTo>
                      <a:pt x="23723" y="32585"/>
                      <a:pt x="31319" y="25893"/>
                      <a:pt x="31861" y="1703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5" name="Google Shape;1525;p53"/>
              <p:cNvSpPr/>
              <p:nvPr/>
            </p:nvSpPr>
            <p:spPr>
              <a:xfrm>
                <a:off x="11496293" y="1369531"/>
                <a:ext cx="45291" cy="45291"/>
              </a:xfrm>
              <a:custGeom>
                <a:avLst/>
                <a:gdLst/>
                <a:ahLst/>
                <a:cxnLst/>
                <a:rect l="l" t="t" r="r" b="b"/>
                <a:pathLst>
                  <a:path w="45291" h="45291" extrusionOk="0">
                    <a:moveTo>
                      <a:pt x="45253" y="24093"/>
                    </a:moveTo>
                    <a:cubicBezTo>
                      <a:pt x="45976" y="11614"/>
                      <a:pt x="36572" y="943"/>
                      <a:pt x="24093" y="39"/>
                    </a:cubicBezTo>
                    <a:cubicBezTo>
                      <a:pt x="11614" y="-684"/>
                      <a:pt x="943" y="8720"/>
                      <a:pt x="39" y="21199"/>
                    </a:cubicBezTo>
                    <a:cubicBezTo>
                      <a:pt x="-684" y="33678"/>
                      <a:pt x="8720" y="44348"/>
                      <a:pt x="21199" y="45253"/>
                    </a:cubicBezTo>
                    <a:cubicBezTo>
                      <a:pt x="33678" y="45976"/>
                      <a:pt x="44348" y="36572"/>
                      <a:pt x="45253" y="2409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6" name="Google Shape;1526;p53"/>
              <p:cNvSpPr/>
              <p:nvPr/>
            </p:nvSpPr>
            <p:spPr>
              <a:xfrm>
                <a:off x="9648838" y="2511962"/>
                <a:ext cx="60175" cy="60175"/>
              </a:xfrm>
              <a:custGeom>
                <a:avLst/>
                <a:gdLst/>
                <a:ahLst/>
                <a:cxnLst/>
                <a:rect l="l" t="t" r="r" b="b"/>
                <a:pathLst>
                  <a:path w="60175" h="60175" extrusionOk="0">
                    <a:moveTo>
                      <a:pt x="60109" y="32077"/>
                    </a:moveTo>
                    <a:cubicBezTo>
                      <a:pt x="61195" y="15438"/>
                      <a:pt x="48716" y="1151"/>
                      <a:pt x="32077" y="66"/>
                    </a:cubicBezTo>
                    <a:cubicBezTo>
                      <a:pt x="15438" y="-1019"/>
                      <a:pt x="1151" y="11460"/>
                      <a:pt x="66" y="28098"/>
                    </a:cubicBezTo>
                    <a:cubicBezTo>
                      <a:pt x="-1019" y="44737"/>
                      <a:pt x="11460" y="59024"/>
                      <a:pt x="28098" y="60109"/>
                    </a:cubicBezTo>
                    <a:cubicBezTo>
                      <a:pt x="44737" y="61194"/>
                      <a:pt x="59024" y="48715"/>
                      <a:pt x="60109" y="320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7" name="Google Shape;1527;p53"/>
              <p:cNvSpPr/>
              <p:nvPr/>
            </p:nvSpPr>
            <p:spPr>
              <a:xfrm>
                <a:off x="11641670" y="1244711"/>
                <a:ext cx="56203" cy="5618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183" extrusionOk="0">
                    <a:moveTo>
                      <a:pt x="56134" y="29910"/>
                    </a:moveTo>
                    <a:cubicBezTo>
                      <a:pt x="57220" y="14357"/>
                      <a:pt x="45464" y="974"/>
                      <a:pt x="29911" y="69"/>
                    </a:cubicBezTo>
                    <a:cubicBezTo>
                      <a:pt x="14357" y="-1016"/>
                      <a:pt x="974" y="10740"/>
                      <a:pt x="69" y="26293"/>
                    </a:cubicBezTo>
                    <a:cubicBezTo>
                      <a:pt x="-1016" y="41847"/>
                      <a:pt x="10740" y="55230"/>
                      <a:pt x="26293" y="56134"/>
                    </a:cubicBezTo>
                    <a:cubicBezTo>
                      <a:pt x="41847" y="57039"/>
                      <a:pt x="55230" y="45283"/>
                      <a:pt x="56134" y="2991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8" name="Google Shape;1528;p53"/>
              <p:cNvSpPr/>
              <p:nvPr/>
            </p:nvSpPr>
            <p:spPr>
              <a:xfrm>
                <a:off x="11376146" y="3027363"/>
                <a:ext cx="89178" cy="89178"/>
              </a:xfrm>
              <a:custGeom>
                <a:avLst/>
                <a:gdLst/>
                <a:ahLst/>
                <a:cxnLst/>
                <a:rect l="l" t="t" r="r" b="b"/>
                <a:pathLst>
                  <a:path w="89178" h="89178" extrusionOk="0">
                    <a:moveTo>
                      <a:pt x="89079" y="47483"/>
                    </a:moveTo>
                    <a:cubicBezTo>
                      <a:pt x="90707" y="22887"/>
                      <a:pt x="72079" y="1727"/>
                      <a:pt x="47483" y="99"/>
                    </a:cubicBezTo>
                    <a:cubicBezTo>
                      <a:pt x="22887" y="-1529"/>
                      <a:pt x="1727" y="17099"/>
                      <a:pt x="99" y="41695"/>
                    </a:cubicBezTo>
                    <a:cubicBezTo>
                      <a:pt x="-1529" y="66292"/>
                      <a:pt x="17099" y="87452"/>
                      <a:pt x="41696" y="89079"/>
                    </a:cubicBezTo>
                    <a:cubicBezTo>
                      <a:pt x="66292" y="90707"/>
                      <a:pt x="87633" y="72079"/>
                      <a:pt x="89079" y="474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9" name="Google Shape;1529;p53"/>
              <p:cNvSpPr/>
              <p:nvPr/>
            </p:nvSpPr>
            <p:spPr>
              <a:xfrm>
                <a:off x="9641757" y="3648604"/>
                <a:ext cx="95315" cy="95336"/>
              </a:xfrm>
              <a:custGeom>
                <a:avLst/>
                <a:gdLst/>
                <a:ahLst/>
                <a:cxnLst/>
                <a:rect l="l" t="t" r="r" b="b"/>
                <a:pathLst>
                  <a:path w="95315" h="95336" extrusionOk="0">
                    <a:moveTo>
                      <a:pt x="95223" y="50732"/>
                    </a:moveTo>
                    <a:cubicBezTo>
                      <a:pt x="96850" y="24509"/>
                      <a:pt x="76956" y="1721"/>
                      <a:pt x="50732" y="93"/>
                    </a:cubicBezTo>
                    <a:cubicBezTo>
                      <a:pt x="24509" y="-1534"/>
                      <a:pt x="1721" y="18360"/>
                      <a:pt x="93" y="44583"/>
                    </a:cubicBezTo>
                    <a:cubicBezTo>
                      <a:pt x="-1535" y="70807"/>
                      <a:pt x="18359" y="93595"/>
                      <a:pt x="44583" y="95223"/>
                    </a:cubicBezTo>
                    <a:cubicBezTo>
                      <a:pt x="70807" y="97031"/>
                      <a:pt x="93595" y="77137"/>
                      <a:pt x="95223" y="507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0" name="Google Shape;1530;p53"/>
              <p:cNvSpPr/>
              <p:nvPr/>
            </p:nvSpPr>
            <p:spPr>
              <a:xfrm>
                <a:off x="9622753" y="3536641"/>
                <a:ext cx="101674" cy="101674"/>
              </a:xfrm>
              <a:custGeom>
                <a:avLst/>
                <a:gdLst/>
                <a:ahLst/>
                <a:cxnLst/>
                <a:rect l="l" t="t" r="r" b="b"/>
                <a:pathLst>
                  <a:path w="101674" h="101674" extrusionOk="0">
                    <a:moveTo>
                      <a:pt x="101567" y="54183"/>
                    </a:moveTo>
                    <a:cubicBezTo>
                      <a:pt x="103376" y="26151"/>
                      <a:pt x="82216" y="1916"/>
                      <a:pt x="54183" y="108"/>
                    </a:cubicBezTo>
                    <a:cubicBezTo>
                      <a:pt x="26151" y="-1701"/>
                      <a:pt x="1916" y="19459"/>
                      <a:pt x="108" y="47492"/>
                    </a:cubicBezTo>
                    <a:cubicBezTo>
                      <a:pt x="-1701" y="75524"/>
                      <a:pt x="19459" y="99759"/>
                      <a:pt x="47492" y="101567"/>
                    </a:cubicBezTo>
                    <a:cubicBezTo>
                      <a:pt x="75524" y="103376"/>
                      <a:pt x="99759" y="82035"/>
                      <a:pt x="101567" y="541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1" name="Google Shape;1531;p53"/>
              <p:cNvSpPr/>
              <p:nvPr/>
            </p:nvSpPr>
            <p:spPr>
              <a:xfrm>
                <a:off x="11402603" y="3053640"/>
                <a:ext cx="36445" cy="36446"/>
              </a:xfrm>
              <a:custGeom>
                <a:avLst/>
                <a:gdLst/>
                <a:ahLst/>
                <a:cxnLst/>
                <a:rect l="l" t="t" r="r" b="b"/>
                <a:pathLst>
                  <a:path w="36445" h="36446" extrusionOk="0">
                    <a:moveTo>
                      <a:pt x="36399" y="19398"/>
                    </a:moveTo>
                    <a:cubicBezTo>
                      <a:pt x="37122" y="9270"/>
                      <a:pt x="29345" y="589"/>
                      <a:pt x="19398" y="47"/>
                    </a:cubicBezTo>
                    <a:cubicBezTo>
                      <a:pt x="9270" y="-677"/>
                      <a:pt x="589" y="7100"/>
                      <a:pt x="47" y="17047"/>
                    </a:cubicBezTo>
                    <a:cubicBezTo>
                      <a:pt x="-677" y="27175"/>
                      <a:pt x="7100" y="35856"/>
                      <a:pt x="17047" y="36398"/>
                    </a:cubicBezTo>
                    <a:cubicBezTo>
                      <a:pt x="26994" y="37122"/>
                      <a:pt x="35675" y="29526"/>
                      <a:pt x="36399" y="1939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2" name="Google Shape;1532;p53"/>
              <p:cNvSpPr/>
              <p:nvPr/>
            </p:nvSpPr>
            <p:spPr>
              <a:xfrm>
                <a:off x="11431758" y="2767565"/>
                <a:ext cx="11232" cy="11233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33" extrusionOk="0">
                    <a:moveTo>
                      <a:pt x="11223" y="5978"/>
                    </a:moveTo>
                    <a:cubicBezTo>
                      <a:pt x="11404" y="2904"/>
                      <a:pt x="9052" y="191"/>
                      <a:pt x="5978" y="10"/>
                    </a:cubicBezTo>
                    <a:cubicBezTo>
                      <a:pt x="2904" y="-171"/>
                      <a:pt x="191" y="2180"/>
                      <a:pt x="10" y="5255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404"/>
                      <a:pt x="11042" y="9233"/>
                      <a:pt x="11223" y="59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3" name="Google Shape;1533;p53"/>
              <p:cNvSpPr/>
              <p:nvPr/>
            </p:nvSpPr>
            <p:spPr>
              <a:xfrm>
                <a:off x="11409683" y="3060900"/>
                <a:ext cx="22104" cy="22089"/>
              </a:xfrm>
              <a:custGeom>
                <a:avLst/>
                <a:gdLst/>
                <a:ahLst/>
                <a:cxnLst/>
                <a:rect l="l" t="t" r="r" b="b"/>
                <a:pathLst>
                  <a:path w="22104" h="22089" extrusionOk="0">
                    <a:moveTo>
                      <a:pt x="22085" y="11776"/>
                    </a:moveTo>
                    <a:cubicBezTo>
                      <a:pt x="22446" y="5808"/>
                      <a:pt x="17925" y="563"/>
                      <a:pt x="11776" y="20"/>
                    </a:cubicBezTo>
                    <a:cubicBezTo>
                      <a:pt x="5808" y="-341"/>
                      <a:pt x="563" y="4180"/>
                      <a:pt x="20" y="10329"/>
                    </a:cubicBezTo>
                    <a:cubicBezTo>
                      <a:pt x="-341" y="16297"/>
                      <a:pt x="4180" y="21542"/>
                      <a:pt x="10329" y="22085"/>
                    </a:cubicBezTo>
                    <a:cubicBezTo>
                      <a:pt x="16478" y="22265"/>
                      <a:pt x="21723" y="17744"/>
                      <a:pt x="22085" y="117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4" name="Google Shape;1534;p53"/>
              <p:cNvSpPr/>
              <p:nvPr/>
            </p:nvSpPr>
            <p:spPr>
              <a:xfrm>
                <a:off x="11413083" y="2749071"/>
                <a:ext cx="48400" cy="48381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381" extrusionOk="0">
                    <a:moveTo>
                      <a:pt x="48344" y="25737"/>
                    </a:moveTo>
                    <a:cubicBezTo>
                      <a:pt x="49249" y="12354"/>
                      <a:pt x="39121" y="960"/>
                      <a:pt x="25737" y="56"/>
                    </a:cubicBezTo>
                    <a:cubicBezTo>
                      <a:pt x="12354" y="-848"/>
                      <a:pt x="960" y="9280"/>
                      <a:pt x="56" y="22663"/>
                    </a:cubicBezTo>
                    <a:cubicBezTo>
                      <a:pt x="-848" y="36046"/>
                      <a:pt x="9280" y="47440"/>
                      <a:pt x="22482" y="48344"/>
                    </a:cubicBezTo>
                    <a:cubicBezTo>
                      <a:pt x="36046" y="49068"/>
                      <a:pt x="47621" y="39121"/>
                      <a:pt x="48344" y="2573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5" name="Google Shape;1535;p53"/>
              <p:cNvSpPr/>
              <p:nvPr/>
            </p:nvSpPr>
            <p:spPr>
              <a:xfrm>
                <a:off x="11499904" y="1373141"/>
                <a:ext cx="38251" cy="38232"/>
              </a:xfrm>
              <a:custGeom>
                <a:avLst/>
                <a:gdLst/>
                <a:ahLst/>
                <a:cxnLst/>
                <a:rect l="l" t="t" r="r" b="b"/>
                <a:pathLst>
                  <a:path w="38251" h="38232" extrusionOk="0">
                    <a:moveTo>
                      <a:pt x="38206" y="20301"/>
                    </a:moveTo>
                    <a:cubicBezTo>
                      <a:pt x="38929" y="9812"/>
                      <a:pt x="30972" y="769"/>
                      <a:pt x="20301" y="46"/>
                    </a:cubicBezTo>
                    <a:cubicBezTo>
                      <a:pt x="9812" y="-678"/>
                      <a:pt x="769" y="7280"/>
                      <a:pt x="46" y="17950"/>
                    </a:cubicBezTo>
                    <a:cubicBezTo>
                      <a:pt x="-678" y="28621"/>
                      <a:pt x="7280" y="37483"/>
                      <a:pt x="17950" y="38206"/>
                    </a:cubicBezTo>
                    <a:cubicBezTo>
                      <a:pt x="28259" y="38749"/>
                      <a:pt x="37482" y="30791"/>
                      <a:pt x="38206" y="2030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6" name="Google Shape;1536;p53"/>
              <p:cNvSpPr/>
              <p:nvPr/>
            </p:nvSpPr>
            <p:spPr>
              <a:xfrm>
                <a:off x="11360893" y="2696700"/>
                <a:ext cx="153143" cy="153142"/>
              </a:xfrm>
              <a:custGeom>
                <a:avLst/>
                <a:gdLst/>
                <a:ahLst/>
                <a:cxnLst/>
                <a:rect l="l" t="t" r="r" b="b"/>
                <a:pathLst>
                  <a:path w="153143" h="153142" extrusionOk="0">
                    <a:moveTo>
                      <a:pt x="152983" y="81545"/>
                    </a:moveTo>
                    <a:cubicBezTo>
                      <a:pt x="155695" y="39406"/>
                      <a:pt x="123684" y="2873"/>
                      <a:pt x="81545" y="160"/>
                    </a:cubicBezTo>
                    <a:cubicBezTo>
                      <a:pt x="39406" y="-2552"/>
                      <a:pt x="2873" y="29459"/>
                      <a:pt x="160" y="71598"/>
                    </a:cubicBezTo>
                    <a:cubicBezTo>
                      <a:pt x="-2552" y="113737"/>
                      <a:pt x="29459" y="150270"/>
                      <a:pt x="71598" y="152982"/>
                    </a:cubicBezTo>
                    <a:cubicBezTo>
                      <a:pt x="113737" y="155695"/>
                      <a:pt x="150270" y="123684"/>
                      <a:pt x="152983" y="8154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7" name="Google Shape;1537;p53"/>
              <p:cNvSpPr/>
              <p:nvPr/>
            </p:nvSpPr>
            <p:spPr>
              <a:xfrm>
                <a:off x="11403325" y="3054361"/>
                <a:ext cx="34982" cy="34982"/>
              </a:xfrm>
              <a:custGeom>
                <a:avLst/>
                <a:gdLst/>
                <a:ahLst/>
                <a:cxnLst/>
                <a:rect l="l" t="t" r="r" b="b"/>
                <a:pathLst>
                  <a:path w="34982" h="34982" extrusionOk="0">
                    <a:moveTo>
                      <a:pt x="34954" y="18677"/>
                    </a:moveTo>
                    <a:cubicBezTo>
                      <a:pt x="35496" y="9091"/>
                      <a:pt x="28262" y="772"/>
                      <a:pt x="18677" y="49"/>
                    </a:cubicBezTo>
                    <a:cubicBezTo>
                      <a:pt x="9092" y="-675"/>
                      <a:pt x="772" y="6740"/>
                      <a:pt x="49" y="16326"/>
                    </a:cubicBezTo>
                    <a:cubicBezTo>
                      <a:pt x="-675" y="25911"/>
                      <a:pt x="6740" y="34230"/>
                      <a:pt x="16326" y="34954"/>
                    </a:cubicBezTo>
                    <a:cubicBezTo>
                      <a:pt x="25911" y="35496"/>
                      <a:pt x="34230" y="28262"/>
                      <a:pt x="34954" y="186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8" name="Google Shape;1538;p53"/>
              <p:cNvSpPr/>
              <p:nvPr/>
            </p:nvSpPr>
            <p:spPr>
              <a:xfrm>
                <a:off x="11408550" y="2744358"/>
                <a:ext cx="57827" cy="57827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27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100" y="56675"/>
                      <a:pt x="27015" y="57760"/>
                    </a:cubicBezTo>
                    <a:cubicBezTo>
                      <a:pt x="42930" y="58845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9" name="Google Shape;1539;p53"/>
              <p:cNvSpPr/>
              <p:nvPr/>
            </p:nvSpPr>
            <p:spPr>
              <a:xfrm>
                <a:off x="9668033" y="3674880"/>
                <a:ext cx="42945" cy="42944"/>
              </a:xfrm>
              <a:custGeom>
                <a:avLst/>
                <a:gdLst/>
                <a:ahLst/>
                <a:cxnLst/>
                <a:rect l="l" t="t" r="r" b="b"/>
                <a:pathLst>
                  <a:path w="42945" h="42944" extrusionOk="0">
                    <a:moveTo>
                      <a:pt x="42904" y="22829"/>
                    </a:moveTo>
                    <a:cubicBezTo>
                      <a:pt x="43627" y="10892"/>
                      <a:pt x="34765" y="765"/>
                      <a:pt x="22829" y="41"/>
                    </a:cubicBezTo>
                    <a:cubicBezTo>
                      <a:pt x="10893" y="-682"/>
                      <a:pt x="765" y="8180"/>
                      <a:pt x="41" y="20116"/>
                    </a:cubicBezTo>
                    <a:cubicBezTo>
                      <a:pt x="-682" y="32052"/>
                      <a:pt x="8180" y="42180"/>
                      <a:pt x="20116" y="42904"/>
                    </a:cubicBezTo>
                    <a:cubicBezTo>
                      <a:pt x="31872" y="43627"/>
                      <a:pt x="42180" y="34584"/>
                      <a:pt x="42904" y="2282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0" name="Google Shape;1540;p53"/>
              <p:cNvSpPr/>
              <p:nvPr/>
            </p:nvSpPr>
            <p:spPr>
              <a:xfrm>
                <a:off x="9651706" y="3658553"/>
                <a:ext cx="75599" cy="75578"/>
              </a:xfrm>
              <a:custGeom>
                <a:avLst/>
                <a:gdLst/>
                <a:ahLst/>
                <a:cxnLst/>
                <a:rect l="l" t="t" r="r" b="b"/>
                <a:pathLst>
                  <a:path w="75599" h="75578" extrusionOk="0">
                    <a:moveTo>
                      <a:pt x="75508" y="40241"/>
                    </a:moveTo>
                    <a:cubicBezTo>
                      <a:pt x="76955" y="19443"/>
                      <a:pt x="61039" y="1357"/>
                      <a:pt x="40241" y="91"/>
                    </a:cubicBezTo>
                    <a:cubicBezTo>
                      <a:pt x="19443" y="-1356"/>
                      <a:pt x="1357" y="14560"/>
                      <a:pt x="91" y="35358"/>
                    </a:cubicBezTo>
                    <a:cubicBezTo>
                      <a:pt x="-1356" y="56156"/>
                      <a:pt x="14560" y="74242"/>
                      <a:pt x="35358" y="75508"/>
                    </a:cubicBezTo>
                    <a:cubicBezTo>
                      <a:pt x="56156" y="76774"/>
                      <a:pt x="74061" y="61039"/>
                      <a:pt x="75508" y="4024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1" name="Google Shape;1541;p53"/>
              <p:cNvSpPr/>
              <p:nvPr/>
            </p:nvSpPr>
            <p:spPr>
              <a:xfrm>
                <a:off x="10652036" y="2501109"/>
                <a:ext cx="57646" cy="57627"/>
              </a:xfrm>
              <a:custGeom>
                <a:avLst/>
                <a:gdLst/>
                <a:ahLst/>
                <a:cxnLst/>
                <a:rect l="l" t="t" r="r" b="b"/>
                <a:pathLst>
                  <a:path w="57646" h="57627" extrusionOk="0">
                    <a:moveTo>
                      <a:pt x="57579" y="30632"/>
                    </a:moveTo>
                    <a:cubicBezTo>
                      <a:pt x="58665" y="14717"/>
                      <a:pt x="46547" y="972"/>
                      <a:pt x="30632" y="68"/>
                    </a:cubicBezTo>
                    <a:cubicBezTo>
                      <a:pt x="14717" y="-1018"/>
                      <a:pt x="972" y="11100"/>
                      <a:pt x="68" y="27015"/>
                    </a:cubicBezTo>
                    <a:cubicBezTo>
                      <a:pt x="-1018" y="42930"/>
                      <a:pt x="11100" y="56675"/>
                      <a:pt x="27015" y="57579"/>
                    </a:cubicBezTo>
                    <a:cubicBezTo>
                      <a:pt x="42930" y="58483"/>
                      <a:pt x="56675" y="46547"/>
                      <a:pt x="57579" y="306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2" name="Google Shape;1542;p53"/>
              <p:cNvSpPr/>
              <p:nvPr/>
            </p:nvSpPr>
            <p:spPr>
              <a:xfrm>
                <a:off x="10636451" y="2485343"/>
                <a:ext cx="89178" cy="89178"/>
              </a:xfrm>
              <a:custGeom>
                <a:avLst/>
                <a:gdLst/>
                <a:ahLst/>
                <a:cxnLst/>
                <a:rect l="l" t="t" r="r" b="b"/>
                <a:pathLst>
                  <a:path w="89178" h="89178" extrusionOk="0">
                    <a:moveTo>
                      <a:pt x="89079" y="47483"/>
                    </a:moveTo>
                    <a:cubicBezTo>
                      <a:pt x="90707" y="22887"/>
                      <a:pt x="72079" y="1727"/>
                      <a:pt x="47483" y="99"/>
                    </a:cubicBezTo>
                    <a:cubicBezTo>
                      <a:pt x="22887" y="-1529"/>
                      <a:pt x="1727" y="17099"/>
                      <a:pt x="99" y="41696"/>
                    </a:cubicBezTo>
                    <a:cubicBezTo>
                      <a:pt x="-1529" y="66292"/>
                      <a:pt x="17099" y="87452"/>
                      <a:pt x="41696" y="89079"/>
                    </a:cubicBezTo>
                    <a:cubicBezTo>
                      <a:pt x="66111" y="90707"/>
                      <a:pt x="87452" y="72079"/>
                      <a:pt x="89079" y="474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3" name="Google Shape;1543;p53"/>
              <p:cNvSpPr/>
              <p:nvPr/>
            </p:nvSpPr>
            <p:spPr>
              <a:xfrm>
                <a:off x="11467831" y="1341069"/>
                <a:ext cx="102396" cy="102396"/>
              </a:xfrm>
              <a:custGeom>
                <a:avLst/>
                <a:gdLst/>
                <a:ahLst/>
                <a:cxnLst/>
                <a:rect l="l" t="t" r="r" b="b"/>
                <a:pathLst>
                  <a:path w="102396" h="102396" extrusionOk="0">
                    <a:moveTo>
                      <a:pt x="102290" y="54544"/>
                    </a:moveTo>
                    <a:cubicBezTo>
                      <a:pt x="104098" y="26331"/>
                      <a:pt x="82758" y="1916"/>
                      <a:pt x="54544" y="107"/>
                    </a:cubicBezTo>
                    <a:cubicBezTo>
                      <a:pt x="26331" y="-1702"/>
                      <a:pt x="1916" y="19639"/>
                      <a:pt x="107" y="47853"/>
                    </a:cubicBezTo>
                    <a:cubicBezTo>
                      <a:pt x="-1701" y="76066"/>
                      <a:pt x="19639" y="100481"/>
                      <a:pt x="47853" y="102290"/>
                    </a:cubicBezTo>
                    <a:cubicBezTo>
                      <a:pt x="76066" y="104098"/>
                      <a:pt x="100481" y="82757"/>
                      <a:pt x="102290" y="5454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4" name="Google Shape;1544;p53"/>
              <p:cNvSpPr/>
              <p:nvPr/>
            </p:nvSpPr>
            <p:spPr>
              <a:xfrm>
                <a:off x="10451430" y="1479222"/>
                <a:ext cx="103118" cy="103138"/>
              </a:xfrm>
              <a:custGeom>
                <a:avLst/>
                <a:gdLst/>
                <a:ahLst/>
                <a:cxnLst/>
                <a:rect l="l" t="t" r="r" b="b"/>
                <a:pathLst>
                  <a:path w="103118" h="103138" extrusionOk="0">
                    <a:moveTo>
                      <a:pt x="103012" y="54925"/>
                    </a:moveTo>
                    <a:cubicBezTo>
                      <a:pt x="104821" y="26531"/>
                      <a:pt x="83299" y="2116"/>
                      <a:pt x="54905" y="127"/>
                    </a:cubicBezTo>
                    <a:cubicBezTo>
                      <a:pt x="26511" y="-1863"/>
                      <a:pt x="2096" y="19840"/>
                      <a:pt x="106" y="48234"/>
                    </a:cubicBezTo>
                    <a:cubicBezTo>
                      <a:pt x="-1703" y="76628"/>
                      <a:pt x="19819" y="101043"/>
                      <a:pt x="48214" y="103033"/>
                    </a:cubicBezTo>
                    <a:cubicBezTo>
                      <a:pt x="76608" y="104841"/>
                      <a:pt x="101023" y="83320"/>
                      <a:pt x="103012" y="5492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5" name="Google Shape;1545;p53"/>
              <p:cNvSpPr/>
              <p:nvPr/>
            </p:nvSpPr>
            <p:spPr>
              <a:xfrm>
                <a:off x="10653861" y="2502753"/>
                <a:ext cx="54177" cy="54177"/>
              </a:xfrm>
              <a:custGeom>
                <a:avLst/>
                <a:gdLst/>
                <a:ahLst/>
                <a:cxnLst/>
                <a:rect l="l" t="t" r="r" b="b"/>
                <a:pathLst>
                  <a:path w="54177" h="54177" extrusionOk="0">
                    <a:moveTo>
                      <a:pt x="54127" y="28807"/>
                    </a:moveTo>
                    <a:cubicBezTo>
                      <a:pt x="55031" y="13796"/>
                      <a:pt x="43818" y="955"/>
                      <a:pt x="28807" y="51"/>
                    </a:cubicBezTo>
                    <a:cubicBezTo>
                      <a:pt x="13796" y="-853"/>
                      <a:pt x="955" y="10360"/>
                      <a:pt x="51" y="25371"/>
                    </a:cubicBezTo>
                    <a:cubicBezTo>
                      <a:pt x="-853" y="40382"/>
                      <a:pt x="10360" y="53222"/>
                      <a:pt x="25371" y="54126"/>
                    </a:cubicBezTo>
                    <a:cubicBezTo>
                      <a:pt x="40201" y="55031"/>
                      <a:pt x="53222" y="43818"/>
                      <a:pt x="54127" y="2880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6" name="Google Shape;1546;p53"/>
              <p:cNvSpPr/>
              <p:nvPr/>
            </p:nvSpPr>
            <p:spPr>
              <a:xfrm>
                <a:off x="10663088" y="2511980"/>
                <a:ext cx="35723" cy="35704"/>
              </a:xfrm>
              <a:custGeom>
                <a:avLst/>
                <a:gdLst/>
                <a:ahLst/>
                <a:cxnLst/>
                <a:rect l="l" t="t" r="r" b="b"/>
                <a:pathLst>
                  <a:path w="35723" h="35704" extrusionOk="0">
                    <a:moveTo>
                      <a:pt x="35676" y="19037"/>
                    </a:moveTo>
                    <a:cubicBezTo>
                      <a:pt x="36400" y="9271"/>
                      <a:pt x="28803" y="771"/>
                      <a:pt x="19037" y="48"/>
                    </a:cubicBezTo>
                    <a:cubicBezTo>
                      <a:pt x="9271" y="-676"/>
                      <a:pt x="771" y="6920"/>
                      <a:pt x="48" y="16686"/>
                    </a:cubicBezTo>
                    <a:cubicBezTo>
                      <a:pt x="-676" y="26452"/>
                      <a:pt x="6920" y="34953"/>
                      <a:pt x="16686" y="35676"/>
                    </a:cubicBezTo>
                    <a:cubicBezTo>
                      <a:pt x="26453" y="36219"/>
                      <a:pt x="34953" y="28803"/>
                      <a:pt x="35676" y="1903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7" name="Google Shape;1547;p53"/>
              <p:cNvSpPr/>
              <p:nvPr/>
            </p:nvSpPr>
            <p:spPr>
              <a:xfrm>
                <a:off x="11422872" y="2758679"/>
                <a:ext cx="29184" cy="29184"/>
              </a:xfrm>
              <a:custGeom>
                <a:avLst/>
                <a:gdLst/>
                <a:ahLst/>
                <a:cxnLst/>
                <a:rect l="l" t="t" r="r" b="b"/>
                <a:pathLst>
                  <a:path w="29184" h="29184" extrusionOk="0">
                    <a:moveTo>
                      <a:pt x="29151" y="15587"/>
                    </a:moveTo>
                    <a:cubicBezTo>
                      <a:pt x="29693" y="7448"/>
                      <a:pt x="23544" y="576"/>
                      <a:pt x="15587" y="33"/>
                    </a:cubicBezTo>
                    <a:cubicBezTo>
                      <a:pt x="7448" y="-509"/>
                      <a:pt x="576" y="5640"/>
                      <a:pt x="33" y="13597"/>
                    </a:cubicBezTo>
                    <a:cubicBezTo>
                      <a:pt x="-509" y="21736"/>
                      <a:pt x="5640" y="28608"/>
                      <a:pt x="13597" y="29151"/>
                    </a:cubicBezTo>
                    <a:cubicBezTo>
                      <a:pt x="21736" y="29693"/>
                      <a:pt x="28608" y="23544"/>
                      <a:pt x="29151" y="1558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8" name="Google Shape;1548;p53"/>
              <p:cNvSpPr/>
              <p:nvPr/>
            </p:nvSpPr>
            <p:spPr>
              <a:xfrm>
                <a:off x="10625580" y="2474471"/>
                <a:ext cx="110921" cy="110921"/>
              </a:xfrm>
              <a:custGeom>
                <a:avLst/>
                <a:gdLst/>
                <a:ahLst/>
                <a:cxnLst/>
                <a:rect l="l" t="t" r="r" b="b"/>
                <a:pathLst>
                  <a:path w="110921" h="110921" extrusionOk="0">
                    <a:moveTo>
                      <a:pt x="110802" y="59078"/>
                    </a:moveTo>
                    <a:cubicBezTo>
                      <a:pt x="112791" y="28513"/>
                      <a:pt x="89642" y="2109"/>
                      <a:pt x="59078" y="119"/>
                    </a:cubicBezTo>
                    <a:cubicBezTo>
                      <a:pt x="28513" y="-1870"/>
                      <a:pt x="2109" y="21279"/>
                      <a:pt x="119" y="51844"/>
                    </a:cubicBezTo>
                    <a:cubicBezTo>
                      <a:pt x="-1870" y="82408"/>
                      <a:pt x="21279" y="108813"/>
                      <a:pt x="51844" y="110802"/>
                    </a:cubicBezTo>
                    <a:cubicBezTo>
                      <a:pt x="82408" y="112791"/>
                      <a:pt x="108632" y="89642"/>
                      <a:pt x="110802" y="590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9" name="Google Shape;1549;p53"/>
              <p:cNvSpPr/>
              <p:nvPr/>
            </p:nvSpPr>
            <p:spPr>
              <a:xfrm>
                <a:off x="11380650" y="2716457"/>
                <a:ext cx="113628" cy="113629"/>
              </a:xfrm>
              <a:custGeom>
                <a:avLst/>
                <a:gdLst/>
                <a:ahLst/>
                <a:cxnLst/>
                <a:rect l="l" t="t" r="r" b="b"/>
                <a:pathLst>
                  <a:path w="113628" h="113629" extrusionOk="0">
                    <a:moveTo>
                      <a:pt x="113512" y="60522"/>
                    </a:moveTo>
                    <a:cubicBezTo>
                      <a:pt x="115502" y="29234"/>
                      <a:pt x="91810" y="2106"/>
                      <a:pt x="60522" y="117"/>
                    </a:cubicBezTo>
                    <a:cubicBezTo>
                      <a:pt x="29234" y="-1873"/>
                      <a:pt x="2106" y="21819"/>
                      <a:pt x="117" y="53107"/>
                    </a:cubicBezTo>
                    <a:cubicBezTo>
                      <a:pt x="-1873" y="84395"/>
                      <a:pt x="21819" y="111523"/>
                      <a:pt x="53107" y="113512"/>
                    </a:cubicBezTo>
                    <a:cubicBezTo>
                      <a:pt x="84395" y="115502"/>
                      <a:pt x="111523" y="91810"/>
                      <a:pt x="113512" y="6052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0" name="Google Shape;1550;p53"/>
              <p:cNvSpPr/>
              <p:nvPr/>
            </p:nvSpPr>
            <p:spPr>
              <a:xfrm>
                <a:off x="11509151" y="1382389"/>
                <a:ext cx="19757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7" h="19756" extrusionOk="0">
                    <a:moveTo>
                      <a:pt x="19735" y="10511"/>
                    </a:moveTo>
                    <a:cubicBezTo>
                      <a:pt x="20097" y="5086"/>
                      <a:pt x="15937" y="384"/>
                      <a:pt x="10511" y="22"/>
                    </a:cubicBezTo>
                    <a:cubicBezTo>
                      <a:pt x="5086" y="-340"/>
                      <a:pt x="384" y="3820"/>
                      <a:pt x="22" y="9245"/>
                    </a:cubicBezTo>
                    <a:cubicBezTo>
                      <a:pt x="-340" y="14671"/>
                      <a:pt x="3820" y="19373"/>
                      <a:pt x="9246" y="19735"/>
                    </a:cubicBezTo>
                    <a:cubicBezTo>
                      <a:pt x="14671" y="20097"/>
                      <a:pt x="19373" y="15937"/>
                      <a:pt x="19735" y="1051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1" name="Google Shape;1551;p53"/>
              <p:cNvSpPr/>
              <p:nvPr/>
            </p:nvSpPr>
            <p:spPr>
              <a:xfrm>
                <a:off x="9485858" y="2947610"/>
                <a:ext cx="92607" cy="92607"/>
              </a:xfrm>
              <a:custGeom>
                <a:avLst/>
                <a:gdLst/>
                <a:ahLst/>
                <a:cxnLst/>
                <a:rect l="l" t="t" r="r" b="b"/>
                <a:pathLst>
                  <a:path w="92607" h="92607" extrusionOk="0">
                    <a:moveTo>
                      <a:pt x="92512" y="49288"/>
                    </a:moveTo>
                    <a:cubicBezTo>
                      <a:pt x="94140" y="23788"/>
                      <a:pt x="74788" y="1723"/>
                      <a:pt x="49288" y="96"/>
                    </a:cubicBezTo>
                    <a:cubicBezTo>
                      <a:pt x="23787" y="-1532"/>
                      <a:pt x="1723" y="17819"/>
                      <a:pt x="96" y="43320"/>
                    </a:cubicBezTo>
                    <a:cubicBezTo>
                      <a:pt x="-1532" y="68820"/>
                      <a:pt x="17819" y="90885"/>
                      <a:pt x="43320" y="92512"/>
                    </a:cubicBezTo>
                    <a:cubicBezTo>
                      <a:pt x="68820" y="94140"/>
                      <a:pt x="90884" y="74789"/>
                      <a:pt x="92512" y="4928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2" name="Google Shape;1552;p53"/>
              <p:cNvSpPr/>
              <p:nvPr/>
            </p:nvSpPr>
            <p:spPr>
              <a:xfrm>
                <a:off x="9482879" y="2944631"/>
                <a:ext cx="98384" cy="98384"/>
              </a:xfrm>
              <a:custGeom>
                <a:avLst/>
                <a:gdLst/>
                <a:ahLst/>
                <a:cxnLst/>
                <a:rect l="l" t="t" r="r" b="b"/>
                <a:pathLst>
                  <a:path w="98384" h="98384" extrusionOk="0">
                    <a:moveTo>
                      <a:pt x="98385" y="49192"/>
                    </a:moveTo>
                    <a:cubicBezTo>
                      <a:pt x="98385" y="76361"/>
                      <a:pt x="76361" y="98385"/>
                      <a:pt x="49192" y="98385"/>
                    </a:cubicBezTo>
                    <a:cubicBezTo>
                      <a:pt x="22024" y="98385"/>
                      <a:pt x="0" y="76361"/>
                      <a:pt x="0" y="49192"/>
                    </a:cubicBezTo>
                    <a:cubicBezTo>
                      <a:pt x="0" y="22024"/>
                      <a:pt x="22024" y="0"/>
                      <a:pt x="49192" y="0"/>
                    </a:cubicBezTo>
                    <a:cubicBezTo>
                      <a:pt x="76361" y="0"/>
                      <a:pt x="98385" y="22024"/>
                      <a:pt x="98385" y="4919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3" name="Google Shape;1553;p53"/>
              <p:cNvSpPr/>
              <p:nvPr/>
            </p:nvSpPr>
            <p:spPr>
              <a:xfrm>
                <a:off x="9497091" y="2958662"/>
                <a:ext cx="70323" cy="70503"/>
              </a:xfrm>
              <a:custGeom>
                <a:avLst/>
                <a:gdLst/>
                <a:ahLst/>
                <a:cxnLst/>
                <a:rect l="l" t="t" r="r" b="b"/>
                <a:pathLst>
                  <a:path w="70323" h="70503" extrusionOk="0">
                    <a:moveTo>
                      <a:pt x="70248" y="37513"/>
                    </a:moveTo>
                    <a:cubicBezTo>
                      <a:pt x="71514" y="18162"/>
                      <a:pt x="56865" y="1342"/>
                      <a:pt x="37513" y="76"/>
                    </a:cubicBezTo>
                    <a:cubicBezTo>
                      <a:pt x="18162" y="-1190"/>
                      <a:pt x="1342" y="13459"/>
                      <a:pt x="76" y="32992"/>
                    </a:cubicBezTo>
                    <a:cubicBezTo>
                      <a:pt x="-1190" y="52343"/>
                      <a:pt x="13459" y="69163"/>
                      <a:pt x="32811" y="70429"/>
                    </a:cubicBezTo>
                    <a:cubicBezTo>
                      <a:pt x="52162" y="71695"/>
                      <a:pt x="68982" y="56865"/>
                      <a:pt x="70248" y="3751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4" name="Google Shape;1554;p53"/>
              <p:cNvSpPr/>
              <p:nvPr/>
            </p:nvSpPr>
            <p:spPr>
              <a:xfrm>
                <a:off x="9509406" y="2971158"/>
                <a:ext cx="45512" cy="45492"/>
              </a:xfrm>
              <a:custGeom>
                <a:avLst/>
                <a:gdLst/>
                <a:ahLst/>
                <a:cxnLst/>
                <a:rect l="l" t="t" r="r" b="b"/>
                <a:pathLst>
                  <a:path w="45512" h="45492" extrusionOk="0">
                    <a:moveTo>
                      <a:pt x="45453" y="24294"/>
                    </a:moveTo>
                    <a:cubicBezTo>
                      <a:pt x="46358" y="11815"/>
                      <a:pt x="36773" y="963"/>
                      <a:pt x="24294" y="59"/>
                    </a:cubicBezTo>
                    <a:cubicBezTo>
                      <a:pt x="11815" y="-845"/>
                      <a:pt x="963" y="8740"/>
                      <a:pt x="59" y="21219"/>
                    </a:cubicBezTo>
                    <a:cubicBezTo>
                      <a:pt x="-845" y="33698"/>
                      <a:pt x="8740" y="44549"/>
                      <a:pt x="21219" y="45454"/>
                    </a:cubicBezTo>
                    <a:cubicBezTo>
                      <a:pt x="33879" y="46177"/>
                      <a:pt x="44549" y="36773"/>
                      <a:pt x="45453" y="2429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5" name="Google Shape;1555;p53"/>
              <p:cNvSpPr/>
              <p:nvPr/>
            </p:nvSpPr>
            <p:spPr>
              <a:xfrm>
                <a:off x="9647766" y="3561654"/>
                <a:ext cx="51648" cy="51648"/>
              </a:xfrm>
              <a:custGeom>
                <a:avLst/>
                <a:gdLst/>
                <a:ahLst/>
                <a:cxnLst/>
                <a:rect l="l" t="t" r="r" b="b"/>
                <a:pathLst>
                  <a:path w="51648" h="51648" extrusionOk="0">
                    <a:moveTo>
                      <a:pt x="51596" y="27543"/>
                    </a:moveTo>
                    <a:cubicBezTo>
                      <a:pt x="52500" y="13255"/>
                      <a:pt x="41649" y="957"/>
                      <a:pt x="27543" y="53"/>
                    </a:cubicBezTo>
                    <a:cubicBezTo>
                      <a:pt x="13255" y="-851"/>
                      <a:pt x="957" y="10000"/>
                      <a:pt x="53" y="24106"/>
                    </a:cubicBezTo>
                    <a:cubicBezTo>
                      <a:pt x="-852" y="38394"/>
                      <a:pt x="10000" y="50692"/>
                      <a:pt x="24106" y="51596"/>
                    </a:cubicBezTo>
                    <a:cubicBezTo>
                      <a:pt x="38394" y="52501"/>
                      <a:pt x="50692" y="41649"/>
                      <a:pt x="51596" y="2754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6" name="Google Shape;1556;p53"/>
              <p:cNvSpPr/>
              <p:nvPr/>
            </p:nvSpPr>
            <p:spPr>
              <a:xfrm>
                <a:off x="9511412" y="2973164"/>
                <a:ext cx="41499" cy="41499"/>
              </a:xfrm>
              <a:custGeom>
                <a:avLst/>
                <a:gdLst/>
                <a:ahLst/>
                <a:cxnLst/>
                <a:rect l="l" t="t" r="r" b="b"/>
                <a:pathLst>
                  <a:path w="41499" h="41499" extrusionOk="0">
                    <a:moveTo>
                      <a:pt x="41458" y="22106"/>
                    </a:moveTo>
                    <a:cubicBezTo>
                      <a:pt x="42181" y="10712"/>
                      <a:pt x="33500" y="946"/>
                      <a:pt x="22106" y="42"/>
                    </a:cubicBezTo>
                    <a:cubicBezTo>
                      <a:pt x="10712" y="-681"/>
                      <a:pt x="946" y="8000"/>
                      <a:pt x="42" y="19394"/>
                    </a:cubicBezTo>
                    <a:cubicBezTo>
                      <a:pt x="-681" y="30787"/>
                      <a:pt x="8000" y="40553"/>
                      <a:pt x="19394" y="41458"/>
                    </a:cubicBezTo>
                    <a:cubicBezTo>
                      <a:pt x="30787" y="42181"/>
                      <a:pt x="40734" y="33500"/>
                      <a:pt x="41458" y="2210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7" name="Google Shape;1557;p53"/>
              <p:cNvSpPr/>
              <p:nvPr/>
            </p:nvSpPr>
            <p:spPr>
              <a:xfrm rot="-1491190">
                <a:off x="9644414" y="2507399"/>
                <a:ext cx="69087" cy="69087"/>
              </a:xfrm>
              <a:custGeom>
                <a:avLst/>
                <a:gdLst/>
                <a:ahLst/>
                <a:cxnLst/>
                <a:rect l="l" t="t" r="r" b="b"/>
                <a:pathLst>
                  <a:path w="69087" h="69087" extrusionOk="0">
                    <a:moveTo>
                      <a:pt x="69087" y="34544"/>
                    </a:moveTo>
                    <a:cubicBezTo>
                      <a:pt x="69087" y="53622"/>
                      <a:pt x="53622" y="69087"/>
                      <a:pt x="34544" y="69087"/>
                    </a:cubicBezTo>
                    <a:cubicBezTo>
                      <a:pt x="15466" y="69087"/>
                      <a:pt x="0" y="53622"/>
                      <a:pt x="0" y="34544"/>
                    </a:cubicBezTo>
                    <a:cubicBezTo>
                      <a:pt x="0" y="15466"/>
                      <a:pt x="15466" y="0"/>
                      <a:pt x="34544" y="0"/>
                    </a:cubicBezTo>
                    <a:cubicBezTo>
                      <a:pt x="53622" y="0"/>
                      <a:pt x="69087" y="15466"/>
                      <a:pt x="69087" y="3454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8" name="Google Shape;1558;p53"/>
              <p:cNvSpPr/>
              <p:nvPr/>
            </p:nvSpPr>
            <p:spPr>
              <a:xfrm>
                <a:off x="9505254" y="2967006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40020" y="54669"/>
                      <a:pt x="52861" y="43456"/>
                      <a:pt x="53765" y="2862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9" name="Google Shape;1559;p53"/>
              <p:cNvSpPr/>
              <p:nvPr/>
            </p:nvSpPr>
            <p:spPr>
              <a:xfrm rot="-4431566">
                <a:off x="9665996" y="2529096"/>
                <a:ext cx="26043" cy="26043"/>
              </a:xfrm>
              <a:custGeom>
                <a:avLst/>
                <a:gdLst/>
                <a:ahLst/>
                <a:cxnLst/>
                <a:rect l="l" t="t" r="r" b="b"/>
                <a:pathLst>
                  <a:path w="26043" h="26043" extrusionOk="0">
                    <a:moveTo>
                      <a:pt x="26044" y="13022"/>
                    </a:moveTo>
                    <a:cubicBezTo>
                      <a:pt x="26044" y="20213"/>
                      <a:pt x="20213" y="26043"/>
                      <a:pt x="13022" y="26043"/>
                    </a:cubicBezTo>
                    <a:cubicBezTo>
                      <a:pt x="5830" y="26043"/>
                      <a:pt x="0" y="20213"/>
                      <a:pt x="0" y="13022"/>
                    </a:cubicBezTo>
                    <a:cubicBezTo>
                      <a:pt x="0" y="5830"/>
                      <a:pt x="5830" y="0"/>
                      <a:pt x="13022" y="0"/>
                    </a:cubicBezTo>
                    <a:cubicBezTo>
                      <a:pt x="20213" y="0"/>
                      <a:pt x="26044" y="5830"/>
                      <a:pt x="26044" y="1302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0" name="Google Shape;1560;p53"/>
              <p:cNvSpPr/>
              <p:nvPr/>
            </p:nvSpPr>
            <p:spPr>
              <a:xfrm>
                <a:off x="9514480" y="2976232"/>
                <a:ext cx="35364" cy="35343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3" extrusionOk="0">
                    <a:moveTo>
                      <a:pt x="35315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0" y="34592"/>
                      <a:pt x="16506" y="35315"/>
                    </a:cubicBezTo>
                    <a:cubicBezTo>
                      <a:pt x="26273" y="35858"/>
                      <a:pt x="34592" y="28624"/>
                      <a:pt x="35315" y="1885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1" name="Google Shape;1561;p53"/>
              <p:cNvSpPr/>
              <p:nvPr/>
            </p:nvSpPr>
            <p:spPr>
              <a:xfrm>
                <a:off x="9639602" y="3553309"/>
                <a:ext cx="68338" cy="68338"/>
              </a:xfrm>
              <a:custGeom>
                <a:avLst/>
                <a:gdLst/>
                <a:ahLst/>
                <a:cxnLst/>
                <a:rect l="l" t="t" r="r" b="b"/>
                <a:pathLst>
                  <a:path w="68338" h="68338" extrusionOk="0">
                    <a:moveTo>
                      <a:pt x="68260" y="36430"/>
                    </a:moveTo>
                    <a:cubicBezTo>
                      <a:pt x="69526" y="17621"/>
                      <a:pt x="55239" y="1344"/>
                      <a:pt x="36430" y="78"/>
                    </a:cubicBezTo>
                    <a:cubicBezTo>
                      <a:pt x="17621" y="-1188"/>
                      <a:pt x="1344" y="13100"/>
                      <a:pt x="78" y="31908"/>
                    </a:cubicBezTo>
                    <a:cubicBezTo>
                      <a:pt x="-1188" y="50717"/>
                      <a:pt x="13100" y="66994"/>
                      <a:pt x="31908" y="68260"/>
                    </a:cubicBezTo>
                    <a:cubicBezTo>
                      <a:pt x="50717" y="69526"/>
                      <a:pt x="66994" y="55239"/>
                      <a:pt x="68260" y="3643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2" name="Google Shape;1562;p53"/>
              <p:cNvSpPr/>
              <p:nvPr/>
            </p:nvSpPr>
            <p:spPr>
              <a:xfrm>
                <a:off x="9501985" y="2963556"/>
                <a:ext cx="60535" cy="60557"/>
              </a:xfrm>
              <a:custGeom>
                <a:avLst/>
                <a:gdLst/>
                <a:ahLst/>
                <a:cxnLst/>
                <a:rect l="l" t="t" r="r" b="b"/>
                <a:pathLst>
                  <a:path w="60535" h="60557" extrusionOk="0">
                    <a:moveTo>
                      <a:pt x="60470" y="32257"/>
                    </a:moveTo>
                    <a:cubicBezTo>
                      <a:pt x="61555" y="15618"/>
                      <a:pt x="48896" y="1150"/>
                      <a:pt x="32257" y="65"/>
                    </a:cubicBezTo>
                    <a:cubicBezTo>
                      <a:pt x="15618" y="-1020"/>
                      <a:pt x="1150" y="11640"/>
                      <a:pt x="65" y="28278"/>
                    </a:cubicBezTo>
                    <a:cubicBezTo>
                      <a:pt x="-1020" y="44917"/>
                      <a:pt x="11640" y="59385"/>
                      <a:pt x="28278" y="60470"/>
                    </a:cubicBezTo>
                    <a:cubicBezTo>
                      <a:pt x="44917" y="61736"/>
                      <a:pt x="59385" y="49076"/>
                      <a:pt x="60470" y="322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3" name="Google Shape;1563;p53"/>
              <p:cNvSpPr/>
              <p:nvPr/>
            </p:nvSpPr>
            <p:spPr>
              <a:xfrm>
                <a:off x="9214555" y="3916606"/>
                <a:ext cx="112726" cy="112726"/>
              </a:xfrm>
              <a:custGeom>
                <a:avLst/>
                <a:gdLst/>
                <a:ahLst/>
                <a:cxnLst/>
                <a:rect l="l" t="t" r="r" b="b"/>
                <a:pathLst>
                  <a:path w="112726" h="112726" extrusionOk="0">
                    <a:moveTo>
                      <a:pt x="112609" y="59980"/>
                    </a:moveTo>
                    <a:cubicBezTo>
                      <a:pt x="114598" y="28873"/>
                      <a:pt x="91087" y="2107"/>
                      <a:pt x="59980" y="117"/>
                    </a:cubicBezTo>
                    <a:cubicBezTo>
                      <a:pt x="28873" y="-1872"/>
                      <a:pt x="2107" y="21639"/>
                      <a:pt x="117" y="52746"/>
                    </a:cubicBezTo>
                    <a:cubicBezTo>
                      <a:pt x="-1872" y="83853"/>
                      <a:pt x="21639" y="110620"/>
                      <a:pt x="52746" y="112609"/>
                    </a:cubicBezTo>
                    <a:cubicBezTo>
                      <a:pt x="83672" y="114598"/>
                      <a:pt x="110620" y="91087"/>
                      <a:pt x="112609" y="5998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4" name="Google Shape;1564;p53"/>
              <p:cNvSpPr/>
              <p:nvPr/>
            </p:nvSpPr>
            <p:spPr>
              <a:xfrm>
                <a:off x="9250980" y="3953032"/>
                <a:ext cx="39694" cy="39695"/>
              </a:xfrm>
              <a:custGeom>
                <a:avLst/>
                <a:gdLst/>
                <a:ahLst/>
                <a:cxnLst/>
                <a:rect l="l" t="t" r="r" b="b"/>
                <a:pathLst>
                  <a:path w="39694" h="39695" extrusionOk="0">
                    <a:moveTo>
                      <a:pt x="39651" y="21204"/>
                    </a:moveTo>
                    <a:cubicBezTo>
                      <a:pt x="40374" y="10172"/>
                      <a:pt x="32055" y="767"/>
                      <a:pt x="21204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523"/>
                      <a:pt x="7640" y="38928"/>
                      <a:pt x="18491" y="39651"/>
                    </a:cubicBezTo>
                    <a:cubicBezTo>
                      <a:pt x="29342" y="40375"/>
                      <a:pt x="38928" y="32236"/>
                      <a:pt x="39651" y="2120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5" name="Google Shape;1565;p53"/>
              <p:cNvSpPr/>
              <p:nvPr/>
            </p:nvSpPr>
            <p:spPr>
              <a:xfrm>
                <a:off x="9649751" y="3563639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4"/>
                      <a:pt x="38579" y="961"/>
                      <a:pt x="25377" y="57"/>
                    </a:cubicBezTo>
                    <a:cubicBezTo>
                      <a:pt x="12174" y="-847"/>
                      <a:pt x="961" y="9100"/>
                      <a:pt x="57" y="22302"/>
                    </a:cubicBezTo>
                    <a:cubicBezTo>
                      <a:pt x="-847" y="35505"/>
                      <a:pt x="9100" y="46718"/>
                      <a:pt x="22302" y="47622"/>
                    </a:cubicBezTo>
                    <a:cubicBezTo>
                      <a:pt x="35505" y="48526"/>
                      <a:pt x="46898" y="38398"/>
                      <a:pt x="47622" y="253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6" name="Google Shape;1566;p53"/>
              <p:cNvSpPr/>
              <p:nvPr/>
            </p:nvSpPr>
            <p:spPr>
              <a:xfrm>
                <a:off x="9249356" y="3951407"/>
                <a:ext cx="43124" cy="43124"/>
              </a:xfrm>
              <a:custGeom>
                <a:avLst/>
                <a:gdLst/>
                <a:ahLst/>
                <a:cxnLst/>
                <a:rect l="l" t="t" r="r" b="b"/>
                <a:pathLst>
                  <a:path w="43124" h="43124" extrusionOk="0">
                    <a:moveTo>
                      <a:pt x="43084" y="23009"/>
                    </a:moveTo>
                    <a:cubicBezTo>
                      <a:pt x="43807" y="11073"/>
                      <a:pt x="34765" y="945"/>
                      <a:pt x="23009" y="41"/>
                    </a:cubicBezTo>
                    <a:cubicBezTo>
                      <a:pt x="11073" y="-683"/>
                      <a:pt x="945" y="8360"/>
                      <a:pt x="41" y="20115"/>
                    </a:cubicBezTo>
                    <a:cubicBezTo>
                      <a:pt x="-683" y="32052"/>
                      <a:pt x="8360" y="42180"/>
                      <a:pt x="20115" y="43084"/>
                    </a:cubicBezTo>
                    <a:cubicBezTo>
                      <a:pt x="32052" y="43807"/>
                      <a:pt x="42361" y="34765"/>
                      <a:pt x="43084" y="2300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7" name="Google Shape;1567;p53"/>
              <p:cNvSpPr/>
              <p:nvPr/>
            </p:nvSpPr>
            <p:spPr>
              <a:xfrm>
                <a:off x="9661674" y="3668541"/>
                <a:ext cx="55462" cy="55441"/>
              </a:xfrm>
              <a:custGeom>
                <a:avLst/>
                <a:gdLst/>
                <a:ahLst/>
                <a:cxnLst/>
                <a:rect l="l" t="t" r="r" b="b"/>
                <a:pathLst>
                  <a:path w="55462" h="55441" extrusionOk="0">
                    <a:moveTo>
                      <a:pt x="55412" y="29530"/>
                    </a:moveTo>
                    <a:cubicBezTo>
                      <a:pt x="56316" y="14338"/>
                      <a:pt x="44922" y="1135"/>
                      <a:pt x="29550" y="50"/>
                    </a:cubicBezTo>
                    <a:cubicBezTo>
                      <a:pt x="14358" y="-854"/>
                      <a:pt x="1156" y="10540"/>
                      <a:pt x="70" y="25913"/>
                    </a:cubicBezTo>
                    <a:cubicBezTo>
                      <a:pt x="-1015" y="41285"/>
                      <a:pt x="10560" y="54307"/>
                      <a:pt x="25933" y="55392"/>
                    </a:cubicBezTo>
                    <a:cubicBezTo>
                      <a:pt x="41124" y="56296"/>
                      <a:pt x="54327" y="44721"/>
                      <a:pt x="55412" y="2953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8" name="Google Shape;1568;p53"/>
              <p:cNvSpPr/>
              <p:nvPr/>
            </p:nvSpPr>
            <p:spPr>
              <a:xfrm>
                <a:off x="9636894" y="3550781"/>
                <a:ext cx="73212" cy="73212"/>
              </a:xfrm>
              <a:custGeom>
                <a:avLst/>
                <a:gdLst/>
                <a:ahLst/>
                <a:cxnLst/>
                <a:rect l="l" t="t" r="r" b="b"/>
                <a:pathLst>
                  <a:path w="73212" h="73212" extrusionOk="0">
                    <a:moveTo>
                      <a:pt x="73139" y="38957"/>
                    </a:moveTo>
                    <a:cubicBezTo>
                      <a:pt x="74405" y="18883"/>
                      <a:pt x="59213" y="1340"/>
                      <a:pt x="38957" y="74"/>
                    </a:cubicBezTo>
                    <a:cubicBezTo>
                      <a:pt x="18883" y="-1192"/>
                      <a:pt x="1340" y="13999"/>
                      <a:pt x="74" y="34255"/>
                    </a:cubicBezTo>
                    <a:cubicBezTo>
                      <a:pt x="-1192" y="54330"/>
                      <a:pt x="14000" y="71873"/>
                      <a:pt x="34255" y="73139"/>
                    </a:cubicBezTo>
                    <a:cubicBezTo>
                      <a:pt x="54511" y="74405"/>
                      <a:pt x="71873" y="59213"/>
                      <a:pt x="73139" y="389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9" name="Google Shape;1569;p53"/>
              <p:cNvSpPr/>
              <p:nvPr/>
            </p:nvSpPr>
            <p:spPr>
              <a:xfrm>
                <a:off x="9259866" y="3962098"/>
                <a:ext cx="21923" cy="21923"/>
              </a:xfrm>
              <a:custGeom>
                <a:avLst/>
                <a:gdLst/>
                <a:ahLst/>
                <a:cxnLst/>
                <a:rect l="l" t="t" r="r" b="b"/>
                <a:pathLst>
                  <a:path w="21923" h="21923" extrusionOk="0">
                    <a:moveTo>
                      <a:pt x="21904" y="11595"/>
                    </a:moveTo>
                    <a:cubicBezTo>
                      <a:pt x="22265" y="5627"/>
                      <a:pt x="17744" y="382"/>
                      <a:pt x="11595" y="20"/>
                    </a:cubicBezTo>
                    <a:cubicBezTo>
                      <a:pt x="5446" y="-341"/>
                      <a:pt x="382" y="4180"/>
                      <a:pt x="20" y="10329"/>
                    </a:cubicBezTo>
                    <a:cubicBezTo>
                      <a:pt x="-341" y="16297"/>
                      <a:pt x="4180" y="21542"/>
                      <a:pt x="10329" y="21904"/>
                    </a:cubicBezTo>
                    <a:cubicBezTo>
                      <a:pt x="16297" y="22266"/>
                      <a:pt x="21542" y="17563"/>
                      <a:pt x="21904" y="1159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0" name="Google Shape;1570;p53"/>
              <p:cNvSpPr/>
              <p:nvPr/>
            </p:nvSpPr>
            <p:spPr>
              <a:xfrm>
                <a:off x="9672205" y="3678872"/>
                <a:ext cx="34600" cy="34621"/>
              </a:xfrm>
              <a:custGeom>
                <a:avLst/>
                <a:gdLst/>
                <a:ahLst/>
                <a:cxnLst/>
                <a:rect l="l" t="t" r="r" b="b"/>
                <a:pathLst>
                  <a:path w="34600" h="34621" extrusionOk="0">
                    <a:moveTo>
                      <a:pt x="34572" y="18476"/>
                    </a:moveTo>
                    <a:cubicBezTo>
                      <a:pt x="35114" y="8890"/>
                      <a:pt x="27880" y="752"/>
                      <a:pt x="18476" y="29"/>
                    </a:cubicBezTo>
                    <a:cubicBezTo>
                      <a:pt x="8890" y="-514"/>
                      <a:pt x="752" y="6720"/>
                      <a:pt x="29" y="16125"/>
                    </a:cubicBezTo>
                    <a:cubicBezTo>
                      <a:pt x="-514" y="25710"/>
                      <a:pt x="6720" y="33848"/>
                      <a:pt x="16125" y="34572"/>
                    </a:cubicBezTo>
                    <a:cubicBezTo>
                      <a:pt x="25710" y="35295"/>
                      <a:pt x="33848" y="28061"/>
                      <a:pt x="34572" y="184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1" name="Google Shape;1571;p53"/>
              <p:cNvSpPr/>
              <p:nvPr/>
            </p:nvSpPr>
            <p:spPr>
              <a:xfrm>
                <a:off x="9228335" y="3930386"/>
                <a:ext cx="85166" cy="85187"/>
              </a:xfrm>
              <a:custGeom>
                <a:avLst/>
                <a:gdLst/>
                <a:ahLst/>
                <a:cxnLst/>
                <a:rect l="l" t="t" r="r" b="b"/>
                <a:pathLst>
                  <a:path w="85166" h="85187" extrusionOk="0">
                    <a:moveTo>
                      <a:pt x="85084" y="45296"/>
                    </a:moveTo>
                    <a:cubicBezTo>
                      <a:pt x="86531" y="21785"/>
                      <a:pt x="68807" y="1530"/>
                      <a:pt x="45296" y="83"/>
                    </a:cubicBezTo>
                    <a:cubicBezTo>
                      <a:pt x="21785" y="-1364"/>
                      <a:pt x="1529" y="16360"/>
                      <a:pt x="83" y="39871"/>
                    </a:cubicBezTo>
                    <a:cubicBezTo>
                      <a:pt x="-1364" y="63382"/>
                      <a:pt x="16360" y="83638"/>
                      <a:pt x="39871" y="85084"/>
                    </a:cubicBezTo>
                    <a:cubicBezTo>
                      <a:pt x="63201" y="86712"/>
                      <a:pt x="83457" y="68807"/>
                      <a:pt x="85084" y="4529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2" name="Google Shape;1572;p53"/>
              <p:cNvSpPr/>
              <p:nvPr/>
            </p:nvSpPr>
            <p:spPr>
              <a:xfrm>
                <a:off x="11392092" y="3043329"/>
                <a:ext cx="57287" cy="57247"/>
              </a:xfrm>
              <a:custGeom>
                <a:avLst/>
                <a:gdLst/>
                <a:ahLst/>
                <a:cxnLst/>
                <a:rect l="l" t="t" r="r" b="b"/>
                <a:pathLst>
                  <a:path w="57287" h="57247" extrusionOk="0">
                    <a:moveTo>
                      <a:pt x="57219" y="30432"/>
                    </a:moveTo>
                    <a:cubicBezTo>
                      <a:pt x="58304" y="14698"/>
                      <a:pt x="46367" y="953"/>
                      <a:pt x="30452" y="49"/>
                    </a:cubicBezTo>
                    <a:cubicBezTo>
                      <a:pt x="14537" y="-855"/>
                      <a:pt x="973" y="10900"/>
                      <a:pt x="68" y="26815"/>
                    </a:cubicBezTo>
                    <a:cubicBezTo>
                      <a:pt x="-1017" y="42550"/>
                      <a:pt x="10920" y="56295"/>
                      <a:pt x="26835" y="57199"/>
                    </a:cubicBezTo>
                    <a:cubicBezTo>
                      <a:pt x="42750" y="58103"/>
                      <a:pt x="56314" y="46167"/>
                      <a:pt x="57219" y="304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3" name="Google Shape;1573;p53"/>
              <p:cNvSpPr/>
              <p:nvPr/>
            </p:nvSpPr>
            <p:spPr>
              <a:xfrm>
                <a:off x="11403144" y="3054180"/>
                <a:ext cx="35364" cy="35344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4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1" y="34592"/>
                      <a:pt x="16507" y="35315"/>
                    </a:cubicBezTo>
                    <a:cubicBezTo>
                      <a:pt x="26273" y="35858"/>
                      <a:pt x="34592" y="28624"/>
                      <a:pt x="35316" y="1885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4" name="Google Shape;1574;p53"/>
              <p:cNvSpPr/>
              <p:nvPr/>
            </p:nvSpPr>
            <p:spPr>
              <a:xfrm>
                <a:off x="9246989" y="3949040"/>
                <a:ext cx="47857" cy="48019"/>
              </a:xfrm>
              <a:custGeom>
                <a:avLst/>
                <a:gdLst/>
                <a:ahLst/>
                <a:cxnLst/>
                <a:rect l="l" t="t" r="r" b="b"/>
                <a:pathLst>
                  <a:path w="47857" h="48019" extrusionOk="0">
                    <a:moveTo>
                      <a:pt x="47802" y="25557"/>
                    </a:moveTo>
                    <a:cubicBezTo>
                      <a:pt x="48706" y="12354"/>
                      <a:pt x="38578" y="960"/>
                      <a:pt x="25557" y="56"/>
                    </a:cubicBezTo>
                    <a:cubicBezTo>
                      <a:pt x="12354" y="-848"/>
                      <a:pt x="960" y="9280"/>
                      <a:pt x="56" y="22482"/>
                    </a:cubicBezTo>
                    <a:cubicBezTo>
                      <a:pt x="-848" y="35684"/>
                      <a:pt x="9280" y="47078"/>
                      <a:pt x="22301" y="47983"/>
                    </a:cubicBezTo>
                    <a:cubicBezTo>
                      <a:pt x="35504" y="48706"/>
                      <a:pt x="46897" y="38759"/>
                      <a:pt x="47802" y="255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5" name="Google Shape;1575;p53"/>
              <p:cNvSpPr/>
              <p:nvPr/>
            </p:nvSpPr>
            <p:spPr>
              <a:xfrm>
                <a:off x="9259866" y="3961917"/>
                <a:ext cx="22104" cy="22127"/>
              </a:xfrm>
              <a:custGeom>
                <a:avLst/>
                <a:gdLst/>
                <a:ahLst/>
                <a:cxnLst/>
                <a:rect l="l" t="t" r="r" b="b"/>
                <a:pathLst>
                  <a:path w="22104" h="22127" extrusionOk="0">
                    <a:moveTo>
                      <a:pt x="22085" y="11776"/>
                    </a:moveTo>
                    <a:cubicBezTo>
                      <a:pt x="22446" y="5627"/>
                      <a:pt x="17925" y="382"/>
                      <a:pt x="11776" y="20"/>
                    </a:cubicBezTo>
                    <a:cubicBezTo>
                      <a:pt x="5627" y="-342"/>
                      <a:pt x="382" y="4180"/>
                      <a:pt x="20" y="10329"/>
                    </a:cubicBezTo>
                    <a:cubicBezTo>
                      <a:pt x="-341" y="16478"/>
                      <a:pt x="4180" y="21723"/>
                      <a:pt x="10329" y="22085"/>
                    </a:cubicBezTo>
                    <a:cubicBezTo>
                      <a:pt x="16478" y="22627"/>
                      <a:pt x="21723" y="17925"/>
                      <a:pt x="22085" y="117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6" name="Google Shape;1576;p53"/>
              <p:cNvSpPr/>
              <p:nvPr/>
            </p:nvSpPr>
            <p:spPr>
              <a:xfrm>
                <a:off x="10165527" y="2203592"/>
                <a:ext cx="67795" cy="67796"/>
              </a:xfrm>
              <a:custGeom>
                <a:avLst/>
                <a:gdLst/>
                <a:ahLst/>
                <a:cxnLst/>
                <a:rect l="l" t="t" r="r" b="b"/>
                <a:pathLst>
                  <a:path w="67795" h="67796" extrusionOk="0">
                    <a:moveTo>
                      <a:pt x="67718" y="36068"/>
                    </a:moveTo>
                    <a:cubicBezTo>
                      <a:pt x="68984" y="17440"/>
                      <a:pt x="54696" y="1163"/>
                      <a:pt x="36068" y="78"/>
                    </a:cubicBezTo>
                    <a:cubicBezTo>
                      <a:pt x="17440" y="-1188"/>
                      <a:pt x="1163" y="13100"/>
                      <a:pt x="78" y="31728"/>
                    </a:cubicBezTo>
                    <a:cubicBezTo>
                      <a:pt x="-1188" y="50356"/>
                      <a:pt x="13100" y="66632"/>
                      <a:pt x="31728" y="67718"/>
                    </a:cubicBezTo>
                    <a:cubicBezTo>
                      <a:pt x="50356" y="68984"/>
                      <a:pt x="66452" y="54877"/>
                      <a:pt x="67718" y="360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7" name="Google Shape;1577;p53"/>
              <p:cNvSpPr/>
              <p:nvPr/>
            </p:nvSpPr>
            <p:spPr>
              <a:xfrm>
                <a:off x="10190899" y="2229145"/>
                <a:ext cx="16690" cy="16671"/>
              </a:xfrm>
              <a:custGeom>
                <a:avLst/>
                <a:gdLst/>
                <a:ahLst/>
                <a:cxnLst/>
                <a:rect l="l" t="t" r="r" b="b"/>
                <a:pathLst>
                  <a:path w="16690" h="16671" extrusionOk="0">
                    <a:moveTo>
                      <a:pt x="16665" y="8888"/>
                    </a:moveTo>
                    <a:cubicBezTo>
                      <a:pt x="17026" y="4367"/>
                      <a:pt x="13590" y="388"/>
                      <a:pt x="8888" y="26"/>
                    </a:cubicBezTo>
                    <a:cubicBezTo>
                      <a:pt x="4367" y="-336"/>
                      <a:pt x="388" y="3101"/>
                      <a:pt x="26" y="7803"/>
                    </a:cubicBezTo>
                    <a:cubicBezTo>
                      <a:pt x="-335" y="12324"/>
                      <a:pt x="3101" y="16303"/>
                      <a:pt x="7803" y="16665"/>
                    </a:cubicBezTo>
                    <a:cubicBezTo>
                      <a:pt x="12505" y="16846"/>
                      <a:pt x="16484" y="13409"/>
                      <a:pt x="16665" y="888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8" name="Google Shape;1578;p53"/>
              <p:cNvSpPr/>
              <p:nvPr/>
            </p:nvSpPr>
            <p:spPr>
              <a:xfrm>
                <a:off x="9673309" y="2536433"/>
                <a:ext cx="11232" cy="11259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59" extrusionOk="0">
                    <a:moveTo>
                      <a:pt x="11223" y="5978"/>
                    </a:moveTo>
                    <a:cubicBezTo>
                      <a:pt x="11404" y="2903"/>
                      <a:pt x="9053" y="191"/>
                      <a:pt x="5978" y="10"/>
                    </a:cubicBezTo>
                    <a:cubicBezTo>
                      <a:pt x="2903" y="-171"/>
                      <a:pt x="191" y="2180"/>
                      <a:pt x="10" y="5255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584"/>
                      <a:pt x="11042" y="9233"/>
                      <a:pt x="11223" y="59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9" name="Google Shape;1579;p53"/>
              <p:cNvSpPr/>
              <p:nvPr/>
            </p:nvSpPr>
            <p:spPr>
              <a:xfrm>
                <a:off x="10185645" y="2223710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0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7" y="20472"/>
                      <a:pt x="5280" y="26983"/>
                      <a:pt x="12876" y="27525"/>
                    </a:cubicBezTo>
                    <a:cubicBezTo>
                      <a:pt x="20472" y="28068"/>
                      <a:pt x="26982" y="22280"/>
                      <a:pt x="27525" y="1468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0" name="Google Shape;1580;p53"/>
              <p:cNvSpPr/>
              <p:nvPr/>
            </p:nvSpPr>
            <p:spPr>
              <a:xfrm>
                <a:off x="10259201" y="1412707"/>
                <a:ext cx="80292" cy="80292"/>
              </a:xfrm>
              <a:custGeom>
                <a:avLst/>
                <a:gdLst/>
                <a:ahLst/>
                <a:cxnLst/>
                <a:rect l="l" t="t" r="r" b="b"/>
                <a:pathLst>
                  <a:path w="80292" h="80292" extrusionOk="0">
                    <a:moveTo>
                      <a:pt x="80205" y="42768"/>
                    </a:moveTo>
                    <a:cubicBezTo>
                      <a:pt x="81652" y="20704"/>
                      <a:pt x="64833" y="1534"/>
                      <a:pt x="42768" y="87"/>
                    </a:cubicBezTo>
                    <a:cubicBezTo>
                      <a:pt x="20704" y="-1360"/>
                      <a:pt x="1534" y="15459"/>
                      <a:pt x="87" y="37524"/>
                    </a:cubicBezTo>
                    <a:cubicBezTo>
                      <a:pt x="-1360" y="59588"/>
                      <a:pt x="15460" y="78758"/>
                      <a:pt x="37524" y="80205"/>
                    </a:cubicBezTo>
                    <a:cubicBezTo>
                      <a:pt x="59588" y="81652"/>
                      <a:pt x="78759" y="64833"/>
                      <a:pt x="80205" y="427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1" name="Google Shape;1581;p53"/>
              <p:cNvSpPr/>
              <p:nvPr/>
            </p:nvSpPr>
            <p:spPr>
              <a:xfrm>
                <a:off x="10142520" y="2180585"/>
                <a:ext cx="113990" cy="113990"/>
              </a:xfrm>
              <a:custGeom>
                <a:avLst/>
                <a:gdLst/>
                <a:ahLst/>
                <a:cxnLst/>
                <a:rect l="l" t="t" r="r" b="b"/>
                <a:pathLst>
                  <a:path w="113990" h="113990" extrusionOk="0">
                    <a:moveTo>
                      <a:pt x="113874" y="60703"/>
                    </a:moveTo>
                    <a:cubicBezTo>
                      <a:pt x="115864" y="29234"/>
                      <a:pt x="92172" y="2106"/>
                      <a:pt x="60703" y="117"/>
                    </a:cubicBezTo>
                    <a:cubicBezTo>
                      <a:pt x="29234" y="-1873"/>
                      <a:pt x="2106" y="21819"/>
                      <a:pt x="117" y="53288"/>
                    </a:cubicBezTo>
                    <a:cubicBezTo>
                      <a:pt x="-1873" y="84757"/>
                      <a:pt x="21819" y="111885"/>
                      <a:pt x="53288" y="113874"/>
                    </a:cubicBezTo>
                    <a:cubicBezTo>
                      <a:pt x="84757" y="115864"/>
                      <a:pt x="111704" y="92172"/>
                      <a:pt x="113874" y="6070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2" name="Google Shape;1582;p53"/>
              <p:cNvSpPr/>
              <p:nvPr/>
            </p:nvSpPr>
            <p:spPr>
              <a:xfrm>
                <a:off x="9660613" y="2523736"/>
                <a:ext cx="36625" cy="36626"/>
              </a:xfrm>
              <a:custGeom>
                <a:avLst/>
                <a:gdLst/>
                <a:ahLst/>
                <a:cxnLst/>
                <a:rect l="l" t="t" r="r" b="b"/>
                <a:pathLst>
                  <a:path w="36625" h="36626" extrusionOk="0">
                    <a:moveTo>
                      <a:pt x="36579" y="19579"/>
                    </a:moveTo>
                    <a:cubicBezTo>
                      <a:pt x="37303" y="9451"/>
                      <a:pt x="29526" y="770"/>
                      <a:pt x="19579" y="47"/>
                    </a:cubicBezTo>
                    <a:cubicBezTo>
                      <a:pt x="9451" y="-677"/>
                      <a:pt x="770" y="7100"/>
                      <a:pt x="47" y="17047"/>
                    </a:cubicBezTo>
                    <a:cubicBezTo>
                      <a:pt x="-677" y="27175"/>
                      <a:pt x="7100" y="35856"/>
                      <a:pt x="17047" y="36579"/>
                    </a:cubicBezTo>
                    <a:cubicBezTo>
                      <a:pt x="27175" y="37303"/>
                      <a:pt x="35856" y="29707"/>
                      <a:pt x="36579" y="1957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3" name="Google Shape;1583;p53"/>
              <p:cNvSpPr/>
              <p:nvPr/>
            </p:nvSpPr>
            <p:spPr>
              <a:xfrm>
                <a:off x="10173488" y="2211756"/>
                <a:ext cx="51671" cy="51649"/>
              </a:xfrm>
              <a:custGeom>
                <a:avLst/>
                <a:gdLst/>
                <a:ahLst/>
                <a:cxnLst/>
                <a:rect l="l" t="t" r="r" b="b"/>
                <a:pathLst>
                  <a:path w="51671" h="51649" extrusionOk="0">
                    <a:moveTo>
                      <a:pt x="51618" y="27543"/>
                    </a:moveTo>
                    <a:cubicBezTo>
                      <a:pt x="52522" y="13256"/>
                      <a:pt x="41852" y="1139"/>
                      <a:pt x="27564" y="53"/>
                    </a:cubicBezTo>
                    <a:cubicBezTo>
                      <a:pt x="13277" y="-851"/>
                      <a:pt x="1160" y="9820"/>
                      <a:pt x="75" y="24107"/>
                    </a:cubicBezTo>
                    <a:cubicBezTo>
                      <a:pt x="-1010" y="38395"/>
                      <a:pt x="9841" y="50512"/>
                      <a:pt x="24128" y="51597"/>
                    </a:cubicBezTo>
                    <a:cubicBezTo>
                      <a:pt x="38416" y="52501"/>
                      <a:pt x="50714" y="41650"/>
                      <a:pt x="51618" y="2754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4" name="Google Shape;1584;p53"/>
              <p:cNvSpPr/>
              <p:nvPr/>
            </p:nvSpPr>
            <p:spPr>
              <a:xfrm>
                <a:off x="10668543" y="2517616"/>
                <a:ext cx="24632" cy="24632"/>
              </a:xfrm>
              <a:custGeom>
                <a:avLst/>
                <a:gdLst/>
                <a:ahLst/>
                <a:cxnLst/>
                <a:rect l="l" t="t" r="r" b="b"/>
                <a:pathLst>
                  <a:path w="24632" h="24632" extrusionOk="0">
                    <a:moveTo>
                      <a:pt x="24614" y="13040"/>
                    </a:moveTo>
                    <a:cubicBezTo>
                      <a:pt x="24976" y="6167"/>
                      <a:pt x="19912" y="380"/>
                      <a:pt x="13040" y="18"/>
                    </a:cubicBezTo>
                    <a:cubicBezTo>
                      <a:pt x="6167" y="-343"/>
                      <a:pt x="380" y="4720"/>
                      <a:pt x="18" y="11593"/>
                    </a:cubicBezTo>
                    <a:cubicBezTo>
                      <a:pt x="-344" y="18465"/>
                      <a:pt x="4720" y="24253"/>
                      <a:pt x="11593" y="24614"/>
                    </a:cubicBezTo>
                    <a:cubicBezTo>
                      <a:pt x="18465" y="24976"/>
                      <a:pt x="24253" y="19912"/>
                      <a:pt x="24614" y="1304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5" name="Google Shape;1585;p53"/>
              <p:cNvSpPr/>
              <p:nvPr/>
            </p:nvSpPr>
            <p:spPr>
              <a:xfrm>
                <a:off x="10171885" y="2209950"/>
                <a:ext cx="55080" cy="5510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100" extrusionOk="0">
                    <a:moveTo>
                      <a:pt x="55030" y="29349"/>
                    </a:moveTo>
                    <a:cubicBezTo>
                      <a:pt x="55935" y="14157"/>
                      <a:pt x="44541" y="955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3"/>
                      <a:pt x="10540" y="54126"/>
                      <a:pt x="25732" y="55030"/>
                    </a:cubicBezTo>
                    <a:cubicBezTo>
                      <a:pt x="40924" y="56115"/>
                      <a:pt x="54126" y="44540"/>
                      <a:pt x="55030" y="2934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6" name="Google Shape;1586;p53"/>
              <p:cNvSpPr/>
              <p:nvPr/>
            </p:nvSpPr>
            <p:spPr>
              <a:xfrm>
                <a:off x="10490202" y="1518014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900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7" name="Google Shape;1587;p53"/>
              <p:cNvSpPr/>
              <p:nvPr/>
            </p:nvSpPr>
            <p:spPr>
              <a:xfrm>
                <a:off x="10270975" y="1424481"/>
                <a:ext cx="56563" cy="56543"/>
              </a:xfrm>
              <a:custGeom>
                <a:avLst/>
                <a:gdLst/>
                <a:ahLst/>
                <a:cxnLst/>
                <a:rect l="l" t="t" r="r" b="b"/>
                <a:pathLst>
                  <a:path w="56563" h="56543" extrusionOk="0">
                    <a:moveTo>
                      <a:pt x="56495" y="30090"/>
                    </a:moveTo>
                    <a:cubicBezTo>
                      <a:pt x="57580" y="14537"/>
                      <a:pt x="45644" y="1154"/>
                      <a:pt x="30090" y="69"/>
                    </a:cubicBezTo>
                    <a:cubicBezTo>
                      <a:pt x="14537" y="-1017"/>
                      <a:pt x="1154" y="10920"/>
                      <a:pt x="69" y="26473"/>
                    </a:cubicBezTo>
                    <a:cubicBezTo>
                      <a:pt x="-1017" y="42027"/>
                      <a:pt x="10920" y="55410"/>
                      <a:pt x="26473" y="56495"/>
                    </a:cubicBezTo>
                    <a:cubicBezTo>
                      <a:pt x="42027" y="57399"/>
                      <a:pt x="55410" y="45644"/>
                      <a:pt x="56495" y="3009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8" name="Google Shape;1588;p53"/>
              <p:cNvSpPr/>
              <p:nvPr/>
            </p:nvSpPr>
            <p:spPr>
              <a:xfrm>
                <a:off x="10184020" y="2222266"/>
                <a:ext cx="30629" cy="30628"/>
              </a:xfrm>
              <a:custGeom>
                <a:avLst/>
                <a:gdLst/>
                <a:ahLst/>
                <a:cxnLst/>
                <a:rect l="l" t="t" r="r" b="b"/>
                <a:pathLst>
                  <a:path w="30629" h="30628" extrusionOk="0">
                    <a:moveTo>
                      <a:pt x="30597" y="16309"/>
                    </a:moveTo>
                    <a:cubicBezTo>
                      <a:pt x="31139" y="7809"/>
                      <a:pt x="24809" y="575"/>
                      <a:pt x="16309" y="32"/>
                    </a:cubicBezTo>
                    <a:cubicBezTo>
                      <a:pt x="7809" y="-510"/>
                      <a:pt x="575" y="5820"/>
                      <a:pt x="32" y="14320"/>
                    </a:cubicBezTo>
                    <a:cubicBezTo>
                      <a:pt x="-510" y="22820"/>
                      <a:pt x="5820" y="30054"/>
                      <a:pt x="14320" y="30597"/>
                    </a:cubicBezTo>
                    <a:cubicBezTo>
                      <a:pt x="22820" y="31139"/>
                      <a:pt x="30054" y="24629"/>
                      <a:pt x="30597" y="1630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9" name="Google Shape;1589;p53"/>
              <p:cNvSpPr/>
              <p:nvPr/>
            </p:nvSpPr>
            <p:spPr>
              <a:xfrm>
                <a:off x="10671252" y="2520144"/>
                <a:ext cx="19395" cy="19396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396" extrusionOk="0">
                    <a:moveTo>
                      <a:pt x="19373" y="10331"/>
                    </a:moveTo>
                    <a:cubicBezTo>
                      <a:pt x="19735" y="4905"/>
                      <a:pt x="15575" y="384"/>
                      <a:pt x="10331" y="22"/>
                    </a:cubicBezTo>
                    <a:cubicBezTo>
                      <a:pt x="4905" y="-340"/>
                      <a:pt x="384" y="3820"/>
                      <a:pt x="22" y="9065"/>
                    </a:cubicBezTo>
                    <a:cubicBezTo>
                      <a:pt x="-340" y="14490"/>
                      <a:pt x="3820" y="19012"/>
                      <a:pt x="9065" y="19373"/>
                    </a:cubicBezTo>
                    <a:cubicBezTo>
                      <a:pt x="14490" y="19735"/>
                      <a:pt x="19012" y="15756"/>
                      <a:pt x="19373" y="1033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90" name="Google Shape;1590;p53"/>
              <p:cNvSpPr/>
              <p:nvPr/>
            </p:nvSpPr>
            <p:spPr>
              <a:xfrm>
                <a:off x="10460115" y="1487928"/>
                <a:ext cx="85748" cy="85748"/>
              </a:xfrm>
              <a:custGeom>
                <a:avLst/>
                <a:gdLst/>
                <a:ahLst/>
                <a:cxnLst/>
                <a:rect l="l" t="t" r="r" b="b"/>
                <a:pathLst>
                  <a:path w="85748" h="85748" extrusionOk="0">
                    <a:moveTo>
                      <a:pt x="85646" y="45677"/>
                    </a:moveTo>
                    <a:cubicBezTo>
                      <a:pt x="87274" y="21985"/>
                      <a:pt x="69188" y="1549"/>
                      <a:pt x="45677" y="102"/>
                    </a:cubicBezTo>
                    <a:cubicBezTo>
                      <a:pt x="21985" y="-1526"/>
                      <a:pt x="1549" y="16560"/>
                      <a:pt x="102" y="40071"/>
                    </a:cubicBezTo>
                    <a:cubicBezTo>
                      <a:pt x="-1526" y="63763"/>
                      <a:pt x="16560" y="84199"/>
                      <a:pt x="40071" y="85646"/>
                    </a:cubicBezTo>
                    <a:cubicBezTo>
                      <a:pt x="63763" y="87274"/>
                      <a:pt x="84199" y="69369"/>
                      <a:pt x="85646" y="456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  <p:sp>
          <p:nvSpPr>
            <p:cNvPr id="1591" name="Google Shape;1591;p53"/>
            <p:cNvSpPr/>
            <p:nvPr/>
          </p:nvSpPr>
          <p:spPr>
            <a:xfrm>
              <a:off x="11849143" y="4661265"/>
              <a:ext cx="26838" cy="26819"/>
            </a:xfrm>
            <a:custGeom>
              <a:avLst/>
              <a:gdLst/>
              <a:ahLst/>
              <a:cxnLst/>
              <a:rect l="l" t="t" r="r" b="b"/>
              <a:pathLst>
                <a:path w="26838" h="26819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164"/>
                    <a:pt x="26260" y="21558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2" name="Google Shape;1592;p53"/>
            <p:cNvSpPr/>
            <p:nvPr/>
          </p:nvSpPr>
          <p:spPr>
            <a:xfrm>
              <a:off x="11526217" y="4214634"/>
              <a:ext cx="134830" cy="134830"/>
            </a:xfrm>
            <a:custGeom>
              <a:avLst/>
              <a:gdLst/>
              <a:ahLst/>
              <a:cxnLst/>
              <a:rect l="l" t="t" r="r" b="b"/>
              <a:pathLst>
                <a:path w="134830" h="134830" extrusionOk="0">
                  <a:moveTo>
                    <a:pt x="134693" y="71756"/>
                  </a:moveTo>
                  <a:cubicBezTo>
                    <a:pt x="137044" y="34681"/>
                    <a:pt x="109012" y="2489"/>
                    <a:pt x="71756" y="138"/>
                  </a:cubicBezTo>
                  <a:cubicBezTo>
                    <a:pt x="34500" y="-2213"/>
                    <a:pt x="2489" y="25819"/>
                    <a:pt x="138" y="63075"/>
                  </a:cubicBezTo>
                  <a:cubicBezTo>
                    <a:pt x="-2213" y="100331"/>
                    <a:pt x="25819" y="132342"/>
                    <a:pt x="63075" y="134693"/>
                  </a:cubicBezTo>
                  <a:cubicBezTo>
                    <a:pt x="100150" y="137045"/>
                    <a:pt x="132161" y="108831"/>
                    <a:pt x="134693" y="717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3" name="Google Shape;1593;p53"/>
            <p:cNvSpPr/>
            <p:nvPr/>
          </p:nvSpPr>
          <p:spPr>
            <a:xfrm rot="-4438743">
              <a:off x="11306284" y="4970044"/>
              <a:ext cx="41959" cy="41959"/>
            </a:xfrm>
            <a:custGeom>
              <a:avLst/>
              <a:gdLst/>
              <a:ahLst/>
              <a:cxnLst/>
              <a:rect l="l" t="t" r="r" b="b"/>
              <a:pathLst>
                <a:path w="41959" h="41959" extrusionOk="0">
                  <a:moveTo>
                    <a:pt x="41960" y="20980"/>
                  </a:moveTo>
                  <a:cubicBezTo>
                    <a:pt x="41960" y="32567"/>
                    <a:pt x="32567" y="41960"/>
                    <a:pt x="20980" y="41960"/>
                  </a:cubicBezTo>
                  <a:cubicBezTo>
                    <a:pt x="9393" y="41960"/>
                    <a:pt x="0" y="32567"/>
                    <a:pt x="0" y="20980"/>
                  </a:cubicBezTo>
                  <a:cubicBezTo>
                    <a:pt x="0" y="9393"/>
                    <a:pt x="9393" y="0"/>
                    <a:pt x="20980" y="0"/>
                  </a:cubicBezTo>
                  <a:cubicBezTo>
                    <a:pt x="32567" y="0"/>
                    <a:pt x="41960" y="9393"/>
                    <a:pt x="41960" y="20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4" name="Google Shape;1594;p53"/>
            <p:cNvSpPr/>
            <p:nvPr/>
          </p:nvSpPr>
          <p:spPr>
            <a:xfrm>
              <a:off x="11843708" y="4656011"/>
              <a:ext cx="37528" cy="37509"/>
            </a:xfrm>
            <a:custGeom>
              <a:avLst/>
              <a:gdLst/>
              <a:ahLst/>
              <a:cxnLst/>
              <a:rect l="l" t="t" r="r" b="b"/>
              <a:pathLst>
                <a:path w="37528" h="37509" extrusionOk="0">
                  <a:moveTo>
                    <a:pt x="37483" y="19940"/>
                  </a:moveTo>
                  <a:cubicBezTo>
                    <a:pt x="38206" y="9631"/>
                    <a:pt x="30248" y="769"/>
                    <a:pt x="19940" y="46"/>
                  </a:cubicBezTo>
                  <a:cubicBezTo>
                    <a:pt x="9631" y="-678"/>
                    <a:pt x="769" y="7280"/>
                    <a:pt x="46" y="17589"/>
                  </a:cubicBezTo>
                  <a:cubicBezTo>
                    <a:pt x="-678" y="27897"/>
                    <a:pt x="7280" y="36759"/>
                    <a:pt x="17589" y="37482"/>
                  </a:cubicBezTo>
                  <a:cubicBezTo>
                    <a:pt x="27897" y="38025"/>
                    <a:pt x="36940" y="30248"/>
                    <a:pt x="37483" y="199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5" name="Google Shape;1595;p53"/>
            <p:cNvSpPr/>
            <p:nvPr/>
          </p:nvSpPr>
          <p:spPr>
            <a:xfrm>
              <a:off x="11805336" y="5117158"/>
              <a:ext cx="69421" cy="69421"/>
            </a:xfrm>
            <a:custGeom>
              <a:avLst/>
              <a:gdLst/>
              <a:ahLst/>
              <a:cxnLst/>
              <a:rect l="l" t="t" r="r" b="b"/>
              <a:pathLst>
                <a:path w="69421" h="69421" extrusionOk="0">
                  <a:moveTo>
                    <a:pt x="69344" y="36971"/>
                  </a:moveTo>
                  <a:cubicBezTo>
                    <a:pt x="70610" y="17801"/>
                    <a:pt x="56142" y="1343"/>
                    <a:pt x="36971" y="77"/>
                  </a:cubicBezTo>
                  <a:cubicBezTo>
                    <a:pt x="17801" y="-1189"/>
                    <a:pt x="1343" y="13279"/>
                    <a:pt x="77" y="32450"/>
                  </a:cubicBezTo>
                  <a:cubicBezTo>
                    <a:pt x="-1189" y="51620"/>
                    <a:pt x="13279" y="68078"/>
                    <a:pt x="32450" y="69344"/>
                  </a:cubicBezTo>
                  <a:cubicBezTo>
                    <a:pt x="51621" y="70610"/>
                    <a:pt x="68078" y="56142"/>
                    <a:pt x="69344" y="369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6" name="Google Shape;1596;p53"/>
            <p:cNvSpPr/>
            <p:nvPr/>
          </p:nvSpPr>
          <p:spPr>
            <a:xfrm>
              <a:off x="11278471" y="4942599"/>
              <a:ext cx="96981" cy="96981"/>
            </a:xfrm>
            <a:custGeom>
              <a:avLst/>
              <a:gdLst/>
              <a:ahLst/>
              <a:cxnLst/>
              <a:rect l="l" t="t" r="r" b="b"/>
              <a:pathLst>
                <a:path w="96981" h="96981" extrusionOk="0">
                  <a:moveTo>
                    <a:pt x="96870" y="51656"/>
                  </a:moveTo>
                  <a:cubicBezTo>
                    <a:pt x="98678" y="24890"/>
                    <a:pt x="78422" y="1921"/>
                    <a:pt x="51656" y="112"/>
                  </a:cubicBezTo>
                  <a:cubicBezTo>
                    <a:pt x="24890" y="-1696"/>
                    <a:pt x="1921" y="18559"/>
                    <a:pt x="112" y="45326"/>
                  </a:cubicBezTo>
                  <a:cubicBezTo>
                    <a:pt x="-1696" y="72093"/>
                    <a:pt x="18559" y="95061"/>
                    <a:pt x="45326" y="96869"/>
                  </a:cubicBezTo>
                  <a:cubicBezTo>
                    <a:pt x="72093" y="98678"/>
                    <a:pt x="95242" y="78422"/>
                    <a:pt x="96870" y="516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7" name="Google Shape;1597;p53"/>
            <p:cNvSpPr/>
            <p:nvPr/>
          </p:nvSpPr>
          <p:spPr>
            <a:xfrm>
              <a:off x="11852233" y="4664355"/>
              <a:ext cx="20840" cy="20824"/>
            </a:xfrm>
            <a:custGeom>
              <a:avLst/>
              <a:gdLst/>
              <a:ahLst/>
              <a:cxnLst/>
              <a:rect l="l" t="t" r="r" b="b"/>
              <a:pathLst>
                <a:path w="20840" h="20824" extrusionOk="0">
                  <a:moveTo>
                    <a:pt x="20819" y="11053"/>
                  </a:moveTo>
                  <a:cubicBezTo>
                    <a:pt x="21181" y="5266"/>
                    <a:pt x="16841" y="383"/>
                    <a:pt x="11053" y="21"/>
                  </a:cubicBezTo>
                  <a:cubicBezTo>
                    <a:pt x="5266" y="-340"/>
                    <a:pt x="383" y="4000"/>
                    <a:pt x="21" y="9787"/>
                  </a:cubicBezTo>
                  <a:cubicBezTo>
                    <a:pt x="-340" y="15575"/>
                    <a:pt x="4000" y="20458"/>
                    <a:pt x="9787" y="20819"/>
                  </a:cubicBezTo>
                  <a:cubicBezTo>
                    <a:pt x="15394" y="21000"/>
                    <a:pt x="20277" y="16660"/>
                    <a:pt x="20819" y="1105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8" name="Google Shape;1598;p53"/>
            <p:cNvSpPr/>
            <p:nvPr/>
          </p:nvSpPr>
          <p:spPr>
            <a:xfrm>
              <a:off x="12085698" y="4487280"/>
              <a:ext cx="44569" cy="44569"/>
            </a:xfrm>
            <a:custGeom>
              <a:avLst/>
              <a:gdLst/>
              <a:ahLst/>
              <a:cxnLst/>
              <a:rect l="l" t="t" r="r" b="b"/>
              <a:pathLst>
                <a:path w="44569" h="44569" extrusionOk="0">
                  <a:moveTo>
                    <a:pt x="44530" y="23732"/>
                  </a:moveTo>
                  <a:cubicBezTo>
                    <a:pt x="45253" y="11433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3136" y="45253"/>
                    <a:pt x="43626" y="36030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9" name="Google Shape;1599;p53"/>
            <p:cNvSpPr/>
            <p:nvPr/>
          </p:nvSpPr>
          <p:spPr>
            <a:xfrm>
              <a:off x="11572431" y="4260848"/>
              <a:ext cx="42221" cy="42221"/>
            </a:xfrm>
            <a:custGeom>
              <a:avLst/>
              <a:gdLst/>
              <a:ahLst/>
              <a:cxnLst/>
              <a:rect l="l" t="t" r="r" b="b"/>
              <a:pathLst>
                <a:path w="42221" h="42221" extrusionOk="0">
                  <a:moveTo>
                    <a:pt x="42180" y="22467"/>
                  </a:moveTo>
                  <a:cubicBezTo>
                    <a:pt x="42904" y="10893"/>
                    <a:pt x="34042" y="765"/>
                    <a:pt x="22467" y="41"/>
                  </a:cubicBezTo>
                  <a:cubicBezTo>
                    <a:pt x="10893" y="-682"/>
                    <a:pt x="765" y="8180"/>
                    <a:pt x="41" y="19754"/>
                  </a:cubicBezTo>
                  <a:cubicBezTo>
                    <a:pt x="-682" y="31329"/>
                    <a:pt x="8180" y="41457"/>
                    <a:pt x="19755" y="42180"/>
                  </a:cubicBezTo>
                  <a:cubicBezTo>
                    <a:pt x="31329" y="42904"/>
                    <a:pt x="41457" y="34042"/>
                    <a:pt x="42180" y="2246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0" name="Google Shape;1600;p53"/>
            <p:cNvSpPr/>
            <p:nvPr/>
          </p:nvSpPr>
          <p:spPr>
            <a:xfrm>
              <a:off x="11857668" y="4669971"/>
              <a:ext cx="9608" cy="9596"/>
            </a:xfrm>
            <a:custGeom>
              <a:avLst/>
              <a:gdLst/>
              <a:ahLst/>
              <a:cxnLst/>
              <a:rect l="l" t="t" r="r" b="b"/>
              <a:pathLst>
                <a:path w="9608" h="9596" extrusionOk="0">
                  <a:moveTo>
                    <a:pt x="9597" y="5075"/>
                  </a:moveTo>
                  <a:cubicBezTo>
                    <a:pt x="9777" y="2363"/>
                    <a:pt x="7788" y="192"/>
                    <a:pt x="5075" y="11"/>
                  </a:cubicBezTo>
                  <a:cubicBezTo>
                    <a:pt x="2363" y="-169"/>
                    <a:pt x="192" y="1820"/>
                    <a:pt x="11" y="4533"/>
                  </a:cubicBezTo>
                  <a:cubicBezTo>
                    <a:pt x="-169" y="7246"/>
                    <a:pt x="1820" y="9416"/>
                    <a:pt x="4533" y="9597"/>
                  </a:cubicBezTo>
                  <a:cubicBezTo>
                    <a:pt x="7245" y="9597"/>
                    <a:pt x="9597" y="7608"/>
                    <a:pt x="9597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1" name="Google Shape;1601;p53"/>
            <p:cNvSpPr/>
            <p:nvPr/>
          </p:nvSpPr>
          <p:spPr>
            <a:xfrm>
              <a:off x="12007752" y="5131305"/>
              <a:ext cx="25936" cy="25916"/>
            </a:xfrm>
            <a:custGeom>
              <a:avLst/>
              <a:gdLst/>
              <a:ahLst/>
              <a:cxnLst/>
              <a:rect l="l" t="t" r="r" b="b"/>
              <a:pathLst>
                <a:path w="25936" h="25916" extrusionOk="0">
                  <a:moveTo>
                    <a:pt x="25899" y="13782"/>
                  </a:moveTo>
                  <a:cubicBezTo>
                    <a:pt x="26442" y="6729"/>
                    <a:pt x="21017" y="580"/>
                    <a:pt x="13782" y="37"/>
                  </a:cubicBezTo>
                  <a:cubicBezTo>
                    <a:pt x="6548" y="-505"/>
                    <a:pt x="580" y="4920"/>
                    <a:pt x="37" y="12155"/>
                  </a:cubicBezTo>
                  <a:cubicBezTo>
                    <a:pt x="-505" y="19389"/>
                    <a:pt x="4921" y="25357"/>
                    <a:pt x="12155" y="25899"/>
                  </a:cubicBezTo>
                  <a:cubicBezTo>
                    <a:pt x="19208" y="26261"/>
                    <a:pt x="25357" y="20836"/>
                    <a:pt x="25899" y="137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2" name="Google Shape;1602;p53"/>
            <p:cNvSpPr/>
            <p:nvPr/>
          </p:nvSpPr>
          <p:spPr>
            <a:xfrm>
              <a:off x="11807341" y="5119164"/>
              <a:ext cx="65229" cy="65249"/>
            </a:xfrm>
            <a:custGeom>
              <a:avLst/>
              <a:gdLst/>
              <a:ahLst/>
              <a:cxnLst/>
              <a:rect l="l" t="t" r="r" b="b"/>
              <a:pathLst>
                <a:path w="65229" h="65249" extrusionOk="0">
                  <a:moveTo>
                    <a:pt x="65169" y="34785"/>
                  </a:moveTo>
                  <a:cubicBezTo>
                    <a:pt x="66254" y="16880"/>
                    <a:pt x="52690" y="1327"/>
                    <a:pt x="34785" y="61"/>
                  </a:cubicBezTo>
                  <a:cubicBezTo>
                    <a:pt x="16880" y="-1025"/>
                    <a:pt x="1327" y="12540"/>
                    <a:pt x="61" y="30444"/>
                  </a:cubicBezTo>
                  <a:cubicBezTo>
                    <a:pt x="-1024" y="48349"/>
                    <a:pt x="12540" y="63902"/>
                    <a:pt x="30444" y="65168"/>
                  </a:cubicBezTo>
                  <a:cubicBezTo>
                    <a:pt x="48349" y="66434"/>
                    <a:pt x="64083" y="52689"/>
                    <a:pt x="65169" y="347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3" name="Google Shape;1603;p53"/>
            <p:cNvSpPr/>
            <p:nvPr/>
          </p:nvSpPr>
          <p:spPr>
            <a:xfrm>
              <a:off x="11852413" y="4664354"/>
              <a:ext cx="20299" cy="20323"/>
            </a:xfrm>
            <a:custGeom>
              <a:avLst/>
              <a:gdLst/>
              <a:ahLst/>
              <a:cxnLst/>
              <a:rect l="l" t="t" r="r" b="b"/>
              <a:pathLst>
                <a:path w="20299" h="20323" extrusionOk="0">
                  <a:moveTo>
                    <a:pt x="20278" y="10873"/>
                  </a:moveTo>
                  <a:cubicBezTo>
                    <a:pt x="20639" y="5267"/>
                    <a:pt x="16479" y="384"/>
                    <a:pt x="10873" y="22"/>
                  </a:cubicBezTo>
                  <a:cubicBezTo>
                    <a:pt x="5267" y="-340"/>
                    <a:pt x="383" y="3820"/>
                    <a:pt x="22" y="9426"/>
                  </a:cubicBezTo>
                  <a:cubicBezTo>
                    <a:pt x="-340" y="15033"/>
                    <a:pt x="3820" y="19916"/>
                    <a:pt x="9426" y="20278"/>
                  </a:cubicBezTo>
                  <a:cubicBezTo>
                    <a:pt x="15033" y="20820"/>
                    <a:pt x="19916" y="16480"/>
                    <a:pt x="20278" y="1087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4" name="Google Shape;1604;p53"/>
            <p:cNvSpPr/>
            <p:nvPr/>
          </p:nvSpPr>
          <p:spPr>
            <a:xfrm>
              <a:off x="12459172" y="5168026"/>
              <a:ext cx="33337" cy="33358"/>
            </a:xfrm>
            <a:custGeom>
              <a:avLst/>
              <a:gdLst/>
              <a:ahLst/>
              <a:cxnLst/>
              <a:rect l="l" t="t" r="r" b="b"/>
              <a:pathLst>
                <a:path w="33337" h="33358" extrusionOk="0">
                  <a:moveTo>
                    <a:pt x="33307" y="17754"/>
                  </a:moveTo>
                  <a:cubicBezTo>
                    <a:pt x="33850" y="8530"/>
                    <a:pt x="26978" y="573"/>
                    <a:pt x="17754" y="30"/>
                  </a:cubicBezTo>
                  <a:cubicBezTo>
                    <a:pt x="8530" y="-513"/>
                    <a:pt x="573" y="6360"/>
                    <a:pt x="30" y="15584"/>
                  </a:cubicBezTo>
                  <a:cubicBezTo>
                    <a:pt x="-513" y="24807"/>
                    <a:pt x="6360" y="32765"/>
                    <a:pt x="15584" y="33307"/>
                  </a:cubicBezTo>
                  <a:cubicBezTo>
                    <a:pt x="24807" y="34031"/>
                    <a:pt x="32765" y="26977"/>
                    <a:pt x="33307" y="1775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5" name="Google Shape;1605;p53"/>
            <p:cNvSpPr/>
            <p:nvPr/>
          </p:nvSpPr>
          <p:spPr>
            <a:xfrm>
              <a:off x="12011203" y="5134756"/>
              <a:ext cx="19035" cy="19035"/>
            </a:xfrm>
            <a:custGeom>
              <a:avLst/>
              <a:gdLst/>
              <a:ahLst/>
              <a:cxnLst/>
              <a:rect l="l" t="t" r="r" b="b"/>
              <a:pathLst>
                <a:path w="19035" h="19035" extrusionOk="0">
                  <a:moveTo>
                    <a:pt x="19012" y="10151"/>
                  </a:moveTo>
                  <a:cubicBezTo>
                    <a:pt x="19374" y="4906"/>
                    <a:pt x="15395" y="384"/>
                    <a:pt x="10151" y="23"/>
                  </a:cubicBezTo>
                  <a:cubicBezTo>
                    <a:pt x="4906" y="-339"/>
                    <a:pt x="384" y="3640"/>
                    <a:pt x="23" y="8885"/>
                  </a:cubicBezTo>
                  <a:cubicBezTo>
                    <a:pt x="-339" y="14129"/>
                    <a:pt x="3640" y="18651"/>
                    <a:pt x="8885" y="19012"/>
                  </a:cubicBezTo>
                  <a:cubicBezTo>
                    <a:pt x="14129" y="19374"/>
                    <a:pt x="18651" y="15395"/>
                    <a:pt x="19012" y="101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6" name="Google Shape;1606;p53"/>
            <p:cNvSpPr/>
            <p:nvPr/>
          </p:nvSpPr>
          <p:spPr>
            <a:xfrm>
              <a:off x="11820521" y="4632643"/>
              <a:ext cx="84083" cy="84083"/>
            </a:xfrm>
            <a:custGeom>
              <a:avLst/>
              <a:gdLst/>
              <a:ahLst/>
              <a:cxnLst/>
              <a:rect l="l" t="t" r="r" b="b"/>
              <a:pathLst>
                <a:path w="84083" h="84083" extrusionOk="0">
                  <a:moveTo>
                    <a:pt x="84000" y="44755"/>
                  </a:moveTo>
                  <a:cubicBezTo>
                    <a:pt x="85447" y="21605"/>
                    <a:pt x="67904" y="1530"/>
                    <a:pt x="44755" y="83"/>
                  </a:cubicBezTo>
                  <a:cubicBezTo>
                    <a:pt x="21605" y="-1363"/>
                    <a:pt x="1530" y="16179"/>
                    <a:pt x="83" y="39329"/>
                  </a:cubicBezTo>
                  <a:cubicBezTo>
                    <a:pt x="-1363" y="62478"/>
                    <a:pt x="16179" y="82553"/>
                    <a:pt x="39329" y="84000"/>
                  </a:cubicBezTo>
                  <a:cubicBezTo>
                    <a:pt x="62478" y="85447"/>
                    <a:pt x="82553" y="67904"/>
                    <a:pt x="84000" y="447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7" name="Google Shape;1607;p53"/>
            <p:cNvSpPr/>
            <p:nvPr/>
          </p:nvSpPr>
          <p:spPr>
            <a:xfrm>
              <a:off x="12466594" y="5175448"/>
              <a:ext cx="18492" cy="18492"/>
            </a:xfrm>
            <a:custGeom>
              <a:avLst/>
              <a:gdLst/>
              <a:ahLst/>
              <a:cxnLst/>
              <a:rect l="l" t="t" r="r" b="b"/>
              <a:pathLst>
                <a:path w="18492" h="18492" extrusionOk="0">
                  <a:moveTo>
                    <a:pt x="18470" y="9789"/>
                  </a:moveTo>
                  <a:cubicBezTo>
                    <a:pt x="18832" y="4725"/>
                    <a:pt x="14853" y="204"/>
                    <a:pt x="9789" y="23"/>
                  </a:cubicBezTo>
                  <a:cubicBezTo>
                    <a:pt x="4725" y="-339"/>
                    <a:pt x="384" y="3640"/>
                    <a:pt x="23" y="8704"/>
                  </a:cubicBezTo>
                  <a:cubicBezTo>
                    <a:pt x="-339" y="13768"/>
                    <a:pt x="3640" y="18289"/>
                    <a:pt x="8704" y="18470"/>
                  </a:cubicBezTo>
                  <a:cubicBezTo>
                    <a:pt x="13768" y="18832"/>
                    <a:pt x="18108" y="14853"/>
                    <a:pt x="18470" y="978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8" name="Google Shape;1608;p53"/>
            <p:cNvSpPr/>
            <p:nvPr/>
          </p:nvSpPr>
          <p:spPr>
            <a:xfrm>
              <a:off x="12090772" y="4492535"/>
              <a:ext cx="34059" cy="34059"/>
            </a:xfrm>
            <a:custGeom>
              <a:avLst/>
              <a:gdLst/>
              <a:ahLst/>
              <a:cxnLst/>
              <a:rect l="l" t="t" r="r" b="b"/>
              <a:pathLst>
                <a:path w="34059" h="34059" extrusionOk="0">
                  <a:moveTo>
                    <a:pt x="34030" y="18115"/>
                  </a:moveTo>
                  <a:cubicBezTo>
                    <a:pt x="34573" y="8711"/>
                    <a:pt x="27519" y="753"/>
                    <a:pt x="18115" y="29"/>
                  </a:cubicBezTo>
                  <a:cubicBezTo>
                    <a:pt x="8711" y="-513"/>
                    <a:pt x="753" y="6540"/>
                    <a:pt x="29" y="15945"/>
                  </a:cubicBezTo>
                  <a:cubicBezTo>
                    <a:pt x="-513" y="25349"/>
                    <a:pt x="6540" y="33306"/>
                    <a:pt x="15945" y="34030"/>
                  </a:cubicBezTo>
                  <a:cubicBezTo>
                    <a:pt x="25349" y="34573"/>
                    <a:pt x="33488" y="27519"/>
                    <a:pt x="34030" y="181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9" name="Google Shape;1609;p53"/>
            <p:cNvSpPr/>
            <p:nvPr/>
          </p:nvSpPr>
          <p:spPr>
            <a:xfrm>
              <a:off x="8783315" y="5508224"/>
              <a:ext cx="23729" cy="23750"/>
            </a:xfrm>
            <a:custGeom>
              <a:avLst/>
              <a:gdLst/>
              <a:ahLst/>
              <a:cxnLst/>
              <a:rect l="l" t="t" r="r" b="b"/>
              <a:pathLst>
                <a:path w="23729" h="23750" extrusionOk="0">
                  <a:moveTo>
                    <a:pt x="23711" y="12679"/>
                  </a:moveTo>
                  <a:cubicBezTo>
                    <a:pt x="24073" y="6168"/>
                    <a:pt x="19189" y="381"/>
                    <a:pt x="12679" y="19"/>
                  </a:cubicBezTo>
                  <a:cubicBezTo>
                    <a:pt x="6168" y="-343"/>
                    <a:pt x="381" y="4540"/>
                    <a:pt x="19" y="11051"/>
                  </a:cubicBezTo>
                  <a:cubicBezTo>
                    <a:pt x="-343" y="17562"/>
                    <a:pt x="4540" y="23349"/>
                    <a:pt x="11051" y="23711"/>
                  </a:cubicBezTo>
                  <a:cubicBezTo>
                    <a:pt x="17562" y="24253"/>
                    <a:pt x="23349" y="19189"/>
                    <a:pt x="23711" y="126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0" name="Google Shape;1610;p53"/>
            <p:cNvSpPr/>
            <p:nvPr/>
          </p:nvSpPr>
          <p:spPr>
            <a:xfrm>
              <a:off x="8172218" y="5359210"/>
              <a:ext cx="13038" cy="13038"/>
            </a:xfrm>
            <a:custGeom>
              <a:avLst/>
              <a:gdLst/>
              <a:ahLst/>
              <a:cxnLst/>
              <a:rect l="l" t="t" r="r" b="b"/>
              <a:pathLst>
                <a:path w="13038" h="13038" extrusionOk="0">
                  <a:moveTo>
                    <a:pt x="13030" y="6881"/>
                  </a:moveTo>
                  <a:cubicBezTo>
                    <a:pt x="13211" y="3264"/>
                    <a:pt x="10498" y="190"/>
                    <a:pt x="6881" y="9"/>
                  </a:cubicBezTo>
                  <a:cubicBezTo>
                    <a:pt x="3264" y="-172"/>
                    <a:pt x="189" y="2540"/>
                    <a:pt x="9" y="6158"/>
                  </a:cubicBezTo>
                  <a:cubicBezTo>
                    <a:pt x="-172" y="9775"/>
                    <a:pt x="2540" y="12849"/>
                    <a:pt x="6158" y="13030"/>
                  </a:cubicBezTo>
                  <a:cubicBezTo>
                    <a:pt x="9775" y="13211"/>
                    <a:pt x="12849" y="10498"/>
                    <a:pt x="13030" y="68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1" name="Google Shape;1611;p53"/>
            <p:cNvSpPr/>
            <p:nvPr/>
          </p:nvSpPr>
          <p:spPr>
            <a:xfrm>
              <a:off x="8058236" y="5820526"/>
              <a:ext cx="52372" cy="52393"/>
            </a:xfrm>
            <a:custGeom>
              <a:avLst/>
              <a:gdLst/>
              <a:ahLst/>
              <a:cxnLst/>
              <a:rect l="l" t="t" r="r" b="b"/>
              <a:pathLst>
                <a:path w="52372" h="52393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2"/>
                    <a:pt x="957" y="10000"/>
                    <a:pt x="53" y="24468"/>
                  </a:cubicBezTo>
                  <a:cubicBezTo>
                    <a:pt x="-852" y="38936"/>
                    <a:pt x="10000" y="51415"/>
                    <a:pt x="24468" y="52320"/>
                  </a:cubicBezTo>
                  <a:cubicBezTo>
                    <a:pt x="38936" y="53405"/>
                    <a:pt x="51415" y="42373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2" name="Google Shape;1612;p53"/>
            <p:cNvSpPr/>
            <p:nvPr/>
          </p:nvSpPr>
          <p:spPr>
            <a:xfrm>
              <a:off x="8778422" y="5503330"/>
              <a:ext cx="33697" cy="33719"/>
            </a:xfrm>
            <a:custGeom>
              <a:avLst/>
              <a:gdLst/>
              <a:ahLst/>
              <a:cxnLst/>
              <a:rect l="l" t="t" r="r" b="b"/>
              <a:pathLst>
                <a:path w="33697" h="33719" extrusionOk="0">
                  <a:moveTo>
                    <a:pt x="33668" y="17934"/>
                  </a:moveTo>
                  <a:cubicBezTo>
                    <a:pt x="34211" y="8529"/>
                    <a:pt x="27157" y="572"/>
                    <a:pt x="17934" y="29"/>
                  </a:cubicBezTo>
                  <a:cubicBezTo>
                    <a:pt x="8529" y="-513"/>
                    <a:pt x="572" y="6540"/>
                    <a:pt x="29" y="15764"/>
                  </a:cubicBezTo>
                  <a:cubicBezTo>
                    <a:pt x="-513" y="25168"/>
                    <a:pt x="6540" y="33126"/>
                    <a:pt x="15764" y="33668"/>
                  </a:cubicBezTo>
                  <a:cubicBezTo>
                    <a:pt x="24987" y="34392"/>
                    <a:pt x="32945" y="27339"/>
                    <a:pt x="33668" y="179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3" name="Google Shape;1613;p53"/>
            <p:cNvSpPr/>
            <p:nvPr/>
          </p:nvSpPr>
          <p:spPr>
            <a:xfrm>
              <a:off x="8519277" y="6020955"/>
              <a:ext cx="10870" cy="10897"/>
            </a:xfrm>
            <a:custGeom>
              <a:avLst/>
              <a:gdLst/>
              <a:ahLst/>
              <a:cxnLst/>
              <a:rect l="l" t="t" r="r" b="b"/>
              <a:pathLst>
                <a:path w="10870" h="10897" extrusionOk="0">
                  <a:moveTo>
                    <a:pt x="10861" y="5797"/>
                  </a:moveTo>
                  <a:cubicBezTo>
                    <a:pt x="11042" y="2723"/>
                    <a:pt x="8691" y="190"/>
                    <a:pt x="5797" y="10"/>
                  </a:cubicBezTo>
                  <a:cubicBezTo>
                    <a:pt x="2723" y="-171"/>
                    <a:pt x="191" y="2180"/>
                    <a:pt x="10" y="5074"/>
                  </a:cubicBezTo>
                  <a:cubicBezTo>
                    <a:pt x="-171" y="8148"/>
                    <a:pt x="2180" y="10680"/>
                    <a:pt x="5074" y="10861"/>
                  </a:cubicBezTo>
                  <a:cubicBezTo>
                    <a:pt x="8148" y="11223"/>
                    <a:pt x="10680" y="8871"/>
                    <a:pt x="10861" y="579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4" name="Google Shape;1614;p53"/>
            <p:cNvSpPr/>
            <p:nvPr/>
          </p:nvSpPr>
          <p:spPr>
            <a:xfrm>
              <a:off x="8063672" y="5825962"/>
              <a:ext cx="41499" cy="41522"/>
            </a:xfrm>
            <a:custGeom>
              <a:avLst/>
              <a:gdLst/>
              <a:ahLst/>
              <a:cxnLst/>
              <a:rect l="l" t="t" r="r" b="b"/>
              <a:pathLst>
                <a:path w="41499" h="41522" extrusionOk="0">
                  <a:moveTo>
                    <a:pt x="41458" y="22106"/>
                  </a:moveTo>
                  <a:cubicBezTo>
                    <a:pt x="42181" y="10712"/>
                    <a:pt x="33500" y="765"/>
                    <a:pt x="22106" y="42"/>
                  </a:cubicBezTo>
                  <a:cubicBezTo>
                    <a:pt x="10713" y="-681"/>
                    <a:pt x="766" y="8000"/>
                    <a:pt x="42" y="19393"/>
                  </a:cubicBezTo>
                  <a:cubicBezTo>
                    <a:pt x="-681" y="30787"/>
                    <a:pt x="8000" y="40734"/>
                    <a:pt x="19394" y="41458"/>
                  </a:cubicBezTo>
                  <a:cubicBezTo>
                    <a:pt x="30787" y="42362"/>
                    <a:pt x="40734" y="33681"/>
                    <a:pt x="41458" y="221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5" name="Google Shape;1615;p53"/>
            <p:cNvSpPr/>
            <p:nvPr/>
          </p:nvSpPr>
          <p:spPr>
            <a:xfrm>
              <a:off x="8772986" y="5497894"/>
              <a:ext cx="44569" cy="44569"/>
            </a:xfrm>
            <a:custGeom>
              <a:avLst/>
              <a:gdLst/>
              <a:ahLst/>
              <a:cxnLst/>
              <a:rect l="l" t="t" r="r" b="b"/>
              <a:pathLst>
                <a:path w="44569" h="44569" extrusionOk="0">
                  <a:moveTo>
                    <a:pt x="44530" y="23732"/>
                  </a:moveTo>
                  <a:cubicBezTo>
                    <a:pt x="45253" y="11434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3136" y="45253"/>
                    <a:pt x="43626" y="36030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6" name="Google Shape;1616;p53"/>
            <p:cNvSpPr/>
            <p:nvPr/>
          </p:nvSpPr>
          <p:spPr>
            <a:xfrm>
              <a:off x="8471278" y="5144462"/>
              <a:ext cx="84985" cy="85007"/>
            </a:xfrm>
            <a:custGeom>
              <a:avLst/>
              <a:gdLst/>
              <a:ahLst/>
              <a:cxnLst/>
              <a:rect l="l" t="t" r="r" b="b"/>
              <a:pathLst>
                <a:path w="84985" h="85007" extrusionOk="0">
                  <a:moveTo>
                    <a:pt x="84903" y="45296"/>
                  </a:moveTo>
                  <a:cubicBezTo>
                    <a:pt x="86350" y="21785"/>
                    <a:pt x="68626" y="1710"/>
                    <a:pt x="45296" y="83"/>
                  </a:cubicBezTo>
                  <a:cubicBezTo>
                    <a:pt x="21785" y="-1364"/>
                    <a:pt x="1529" y="16359"/>
                    <a:pt x="83" y="39690"/>
                  </a:cubicBezTo>
                  <a:cubicBezTo>
                    <a:pt x="-1364" y="63201"/>
                    <a:pt x="16360" y="83276"/>
                    <a:pt x="39690" y="84903"/>
                  </a:cubicBezTo>
                  <a:cubicBezTo>
                    <a:pt x="63020" y="86531"/>
                    <a:pt x="83276" y="68807"/>
                    <a:pt x="84903" y="45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7" name="Google Shape;1617;p53"/>
            <p:cNvSpPr/>
            <p:nvPr/>
          </p:nvSpPr>
          <p:spPr>
            <a:xfrm>
              <a:off x="8159702" y="5346694"/>
              <a:ext cx="38070" cy="38051"/>
            </a:xfrm>
            <a:custGeom>
              <a:avLst/>
              <a:gdLst/>
              <a:ahLst/>
              <a:cxnLst/>
              <a:rect l="l" t="t" r="r" b="b"/>
              <a:pathLst>
                <a:path w="38070" h="38051" extrusionOk="0">
                  <a:moveTo>
                    <a:pt x="38025" y="20301"/>
                  </a:moveTo>
                  <a:cubicBezTo>
                    <a:pt x="38749" y="9812"/>
                    <a:pt x="30791" y="769"/>
                    <a:pt x="20301" y="46"/>
                  </a:cubicBezTo>
                  <a:cubicBezTo>
                    <a:pt x="9812" y="-678"/>
                    <a:pt x="769" y="7280"/>
                    <a:pt x="46" y="17769"/>
                  </a:cubicBezTo>
                  <a:cubicBezTo>
                    <a:pt x="-678" y="28259"/>
                    <a:pt x="7280" y="37302"/>
                    <a:pt x="17769" y="38025"/>
                  </a:cubicBezTo>
                  <a:cubicBezTo>
                    <a:pt x="28259" y="38567"/>
                    <a:pt x="37302" y="30610"/>
                    <a:pt x="38025" y="203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8" name="Google Shape;1618;p53"/>
            <p:cNvSpPr/>
            <p:nvPr/>
          </p:nvSpPr>
          <p:spPr>
            <a:xfrm>
              <a:off x="8769716" y="5494805"/>
              <a:ext cx="50747" cy="50747"/>
            </a:xfrm>
            <a:custGeom>
              <a:avLst/>
              <a:gdLst/>
              <a:ahLst/>
              <a:cxnLst/>
              <a:rect l="l" t="t" r="r" b="b"/>
              <a:pathLst>
                <a:path w="50747" h="50747" extrusionOk="0">
                  <a:moveTo>
                    <a:pt x="50694" y="27002"/>
                  </a:moveTo>
                  <a:cubicBezTo>
                    <a:pt x="51598" y="13076"/>
                    <a:pt x="41108" y="959"/>
                    <a:pt x="27002" y="54"/>
                  </a:cubicBezTo>
                  <a:cubicBezTo>
                    <a:pt x="13076" y="-850"/>
                    <a:pt x="959" y="9640"/>
                    <a:pt x="54" y="23746"/>
                  </a:cubicBezTo>
                  <a:cubicBezTo>
                    <a:pt x="-850" y="37672"/>
                    <a:pt x="9640" y="49789"/>
                    <a:pt x="23746" y="50694"/>
                  </a:cubicBezTo>
                  <a:cubicBezTo>
                    <a:pt x="37853" y="51598"/>
                    <a:pt x="49789" y="40928"/>
                    <a:pt x="50694" y="270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9" name="Google Shape;1619;p53"/>
            <p:cNvSpPr/>
            <p:nvPr/>
          </p:nvSpPr>
          <p:spPr>
            <a:xfrm>
              <a:off x="8708577" y="5244131"/>
              <a:ext cx="61980" cy="61979"/>
            </a:xfrm>
            <a:custGeom>
              <a:avLst/>
              <a:gdLst/>
              <a:ahLst/>
              <a:cxnLst/>
              <a:rect l="l" t="t" r="r" b="b"/>
              <a:pathLst>
                <a:path w="61980" h="61979" extrusionOk="0">
                  <a:moveTo>
                    <a:pt x="61916" y="32980"/>
                  </a:moveTo>
                  <a:cubicBezTo>
                    <a:pt x="63001" y="15979"/>
                    <a:pt x="50161" y="1149"/>
                    <a:pt x="32980" y="64"/>
                  </a:cubicBezTo>
                  <a:cubicBezTo>
                    <a:pt x="15979" y="-1021"/>
                    <a:pt x="1149" y="11820"/>
                    <a:pt x="64" y="29001"/>
                  </a:cubicBezTo>
                  <a:cubicBezTo>
                    <a:pt x="-1021" y="46001"/>
                    <a:pt x="11820" y="60831"/>
                    <a:pt x="29001" y="61916"/>
                  </a:cubicBezTo>
                  <a:cubicBezTo>
                    <a:pt x="46182" y="63002"/>
                    <a:pt x="60831" y="49980"/>
                    <a:pt x="61916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0" name="Google Shape;1620;p53"/>
            <p:cNvSpPr/>
            <p:nvPr/>
          </p:nvSpPr>
          <p:spPr>
            <a:xfrm>
              <a:off x="8486863" y="5160228"/>
              <a:ext cx="53815" cy="53815"/>
            </a:xfrm>
            <a:custGeom>
              <a:avLst/>
              <a:gdLst/>
              <a:ahLst/>
              <a:cxnLst/>
              <a:rect l="l" t="t" r="r" b="b"/>
              <a:pathLst>
                <a:path w="53815" h="53815" extrusionOk="0">
                  <a:moveTo>
                    <a:pt x="53765" y="28626"/>
                  </a:moveTo>
                  <a:cubicBezTo>
                    <a:pt x="54669" y="13796"/>
                    <a:pt x="43456" y="955"/>
                    <a:pt x="28626" y="51"/>
                  </a:cubicBezTo>
                  <a:cubicBezTo>
                    <a:pt x="13796" y="-853"/>
                    <a:pt x="955" y="10360"/>
                    <a:pt x="51" y="25190"/>
                  </a:cubicBezTo>
                  <a:cubicBezTo>
                    <a:pt x="-853" y="40020"/>
                    <a:pt x="10360" y="52861"/>
                    <a:pt x="25190" y="53765"/>
                  </a:cubicBezTo>
                  <a:cubicBezTo>
                    <a:pt x="39839" y="54669"/>
                    <a:pt x="52680" y="43456"/>
                    <a:pt x="53765" y="286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1" name="Google Shape;1621;p53"/>
            <p:cNvSpPr/>
            <p:nvPr/>
          </p:nvSpPr>
          <p:spPr>
            <a:xfrm>
              <a:off x="8754853" y="5479762"/>
              <a:ext cx="80653" cy="80674"/>
            </a:xfrm>
            <a:custGeom>
              <a:avLst/>
              <a:gdLst/>
              <a:ahLst/>
              <a:cxnLst/>
              <a:rect l="l" t="t" r="r" b="b"/>
              <a:pathLst>
                <a:path w="80653" h="80674" extrusionOk="0">
                  <a:moveTo>
                    <a:pt x="80567" y="42949"/>
                  </a:moveTo>
                  <a:cubicBezTo>
                    <a:pt x="82014" y="20704"/>
                    <a:pt x="65194" y="1534"/>
                    <a:pt x="42949" y="87"/>
                  </a:cubicBezTo>
                  <a:cubicBezTo>
                    <a:pt x="20704" y="-1360"/>
                    <a:pt x="1534" y="15459"/>
                    <a:pt x="87" y="37704"/>
                  </a:cubicBezTo>
                  <a:cubicBezTo>
                    <a:pt x="-1360" y="59950"/>
                    <a:pt x="15459" y="79120"/>
                    <a:pt x="37705" y="80567"/>
                  </a:cubicBezTo>
                  <a:cubicBezTo>
                    <a:pt x="59950" y="82195"/>
                    <a:pt x="79120" y="65194"/>
                    <a:pt x="80567" y="429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2" name="Google Shape;1622;p53"/>
            <p:cNvSpPr/>
            <p:nvPr/>
          </p:nvSpPr>
          <p:spPr>
            <a:xfrm>
              <a:off x="9537450" y="5420119"/>
              <a:ext cx="36447" cy="36426"/>
            </a:xfrm>
            <a:custGeom>
              <a:avLst/>
              <a:gdLst/>
              <a:ahLst/>
              <a:cxnLst/>
              <a:rect l="l" t="t" r="r" b="b"/>
              <a:pathLst>
                <a:path w="36447" h="36426" extrusionOk="0">
                  <a:moveTo>
                    <a:pt x="36399" y="19399"/>
                  </a:moveTo>
                  <a:cubicBezTo>
                    <a:pt x="37123" y="9271"/>
                    <a:pt x="29527" y="590"/>
                    <a:pt x="19399" y="48"/>
                  </a:cubicBezTo>
                  <a:cubicBezTo>
                    <a:pt x="9271" y="-676"/>
                    <a:pt x="590" y="6920"/>
                    <a:pt x="48" y="17048"/>
                  </a:cubicBezTo>
                  <a:cubicBezTo>
                    <a:pt x="-676" y="27176"/>
                    <a:pt x="6920" y="35857"/>
                    <a:pt x="17048" y="36399"/>
                  </a:cubicBezTo>
                  <a:cubicBezTo>
                    <a:pt x="27176" y="36942"/>
                    <a:pt x="35857" y="29346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3" name="Google Shape;1623;p53"/>
            <p:cNvSpPr/>
            <p:nvPr/>
          </p:nvSpPr>
          <p:spPr>
            <a:xfrm>
              <a:off x="8487003" y="5988682"/>
              <a:ext cx="75599" cy="75578"/>
            </a:xfrm>
            <a:custGeom>
              <a:avLst/>
              <a:gdLst/>
              <a:ahLst/>
              <a:cxnLst/>
              <a:rect l="l" t="t" r="r" b="b"/>
              <a:pathLst>
                <a:path w="75599" h="75578" extrusionOk="0">
                  <a:moveTo>
                    <a:pt x="75508" y="40241"/>
                  </a:moveTo>
                  <a:cubicBezTo>
                    <a:pt x="76954" y="19443"/>
                    <a:pt x="61039" y="1358"/>
                    <a:pt x="40241" y="91"/>
                  </a:cubicBezTo>
                  <a:cubicBezTo>
                    <a:pt x="19443" y="-1356"/>
                    <a:pt x="1357" y="14560"/>
                    <a:pt x="91" y="35358"/>
                  </a:cubicBezTo>
                  <a:cubicBezTo>
                    <a:pt x="-1356" y="56156"/>
                    <a:pt x="14560" y="74242"/>
                    <a:pt x="35358" y="75507"/>
                  </a:cubicBezTo>
                  <a:cubicBezTo>
                    <a:pt x="56156" y="76773"/>
                    <a:pt x="74061" y="61039"/>
                    <a:pt x="75508" y="4024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4" name="Google Shape;1624;p53"/>
            <p:cNvSpPr/>
            <p:nvPr/>
          </p:nvSpPr>
          <p:spPr>
            <a:xfrm>
              <a:off x="8760650" y="5485559"/>
              <a:ext cx="69059" cy="69060"/>
            </a:xfrm>
            <a:custGeom>
              <a:avLst/>
              <a:gdLst/>
              <a:ahLst/>
              <a:cxnLst/>
              <a:rect l="l" t="t" r="r" b="b"/>
              <a:pathLst>
                <a:path w="69059" h="69060" extrusionOk="0">
                  <a:moveTo>
                    <a:pt x="68983" y="36791"/>
                  </a:moveTo>
                  <a:cubicBezTo>
                    <a:pt x="70249" y="17801"/>
                    <a:pt x="55780" y="1343"/>
                    <a:pt x="36791" y="77"/>
                  </a:cubicBezTo>
                  <a:cubicBezTo>
                    <a:pt x="17801" y="-1189"/>
                    <a:pt x="1343" y="13279"/>
                    <a:pt x="77" y="32269"/>
                  </a:cubicBezTo>
                  <a:cubicBezTo>
                    <a:pt x="-1189" y="51259"/>
                    <a:pt x="13279" y="67717"/>
                    <a:pt x="32269" y="68983"/>
                  </a:cubicBezTo>
                  <a:cubicBezTo>
                    <a:pt x="51259" y="70249"/>
                    <a:pt x="67717" y="55961"/>
                    <a:pt x="68983" y="367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5" name="Google Shape;1625;p53"/>
            <p:cNvSpPr/>
            <p:nvPr/>
          </p:nvSpPr>
          <p:spPr>
            <a:xfrm>
              <a:off x="9513722" y="5396210"/>
              <a:ext cx="84083" cy="84083"/>
            </a:xfrm>
            <a:custGeom>
              <a:avLst/>
              <a:gdLst/>
              <a:ahLst/>
              <a:cxnLst/>
              <a:rect l="l" t="t" r="r" b="b"/>
              <a:pathLst>
                <a:path w="84083" h="84083" extrusionOk="0">
                  <a:moveTo>
                    <a:pt x="84000" y="44755"/>
                  </a:moveTo>
                  <a:cubicBezTo>
                    <a:pt x="85447" y="21605"/>
                    <a:pt x="67904" y="1530"/>
                    <a:pt x="44755" y="83"/>
                  </a:cubicBezTo>
                  <a:cubicBezTo>
                    <a:pt x="21605" y="-1363"/>
                    <a:pt x="1530" y="16179"/>
                    <a:pt x="83" y="39329"/>
                  </a:cubicBezTo>
                  <a:cubicBezTo>
                    <a:pt x="-1363" y="62478"/>
                    <a:pt x="16179" y="82553"/>
                    <a:pt x="39329" y="84000"/>
                  </a:cubicBezTo>
                  <a:cubicBezTo>
                    <a:pt x="62478" y="85447"/>
                    <a:pt x="82372" y="67904"/>
                    <a:pt x="84000" y="447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6" name="Google Shape;1626;p53"/>
            <p:cNvSpPr/>
            <p:nvPr/>
          </p:nvSpPr>
          <p:spPr>
            <a:xfrm>
              <a:off x="8730321" y="5265694"/>
              <a:ext cx="18673" cy="18674"/>
            </a:xfrm>
            <a:custGeom>
              <a:avLst/>
              <a:gdLst/>
              <a:ahLst/>
              <a:cxnLst/>
              <a:rect l="l" t="t" r="r" b="b"/>
              <a:pathLst>
                <a:path w="18673" h="18674" extrusionOk="0">
                  <a:moveTo>
                    <a:pt x="18651" y="9970"/>
                  </a:moveTo>
                  <a:cubicBezTo>
                    <a:pt x="19012" y="4906"/>
                    <a:pt x="15034" y="385"/>
                    <a:pt x="9970" y="23"/>
                  </a:cubicBezTo>
                  <a:cubicBezTo>
                    <a:pt x="4906" y="-339"/>
                    <a:pt x="385" y="3640"/>
                    <a:pt x="23" y="8704"/>
                  </a:cubicBezTo>
                  <a:cubicBezTo>
                    <a:pt x="-339" y="13768"/>
                    <a:pt x="3640" y="18289"/>
                    <a:pt x="8704" y="18651"/>
                  </a:cubicBezTo>
                  <a:cubicBezTo>
                    <a:pt x="13949" y="19013"/>
                    <a:pt x="18289" y="15215"/>
                    <a:pt x="18651" y="99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7" name="Google Shape;1627;p53"/>
            <p:cNvSpPr/>
            <p:nvPr/>
          </p:nvSpPr>
          <p:spPr>
            <a:xfrm>
              <a:off x="12640218" y="6116256"/>
              <a:ext cx="22826" cy="22826"/>
            </a:xfrm>
            <a:custGeom>
              <a:avLst/>
              <a:gdLst/>
              <a:ahLst/>
              <a:cxnLst/>
              <a:rect l="l" t="t" r="r" b="b"/>
              <a:pathLst>
                <a:path w="22826" h="22826" extrusionOk="0">
                  <a:moveTo>
                    <a:pt x="22807" y="12137"/>
                  </a:moveTo>
                  <a:cubicBezTo>
                    <a:pt x="23169" y="5807"/>
                    <a:pt x="18466" y="382"/>
                    <a:pt x="12136" y="20"/>
                  </a:cubicBezTo>
                  <a:cubicBezTo>
                    <a:pt x="5807" y="-342"/>
                    <a:pt x="381" y="4360"/>
                    <a:pt x="20" y="10690"/>
                  </a:cubicBezTo>
                  <a:cubicBezTo>
                    <a:pt x="-342" y="17020"/>
                    <a:pt x="4360" y="22445"/>
                    <a:pt x="10690" y="22807"/>
                  </a:cubicBezTo>
                  <a:cubicBezTo>
                    <a:pt x="17020" y="23169"/>
                    <a:pt x="22445" y="18467"/>
                    <a:pt x="22807" y="121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grpSp>
        <p:nvGrpSpPr>
          <p:cNvPr id="1628" name="Google Shape;1628;p53"/>
          <p:cNvGrpSpPr/>
          <p:nvPr/>
        </p:nvGrpSpPr>
        <p:grpSpPr>
          <a:xfrm>
            <a:off x="10313095" y="170029"/>
            <a:ext cx="1681551" cy="1081913"/>
            <a:chOff x="9887447" y="146051"/>
            <a:chExt cx="1681551" cy="1081913"/>
          </a:xfrm>
        </p:grpSpPr>
        <p:sp>
          <p:nvSpPr>
            <p:cNvPr id="1629" name="Google Shape;1629;p53"/>
            <p:cNvSpPr txBox="1"/>
            <p:nvPr/>
          </p:nvSpPr>
          <p:spPr>
            <a:xfrm>
              <a:off x="9887447" y="1074076"/>
              <a:ext cx="1681551" cy="1538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1000">
                  <a:solidFill>
                    <a:schemeClr val="accent2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/>
            </a:p>
          </p:txBody>
        </p:sp>
        <p:pic>
          <p:nvPicPr>
            <p:cNvPr id="1630" name="Google Shape;1630;p53" descr="Startup India – About, Seed Fund Scheme, Benefits, Eligibility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10004219" y="710732"/>
              <a:ext cx="1448006" cy="32014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31" name="Google Shape;1631;p53" descr="10 logo designs of Government of India setups or companies - Best Logo and  Packaging Design Ideas | LogoPeople India Blog"/>
            <p:cNvPicPr preferRelativeResize="0"/>
            <p:nvPr/>
          </p:nvPicPr>
          <p:blipFill rotWithShape="1">
            <a:blip r:embed="rId4">
              <a:alphaModFix/>
            </a:blip>
            <a:srcRect l="21461" r="25692" b="15812"/>
            <a:stretch/>
          </p:blipFill>
          <p:spPr>
            <a:xfrm>
              <a:off x="10563557" y="146051"/>
              <a:ext cx="329330" cy="52463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" name="Google Shape;1089;p29">
            <a:extLst>
              <a:ext uri="{FF2B5EF4-FFF2-40B4-BE49-F238E27FC236}">
                <a16:creationId xmlns:a16="http://schemas.microsoft.com/office/drawing/2014/main" id="{5228EF70-F365-CFF5-57DC-A42BCCF47376}"/>
              </a:ext>
            </a:extLst>
          </p:cNvPr>
          <p:cNvSpPr/>
          <p:nvPr userDrawn="1"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CE285E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D21B4165-715B-3D29-8948-EC75E597B696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9506147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">
  <p:cSld name="5_Title Slide">
    <p:spTree>
      <p:nvGrpSpPr>
        <p:cNvPr id="1" name="Shape 16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3" name="Google Shape;1633;p54"/>
          <p:cNvPicPr preferRelativeResize="0"/>
          <p:nvPr/>
        </p:nvPicPr>
        <p:blipFill rotWithShape="1">
          <a:blip r:embed="rId2">
            <a:alphaModFix/>
          </a:blip>
          <a:srcRect t="25577" b="8799"/>
          <a:stretch/>
        </p:blipFill>
        <p:spPr>
          <a:xfrm>
            <a:off x="0" y="0"/>
            <a:ext cx="12192000" cy="533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34" name="Google Shape;1634;p5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233" y="6049166"/>
            <a:ext cx="2201552" cy="663378"/>
          </a:xfrm>
          <a:prstGeom prst="rect">
            <a:avLst/>
          </a:prstGeom>
          <a:noFill/>
          <a:ln>
            <a:noFill/>
          </a:ln>
        </p:spPr>
      </p:pic>
      <p:sp>
        <p:nvSpPr>
          <p:cNvPr id="1635" name="Google Shape;1635;p54"/>
          <p:cNvSpPr/>
          <p:nvPr/>
        </p:nvSpPr>
        <p:spPr>
          <a:xfrm>
            <a:off x="2442255" y="4277360"/>
            <a:ext cx="9749745" cy="1658882"/>
          </a:xfrm>
          <a:prstGeom prst="rect">
            <a:avLst/>
          </a:prstGeom>
          <a:solidFill>
            <a:srgbClr val="303540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36" name="Google Shape;1636;p54"/>
          <p:cNvSpPr txBox="1">
            <a:spLocks noGrp="1"/>
          </p:cNvSpPr>
          <p:nvPr>
            <p:ph type="ctrTitle"/>
          </p:nvPr>
        </p:nvSpPr>
        <p:spPr>
          <a:xfrm>
            <a:off x="2617693" y="4561840"/>
            <a:ext cx="9403977" cy="717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Trebuchet MS"/>
              <a:buNone/>
              <a:defRPr sz="4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7" name="Google Shape;1637;p54"/>
          <p:cNvSpPr txBox="1">
            <a:spLocks noGrp="1"/>
          </p:cNvSpPr>
          <p:nvPr>
            <p:ph type="subTitle" idx="1"/>
          </p:nvPr>
        </p:nvSpPr>
        <p:spPr>
          <a:xfrm>
            <a:off x="2617695" y="5303485"/>
            <a:ext cx="9403976" cy="3355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lt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38" name="Google Shape;1638;p54"/>
          <p:cNvSpPr/>
          <p:nvPr/>
        </p:nvSpPr>
        <p:spPr>
          <a:xfrm>
            <a:off x="12100556" y="5230777"/>
            <a:ext cx="91440" cy="704447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667554E3-9DC8-DFEF-B344-B0F4DE096CFE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6666918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9D139C4-044D-BA63-2384-38DA8F910F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49298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92B6296-3FB5-4866-BDD5-EEA1765F41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97398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C1E5D530-236A-6F52-17B0-816435D4548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45500" y="3283944"/>
            <a:ext cx="2997202" cy="923330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E48850B9-E53E-57D9-076B-71206CE7BC4F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7599158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Content">
  <p:cSld name="3_Title and Content">
    <p:bg>
      <p:bgPr>
        <a:solidFill>
          <a:schemeClr val="lt1"/>
        </a:solidFill>
        <a:effectLst/>
      </p:bgPr>
    </p:bg>
    <p:spTree>
      <p:nvGrpSpPr>
        <p:cNvPr id="1" name="Shape 16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41" name="Google Shape;1641;p55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642" name="Google Shape;1642;p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643" name="Google Shape;1643;p55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644" name="Google Shape;1644;p55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10967168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5" name="Google Shape;1645;p55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46" name="Google Shape;1646;p5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647" name="Google Shape;1647;p55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49" name="Google Shape;1649;p55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3" name="Google Shape;1087;p29">
            <a:extLst>
              <a:ext uri="{FF2B5EF4-FFF2-40B4-BE49-F238E27FC236}">
                <a16:creationId xmlns:a16="http://schemas.microsoft.com/office/drawing/2014/main" id="{67F89210-4C14-8A44-2135-C77638EDB497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6458349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and Content">
  <p:cSld name="15_Title and Content">
    <p:bg>
      <p:bgPr>
        <a:solidFill>
          <a:schemeClr val="lt1"/>
        </a:solidFill>
        <a:effectLst/>
      </p:bgPr>
    </p:bg>
    <p:spTree>
      <p:nvGrpSpPr>
        <p:cNvPr id="1" name="Shape 16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51" name="Google Shape;1651;p56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652" name="Google Shape;1652;p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653" name="Google Shape;1653;p56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654" name="Google Shape;1654;p56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255417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55" name="Google Shape;1655;p5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656" name="Google Shape;1656;p56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58" name="Google Shape;1658;p56"/>
          <p:cNvSpPr/>
          <p:nvPr/>
        </p:nvSpPr>
        <p:spPr>
          <a:xfrm>
            <a:off x="6298116" y="1898297"/>
            <a:ext cx="2303351" cy="3797653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91425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59" name="Google Shape;1659;p56"/>
          <p:cNvSpPr txBox="1">
            <a:spLocks noGrp="1"/>
          </p:cNvSpPr>
          <p:nvPr>
            <p:ph type="body" idx="1"/>
          </p:nvPr>
        </p:nvSpPr>
        <p:spPr>
          <a:xfrm>
            <a:off x="6298117" y="2180632"/>
            <a:ext cx="133712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40"/>
              <a:buNone/>
              <a:defRPr sz="1200" b="1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0" name="Google Shape;1660;p56"/>
          <p:cNvSpPr/>
          <p:nvPr/>
        </p:nvSpPr>
        <p:spPr>
          <a:xfrm>
            <a:off x="6196591" y="1828799"/>
            <a:ext cx="2471666" cy="3902075"/>
          </a:xfrm>
          <a:custGeom>
            <a:avLst/>
            <a:gdLst/>
            <a:ahLst/>
            <a:cxnLst/>
            <a:rect l="l" t="t" r="r" b="b"/>
            <a:pathLst>
              <a:path w="2471666" h="3902075" extrusionOk="0">
                <a:moveTo>
                  <a:pt x="1744839" y="0"/>
                </a:moveTo>
                <a:lnTo>
                  <a:pt x="2305806" y="0"/>
                </a:lnTo>
                <a:lnTo>
                  <a:pt x="2305806" y="916396"/>
                </a:lnTo>
                <a:lnTo>
                  <a:pt x="2471666" y="916396"/>
                </a:lnTo>
                <a:lnTo>
                  <a:pt x="2471666" y="3627114"/>
                </a:lnTo>
                <a:lnTo>
                  <a:pt x="2471666" y="3680132"/>
                </a:lnTo>
                <a:lnTo>
                  <a:pt x="2471666" y="3902075"/>
                </a:lnTo>
                <a:lnTo>
                  <a:pt x="745070" y="3898438"/>
                </a:lnTo>
                <a:lnTo>
                  <a:pt x="446612" y="3680132"/>
                </a:lnTo>
                <a:lnTo>
                  <a:pt x="0" y="3680132"/>
                </a:lnTo>
                <a:lnTo>
                  <a:pt x="0" y="916396"/>
                </a:lnTo>
                <a:lnTo>
                  <a:pt x="1388727" y="916396"/>
                </a:lnTo>
                <a:lnTo>
                  <a:pt x="1744839" y="0"/>
                </a:lnTo>
                <a:close/>
              </a:path>
            </a:pathLst>
          </a:cu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1097275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400"/>
              <a:buFont typeface="Trebuchet MS"/>
              <a:buNone/>
            </a:pPr>
            <a:endParaRPr sz="1400" b="0" i="0" u="none" strike="noStrike" cap="none">
              <a:solidFill>
                <a:srgbClr val="30354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61" name="Google Shape;1661;p56"/>
          <p:cNvSpPr txBox="1">
            <a:spLocks noGrp="1"/>
          </p:cNvSpPr>
          <p:nvPr>
            <p:ph type="body" idx="2"/>
          </p:nvPr>
        </p:nvSpPr>
        <p:spPr>
          <a:xfrm>
            <a:off x="6298117" y="5132748"/>
            <a:ext cx="133712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 i="0" u="none" strike="noStrike" cap="none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2" name="Google Shape;1662;p56"/>
          <p:cNvSpPr txBox="1">
            <a:spLocks noGrp="1"/>
          </p:cNvSpPr>
          <p:nvPr>
            <p:ph type="body" idx="3"/>
          </p:nvPr>
        </p:nvSpPr>
        <p:spPr>
          <a:xfrm>
            <a:off x="6201348" y="5862549"/>
            <a:ext cx="2473200" cy="2862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3" name="Google Shape;1663;p56"/>
          <p:cNvSpPr>
            <a:spLocks noGrp="1"/>
          </p:cNvSpPr>
          <p:nvPr>
            <p:ph type="pic" idx="4"/>
          </p:nvPr>
        </p:nvSpPr>
        <p:spPr>
          <a:xfrm>
            <a:off x="7905750" y="2117060"/>
            <a:ext cx="485775" cy="404142"/>
          </a:xfrm>
          <a:prstGeom prst="rect">
            <a:avLst/>
          </a:prstGeom>
          <a:noFill/>
          <a:ln>
            <a:noFill/>
          </a:ln>
        </p:spPr>
      </p:sp>
      <p:sp>
        <p:nvSpPr>
          <p:cNvPr id="1664" name="Google Shape;1664;p56"/>
          <p:cNvSpPr/>
          <p:nvPr/>
        </p:nvSpPr>
        <p:spPr>
          <a:xfrm>
            <a:off x="920737" y="1898297"/>
            <a:ext cx="2303351" cy="3797653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91425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65" name="Google Shape;1665;p56"/>
          <p:cNvSpPr txBox="1">
            <a:spLocks noGrp="1"/>
          </p:cNvSpPr>
          <p:nvPr>
            <p:ph type="body" idx="5"/>
          </p:nvPr>
        </p:nvSpPr>
        <p:spPr>
          <a:xfrm>
            <a:off x="920738" y="2180632"/>
            <a:ext cx="133712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40"/>
              <a:buNone/>
              <a:defRPr sz="1200" b="1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6" name="Google Shape;1666;p56"/>
          <p:cNvSpPr/>
          <p:nvPr/>
        </p:nvSpPr>
        <p:spPr>
          <a:xfrm>
            <a:off x="825503" y="1828799"/>
            <a:ext cx="2471666" cy="3902075"/>
          </a:xfrm>
          <a:custGeom>
            <a:avLst/>
            <a:gdLst/>
            <a:ahLst/>
            <a:cxnLst/>
            <a:rect l="l" t="t" r="r" b="b"/>
            <a:pathLst>
              <a:path w="2471666" h="3902075" extrusionOk="0">
                <a:moveTo>
                  <a:pt x="1744839" y="0"/>
                </a:moveTo>
                <a:lnTo>
                  <a:pt x="2305806" y="0"/>
                </a:lnTo>
                <a:lnTo>
                  <a:pt x="2305806" y="916396"/>
                </a:lnTo>
                <a:lnTo>
                  <a:pt x="2471666" y="916396"/>
                </a:lnTo>
                <a:lnTo>
                  <a:pt x="2471666" y="3627114"/>
                </a:lnTo>
                <a:lnTo>
                  <a:pt x="2471666" y="3680132"/>
                </a:lnTo>
                <a:lnTo>
                  <a:pt x="2471666" y="3902075"/>
                </a:lnTo>
                <a:lnTo>
                  <a:pt x="745070" y="3898438"/>
                </a:lnTo>
                <a:lnTo>
                  <a:pt x="446612" y="3680132"/>
                </a:lnTo>
                <a:lnTo>
                  <a:pt x="0" y="3680132"/>
                </a:lnTo>
                <a:lnTo>
                  <a:pt x="0" y="916396"/>
                </a:lnTo>
                <a:lnTo>
                  <a:pt x="1388727" y="916396"/>
                </a:lnTo>
                <a:lnTo>
                  <a:pt x="1744839" y="0"/>
                </a:lnTo>
                <a:close/>
              </a:path>
            </a:pathLst>
          </a:cu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1097275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400"/>
              <a:buFont typeface="Trebuchet MS"/>
              <a:buNone/>
            </a:pPr>
            <a:endParaRPr sz="1400" b="0" i="0" u="none" strike="noStrike" cap="none">
              <a:solidFill>
                <a:srgbClr val="30354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67" name="Google Shape;1667;p56"/>
          <p:cNvSpPr txBox="1">
            <a:spLocks noGrp="1"/>
          </p:cNvSpPr>
          <p:nvPr>
            <p:ph type="body" idx="6"/>
          </p:nvPr>
        </p:nvSpPr>
        <p:spPr>
          <a:xfrm>
            <a:off x="920738" y="5132748"/>
            <a:ext cx="133712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 i="0" u="none" strike="noStrike" cap="none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8" name="Google Shape;1668;p56"/>
          <p:cNvSpPr txBox="1">
            <a:spLocks noGrp="1"/>
          </p:cNvSpPr>
          <p:nvPr>
            <p:ph type="body" idx="7"/>
          </p:nvPr>
        </p:nvSpPr>
        <p:spPr>
          <a:xfrm>
            <a:off x="823969" y="5862549"/>
            <a:ext cx="2473200" cy="2862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9" name="Google Shape;1669;p56"/>
          <p:cNvSpPr>
            <a:spLocks noGrp="1"/>
          </p:cNvSpPr>
          <p:nvPr>
            <p:ph type="pic" idx="8"/>
          </p:nvPr>
        </p:nvSpPr>
        <p:spPr>
          <a:xfrm>
            <a:off x="2528371" y="2117060"/>
            <a:ext cx="485775" cy="404142"/>
          </a:xfrm>
          <a:prstGeom prst="rect">
            <a:avLst/>
          </a:prstGeom>
          <a:noFill/>
          <a:ln>
            <a:noFill/>
          </a:ln>
        </p:spPr>
      </p:sp>
      <p:sp>
        <p:nvSpPr>
          <p:cNvPr id="1670" name="Google Shape;1670;p56"/>
          <p:cNvSpPr/>
          <p:nvPr/>
        </p:nvSpPr>
        <p:spPr>
          <a:xfrm>
            <a:off x="3601139" y="1898297"/>
            <a:ext cx="2303351" cy="3797653"/>
          </a:xfrm>
          <a:prstGeom prst="rect">
            <a:avLst/>
          </a:prstGeom>
          <a:solidFill>
            <a:srgbClr val="303540"/>
          </a:solidFill>
          <a:ln>
            <a:noFill/>
          </a:ln>
        </p:spPr>
        <p:txBody>
          <a:bodyPr spcFirstLastPara="1" wrap="square" lIns="91425" tIns="91425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71" name="Google Shape;1671;p56"/>
          <p:cNvSpPr txBox="1">
            <a:spLocks noGrp="1"/>
          </p:cNvSpPr>
          <p:nvPr>
            <p:ph type="body" idx="9"/>
          </p:nvPr>
        </p:nvSpPr>
        <p:spPr>
          <a:xfrm>
            <a:off x="3601140" y="2180632"/>
            <a:ext cx="133712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40"/>
              <a:buFont typeface="Arial"/>
              <a:buNone/>
              <a:defRPr sz="1200" b="1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2" name="Google Shape;1672;p56"/>
          <p:cNvSpPr/>
          <p:nvPr/>
        </p:nvSpPr>
        <p:spPr>
          <a:xfrm>
            <a:off x="3511047" y="1828799"/>
            <a:ext cx="2471666" cy="3902075"/>
          </a:xfrm>
          <a:custGeom>
            <a:avLst/>
            <a:gdLst/>
            <a:ahLst/>
            <a:cxnLst/>
            <a:rect l="l" t="t" r="r" b="b"/>
            <a:pathLst>
              <a:path w="2471666" h="3902075" extrusionOk="0">
                <a:moveTo>
                  <a:pt x="1744839" y="0"/>
                </a:moveTo>
                <a:lnTo>
                  <a:pt x="2305806" y="0"/>
                </a:lnTo>
                <a:lnTo>
                  <a:pt x="2305806" y="916396"/>
                </a:lnTo>
                <a:lnTo>
                  <a:pt x="2471666" y="916396"/>
                </a:lnTo>
                <a:lnTo>
                  <a:pt x="2471666" y="3627114"/>
                </a:lnTo>
                <a:lnTo>
                  <a:pt x="2471666" y="3680132"/>
                </a:lnTo>
                <a:lnTo>
                  <a:pt x="2471666" y="3902075"/>
                </a:lnTo>
                <a:lnTo>
                  <a:pt x="745070" y="3898438"/>
                </a:lnTo>
                <a:lnTo>
                  <a:pt x="446612" y="3680132"/>
                </a:lnTo>
                <a:lnTo>
                  <a:pt x="0" y="3680132"/>
                </a:lnTo>
                <a:lnTo>
                  <a:pt x="0" y="916396"/>
                </a:lnTo>
                <a:lnTo>
                  <a:pt x="1388727" y="916396"/>
                </a:lnTo>
                <a:lnTo>
                  <a:pt x="1744839" y="0"/>
                </a:lnTo>
                <a:close/>
              </a:path>
            </a:pathLst>
          </a:custGeom>
          <a:solidFill>
            <a:schemeClr val="lt1"/>
          </a:solidFill>
          <a:ln w="12700" cap="flat" cmpd="sng">
            <a:solidFill>
              <a:srgbClr val="30354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1097275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400"/>
              <a:buFont typeface="Trebuchet MS"/>
              <a:buNone/>
            </a:pPr>
            <a:endParaRPr sz="1400" b="0" i="0" u="none" strike="noStrike" cap="none">
              <a:solidFill>
                <a:srgbClr val="30354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73" name="Google Shape;1673;p56"/>
          <p:cNvSpPr txBox="1">
            <a:spLocks noGrp="1"/>
          </p:cNvSpPr>
          <p:nvPr>
            <p:ph type="body" idx="13"/>
          </p:nvPr>
        </p:nvSpPr>
        <p:spPr>
          <a:xfrm>
            <a:off x="3601140" y="5132748"/>
            <a:ext cx="133712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4" name="Google Shape;1674;p56"/>
          <p:cNvSpPr txBox="1">
            <a:spLocks noGrp="1"/>
          </p:cNvSpPr>
          <p:nvPr>
            <p:ph type="body" idx="14"/>
          </p:nvPr>
        </p:nvSpPr>
        <p:spPr>
          <a:xfrm>
            <a:off x="3504371" y="5862549"/>
            <a:ext cx="2473200" cy="286232"/>
          </a:xfrm>
          <a:prstGeom prst="rect">
            <a:avLst/>
          </a:prstGeom>
          <a:solidFill>
            <a:srgbClr val="818080"/>
          </a:solidFill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5" name="Google Shape;1675;p56"/>
          <p:cNvSpPr>
            <a:spLocks noGrp="1"/>
          </p:cNvSpPr>
          <p:nvPr>
            <p:ph type="pic" idx="15"/>
          </p:nvPr>
        </p:nvSpPr>
        <p:spPr>
          <a:xfrm>
            <a:off x="5208773" y="2117060"/>
            <a:ext cx="485775" cy="404142"/>
          </a:xfrm>
          <a:prstGeom prst="rect">
            <a:avLst/>
          </a:prstGeom>
          <a:noFill/>
          <a:ln>
            <a:noFill/>
          </a:ln>
        </p:spPr>
      </p:sp>
      <p:sp>
        <p:nvSpPr>
          <p:cNvPr id="1676" name="Google Shape;1676;p56"/>
          <p:cNvSpPr/>
          <p:nvPr/>
        </p:nvSpPr>
        <p:spPr>
          <a:xfrm>
            <a:off x="8977368" y="1898297"/>
            <a:ext cx="2303351" cy="3797653"/>
          </a:xfrm>
          <a:prstGeom prst="rect">
            <a:avLst/>
          </a:prstGeom>
          <a:solidFill>
            <a:srgbClr val="303540"/>
          </a:solidFill>
          <a:ln>
            <a:noFill/>
          </a:ln>
        </p:spPr>
        <p:txBody>
          <a:bodyPr spcFirstLastPara="1" wrap="square" lIns="91425" tIns="91425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1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77" name="Google Shape;1677;p56"/>
          <p:cNvSpPr txBox="1">
            <a:spLocks noGrp="1"/>
          </p:cNvSpPr>
          <p:nvPr>
            <p:ph type="body" idx="16"/>
          </p:nvPr>
        </p:nvSpPr>
        <p:spPr>
          <a:xfrm>
            <a:off x="8977369" y="2180632"/>
            <a:ext cx="133712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440"/>
              <a:buNone/>
              <a:defRPr sz="1200" b="1" i="0" u="none" strike="noStrike" cap="none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8" name="Google Shape;1678;p56"/>
          <p:cNvSpPr/>
          <p:nvPr/>
        </p:nvSpPr>
        <p:spPr>
          <a:xfrm>
            <a:off x="8882134" y="1828799"/>
            <a:ext cx="2471666" cy="3902075"/>
          </a:xfrm>
          <a:custGeom>
            <a:avLst/>
            <a:gdLst/>
            <a:ahLst/>
            <a:cxnLst/>
            <a:rect l="l" t="t" r="r" b="b"/>
            <a:pathLst>
              <a:path w="2471666" h="3902075" extrusionOk="0">
                <a:moveTo>
                  <a:pt x="1744839" y="0"/>
                </a:moveTo>
                <a:lnTo>
                  <a:pt x="2305806" y="0"/>
                </a:lnTo>
                <a:lnTo>
                  <a:pt x="2305806" y="916396"/>
                </a:lnTo>
                <a:lnTo>
                  <a:pt x="2471666" y="916396"/>
                </a:lnTo>
                <a:lnTo>
                  <a:pt x="2471666" y="3627114"/>
                </a:lnTo>
                <a:lnTo>
                  <a:pt x="2471666" y="3680132"/>
                </a:lnTo>
                <a:lnTo>
                  <a:pt x="2471666" y="3902075"/>
                </a:lnTo>
                <a:lnTo>
                  <a:pt x="745070" y="3898438"/>
                </a:lnTo>
                <a:lnTo>
                  <a:pt x="446612" y="3680132"/>
                </a:lnTo>
                <a:lnTo>
                  <a:pt x="0" y="3680132"/>
                </a:lnTo>
                <a:lnTo>
                  <a:pt x="0" y="916396"/>
                </a:lnTo>
                <a:lnTo>
                  <a:pt x="1388727" y="916396"/>
                </a:lnTo>
                <a:lnTo>
                  <a:pt x="1744839" y="0"/>
                </a:lnTo>
                <a:close/>
              </a:path>
            </a:pathLst>
          </a:custGeom>
          <a:solidFill>
            <a:schemeClr val="lt1"/>
          </a:solidFill>
          <a:ln w="12700" cap="flat" cmpd="sng">
            <a:solidFill>
              <a:srgbClr val="30354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1097275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400"/>
              <a:buFont typeface="Trebuchet MS"/>
              <a:buNone/>
            </a:pPr>
            <a:endParaRPr sz="1400" b="0" i="0" u="none" strike="noStrike" cap="none">
              <a:solidFill>
                <a:srgbClr val="30354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79" name="Google Shape;1679;p56"/>
          <p:cNvSpPr txBox="1">
            <a:spLocks noGrp="1"/>
          </p:cNvSpPr>
          <p:nvPr>
            <p:ph type="body" idx="17"/>
          </p:nvPr>
        </p:nvSpPr>
        <p:spPr>
          <a:xfrm>
            <a:off x="8977369" y="5132748"/>
            <a:ext cx="133712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0" name="Google Shape;1680;p56"/>
          <p:cNvSpPr txBox="1">
            <a:spLocks noGrp="1"/>
          </p:cNvSpPr>
          <p:nvPr>
            <p:ph type="body" idx="18"/>
          </p:nvPr>
        </p:nvSpPr>
        <p:spPr>
          <a:xfrm>
            <a:off x="8880600" y="5862549"/>
            <a:ext cx="2473200" cy="286232"/>
          </a:xfrm>
          <a:prstGeom prst="rect">
            <a:avLst/>
          </a:prstGeom>
          <a:solidFill>
            <a:srgbClr val="818080"/>
          </a:solidFill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80"/>
              <a:buNone/>
              <a:defRPr sz="14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―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1" name="Google Shape;1681;p56"/>
          <p:cNvSpPr>
            <a:spLocks noGrp="1"/>
          </p:cNvSpPr>
          <p:nvPr>
            <p:ph type="pic" idx="19"/>
          </p:nvPr>
        </p:nvSpPr>
        <p:spPr>
          <a:xfrm>
            <a:off x="10585002" y="2117060"/>
            <a:ext cx="485775" cy="404142"/>
          </a:xfrm>
          <a:prstGeom prst="rect">
            <a:avLst/>
          </a:prstGeom>
          <a:noFill/>
          <a:ln>
            <a:noFill/>
          </a:ln>
        </p:spPr>
      </p:sp>
      <p:sp>
        <p:nvSpPr>
          <p:cNvPr id="1682" name="Google Shape;1682;p56"/>
          <p:cNvSpPr txBox="1">
            <a:spLocks noGrp="1"/>
          </p:cNvSpPr>
          <p:nvPr>
            <p:ph type="body" idx="20"/>
          </p:nvPr>
        </p:nvSpPr>
        <p:spPr>
          <a:xfrm>
            <a:off x="920738" y="2919741"/>
            <a:ext cx="2303350" cy="2081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80"/>
              <a:buNone/>
              <a:defRPr sz="1400"/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―"/>
              <a:defRPr sz="1400"/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4pPr>
            <a:lvl5pPr marL="2286000" lvl="4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3" name="Google Shape;1683;p56"/>
          <p:cNvSpPr txBox="1">
            <a:spLocks noGrp="1"/>
          </p:cNvSpPr>
          <p:nvPr>
            <p:ph type="body" idx="21"/>
          </p:nvPr>
        </p:nvSpPr>
        <p:spPr>
          <a:xfrm>
            <a:off x="3601140" y="2919741"/>
            <a:ext cx="2303350" cy="2081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80"/>
              <a:buNone/>
              <a:defRPr sz="1400"/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―"/>
              <a:defRPr sz="1400"/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4pPr>
            <a:lvl5pPr marL="2286000" lvl="4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4" name="Google Shape;1684;p56"/>
          <p:cNvSpPr txBox="1">
            <a:spLocks noGrp="1"/>
          </p:cNvSpPr>
          <p:nvPr>
            <p:ph type="body" idx="22"/>
          </p:nvPr>
        </p:nvSpPr>
        <p:spPr>
          <a:xfrm>
            <a:off x="6298117" y="2919741"/>
            <a:ext cx="2303350" cy="2081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80"/>
              <a:buNone/>
              <a:defRPr sz="1400"/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―"/>
              <a:defRPr sz="1400"/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4pPr>
            <a:lvl5pPr marL="2286000" lvl="4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5" name="Google Shape;1685;p56"/>
          <p:cNvSpPr txBox="1">
            <a:spLocks noGrp="1"/>
          </p:cNvSpPr>
          <p:nvPr>
            <p:ph type="body" idx="23"/>
          </p:nvPr>
        </p:nvSpPr>
        <p:spPr>
          <a:xfrm>
            <a:off x="8977369" y="2919741"/>
            <a:ext cx="2303350" cy="2081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80"/>
              <a:buNone/>
              <a:defRPr sz="1400"/>
            </a:lvl1pPr>
            <a:lvl2pPr marL="914400" lvl="1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―"/>
              <a:defRPr sz="1400"/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4pPr>
            <a:lvl5pPr marL="2286000" lvl="4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6" name="Google Shape;1686;p56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ED683155-9509-43B7-7929-38B96E964627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5762181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Content">
  <p:cSld name="4_Title and Content">
    <p:bg>
      <p:bgPr>
        <a:solidFill>
          <a:schemeClr val="lt1"/>
        </a:solidFill>
        <a:effectLst/>
      </p:bgPr>
    </p:bg>
    <p:spTree>
      <p:nvGrpSpPr>
        <p:cNvPr id="1" name="Shape 16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88" name="Google Shape;1688;p57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689" name="Google Shape;1689;p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690" name="Google Shape;1690;p57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691" name="Google Shape;1691;p57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92" name="Google Shape;1692;p5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693" name="Google Shape;1693;p57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95" name="Google Shape;1695;p57"/>
          <p:cNvSpPr>
            <a:spLocks noGrp="1"/>
          </p:cNvSpPr>
          <p:nvPr>
            <p:ph type="pic" idx="2"/>
          </p:nvPr>
        </p:nvSpPr>
        <p:spPr>
          <a:xfrm>
            <a:off x="2362200" y="5253038"/>
            <a:ext cx="1047750" cy="676275"/>
          </a:xfrm>
          <a:prstGeom prst="rect">
            <a:avLst/>
          </a:prstGeom>
          <a:noFill/>
          <a:ln w="9525" cap="flat" cmpd="sng">
            <a:solidFill>
              <a:srgbClr val="747F99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96" name="Google Shape;1696;p57"/>
          <p:cNvSpPr>
            <a:spLocks noGrp="1"/>
          </p:cNvSpPr>
          <p:nvPr>
            <p:ph type="pic" idx="3"/>
          </p:nvPr>
        </p:nvSpPr>
        <p:spPr>
          <a:xfrm>
            <a:off x="6100339" y="5253038"/>
            <a:ext cx="1047750" cy="676275"/>
          </a:xfrm>
          <a:prstGeom prst="rect">
            <a:avLst/>
          </a:prstGeom>
          <a:noFill/>
          <a:ln w="9525" cap="flat" cmpd="sng">
            <a:solidFill>
              <a:srgbClr val="747F99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97" name="Google Shape;1697;p57"/>
          <p:cNvSpPr>
            <a:spLocks noGrp="1"/>
          </p:cNvSpPr>
          <p:nvPr>
            <p:ph type="pic" idx="4"/>
          </p:nvPr>
        </p:nvSpPr>
        <p:spPr>
          <a:xfrm>
            <a:off x="9807998" y="5253038"/>
            <a:ext cx="1047750" cy="676275"/>
          </a:xfrm>
          <a:prstGeom prst="rect">
            <a:avLst/>
          </a:prstGeom>
          <a:noFill/>
          <a:ln w="9525" cap="flat" cmpd="sng">
            <a:solidFill>
              <a:srgbClr val="747F99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98" name="Google Shape;1698;p57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31991453-F70D-724D-A23C-F9D1FE70E104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3675002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Content">
  <p:cSld name="5_Title and Content">
    <p:bg>
      <p:bgPr>
        <a:solidFill>
          <a:schemeClr val="lt1"/>
        </a:solidFill>
        <a:effectLst/>
      </p:bgPr>
    </p:bg>
    <p:spTree>
      <p:nvGrpSpPr>
        <p:cNvPr id="1" name="Shape 1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0" name="Google Shape;1700;p58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01" name="Google Shape;1701;p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02" name="Google Shape;1702;p58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03" name="Google Shape;1703;p58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4" name="Google Shape;1704;p58"/>
          <p:cNvSpPr>
            <a:spLocks noGrp="1"/>
          </p:cNvSpPr>
          <p:nvPr>
            <p:ph type="chart" idx="2"/>
          </p:nvPr>
        </p:nvSpPr>
        <p:spPr>
          <a:xfrm>
            <a:off x="6200813" y="1152245"/>
            <a:ext cx="5384636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160"/>
              <a:buFont typeface="Trebuchet MS"/>
              <a:buNone/>
              <a:defRPr sz="1800" b="1" i="0" u="none" strike="noStrike" cap="none">
                <a:solidFill>
                  <a:srgbClr val="6B768E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rebuchet MS"/>
              <a:buChar char="―"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705" name="Google Shape;1705;p58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06" name="Google Shape;1706;p5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07" name="Google Shape;1707;p58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09" name="Google Shape;1709;p58"/>
          <p:cNvCxnSpPr/>
          <p:nvPr/>
        </p:nvCxnSpPr>
        <p:spPr>
          <a:xfrm>
            <a:off x="6090020" y="1180618"/>
            <a:ext cx="0" cy="5069711"/>
          </a:xfrm>
          <a:prstGeom prst="straightConnector1">
            <a:avLst/>
          </a:prstGeom>
          <a:noFill/>
          <a:ln w="9525" cap="flat" cmpd="sng">
            <a:solidFill>
              <a:srgbClr val="CE285E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10" name="Google Shape;1710;p58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4AFC1EC4-7C30-CE2B-75E0-0B4420149634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4489251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bg>
      <p:bgPr>
        <a:solidFill>
          <a:schemeClr val="lt1"/>
        </a:solidFill>
        <a:effectLst/>
      </p:bgPr>
    </p:bg>
    <p:spTree>
      <p:nvGrpSpPr>
        <p:cNvPr id="1" name="Shape 1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2" name="Google Shape;1712;p59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13" name="Google Shape;1713;p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14" name="Google Shape;1714;p59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15" name="Google Shape;1715;p59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6" name="Google Shape;1716;p59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17" name="Google Shape;1717;p5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18" name="Google Shape;1718;p59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20" name="Google Shape;1720;p59"/>
          <p:cNvCxnSpPr/>
          <p:nvPr/>
        </p:nvCxnSpPr>
        <p:spPr>
          <a:xfrm>
            <a:off x="6090020" y="1180618"/>
            <a:ext cx="0" cy="5069711"/>
          </a:xfrm>
          <a:prstGeom prst="straightConnector1">
            <a:avLst/>
          </a:prstGeom>
          <a:noFill/>
          <a:ln w="9525" cap="flat" cmpd="sng">
            <a:solidFill>
              <a:srgbClr val="CE285E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21" name="Google Shape;1721;p59"/>
          <p:cNvSpPr txBox="1">
            <a:spLocks noGrp="1"/>
          </p:cNvSpPr>
          <p:nvPr>
            <p:ph type="body" idx="2"/>
          </p:nvPr>
        </p:nvSpPr>
        <p:spPr>
          <a:xfrm>
            <a:off x="6185769" y="1180618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2" name="Google Shape;1722;p59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B35F21F1-25CD-8EE0-5D4B-5C61031D39D2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3924923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and Content">
  <p:cSld name="7_Title and Content">
    <p:bg>
      <p:bgPr>
        <a:solidFill>
          <a:schemeClr val="lt1"/>
        </a:solidFill>
        <a:effectLst/>
      </p:bgPr>
    </p:bg>
    <p:spTree>
      <p:nvGrpSpPr>
        <p:cNvPr id="1" name="Shape 1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24" name="Google Shape;1724;p60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25" name="Google Shape;1725;p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26" name="Google Shape;1726;p60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27" name="Google Shape;1727;p60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10967168" cy="22744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8" name="Google Shape;1728;p60"/>
          <p:cNvSpPr>
            <a:spLocks noGrp="1"/>
          </p:cNvSpPr>
          <p:nvPr>
            <p:ph type="chart" idx="2"/>
          </p:nvPr>
        </p:nvSpPr>
        <p:spPr>
          <a:xfrm>
            <a:off x="618089" y="3500581"/>
            <a:ext cx="10967360" cy="27410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160"/>
              <a:buFont typeface="Trebuchet MS"/>
              <a:buNone/>
              <a:defRPr sz="1800" b="1" i="0" u="none" strike="noStrike" cap="none">
                <a:solidFill>
                  <a:srgbClr val="6B768E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rebuchet MS"/>
              <a:buChar char="―"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729" name="Google Shape;1729;p60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30" name="Google Shape;1730;p6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31" name="Google Shape;1731;p60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33" name="Google Shape;1733;p60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EFA3BFF8-4796-1226-A46D-D7B71A1B593D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6983381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and Content">
  <p:cSld name="13_Title and Content">
    <p:bg>
      <p:bgPr>
        <a:solidFill>
          <a:schemeClr val="lt1"/>
        </a:solidFill>
        <a:effectLst/>
      </p:bgPr>
    </p:bg>
    <p:spTree>
      <p:nvGrpSpPr>
        <p:cNvPr id="1" name="Shape 1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5" name="Google Shape;1745;p62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46" name="Google Shape;1746;p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47" name="Google Shape;1747;p62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48" name="Google Shape;1748;p62"/>
          <p:cNvSpPr>
            <a:spLocks noGrp="1"/>
          </p:cNvSpPr>
          <p:nvPr>
            <p:ph type="pic" idx="2"/>
          </p:nvPr>
        </p:nvSpPr>
        <p:spPr>
          <a:xfrm>
            <a:off x="621792" y="1152144"/>
            <a:ext cx="10978514" cy="5097834"/>
          </a:xfrm>
          <a:prstGeom prst="rect">
            <a:avLst/>
          </a:prstGeom>
          <a:noFill/>
          <a:ln>
            <a:noFill/>
          </a:ln>
        </p:spPr>
      </p:sp>
      <p:sp>
        <p:nvSpPr>
          <p:cNvPr id="1749" name="Google Shape;1749;p62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50" name="Google Shape;1750;p6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51" name="Google Shape;1751;p62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53" name="Google Shape;1753;p62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ACF8FBBF-62B6-B32A-AAA4-6CCFC460E3F9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3557331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Content">
  <p:cSld name="9_Title and Content">
    <p:bg>
      <p:bgPr>
        <a:solidFill>
          <a:schemeClr val="lt1"/>
        </a:solidFill>
        <a:effectLst/>
      </p:bgPr>
    </p:bg>
    <p:spTree>
      <p:nvGrpSpPr>
        <p:cNvPr id="1" name="Shape 17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5" name="Google Shape;1755;p63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56" name="Google Shape;1756;p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1700784"/>
            <a:ext cx="12191999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57" name="Google Shape;1757;p63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58" name="Google Shape;1758;p6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59" name="Google Shape;1759;p63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61" name="Google Shape;1761;p63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F7DD113E-34BC-3034-B519-9F978B83810A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5710026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and Content">
  <p:cSld name="8_Title and Content">
    <p:bg>
      <p:bgPr>
        <a:solidFill>
          <a:schemeClr val="lt1"/>
        </a:solidFill>
        <a:effectLst/>
      </p:bgPr>
    </p:bg>
    <p:spTree>
      <p:nvGrpSpPr>
        <p:cNvPr id="1" name="Shape 17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3" name="Google Shape;1763;p64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64" name="Google Shape;1764;p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700784"/>
            <a:ext cx="12192000" cy="2651452"/>
          </a:xfrm>
          <a:prstGeom prst="rect">
            <a:avLst/>
          </a:prstGeom>
          <a:noFill/>
          <a:ln>
            <a:noFill/>
          </a:ln>
        </p:spPr>
      </p:pic>
      <p:sp>
        <p:nvSpPr>
          <p:cNvPr id="1765" name="Google Shape;1765;p64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66" name="Google Shape;1766;p6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67" name="Google Shape;1767;p64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69" name="Google Shape;1769;p64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E9695E3F-005C-1574-3427-10812C45331D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6535239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Content">
  <p:cSld name="10_Title and Content">
    <p:bg>
      <p:bgPr>
        <a:solidFill>
          <a:schemeClr val="lt1"/>
        </a:solidFill>
        <a:effectLst/>
      </p:bgPr>
    </p:bg>
    <p:spTree>
      <p:nvGrpSpPr>
        <p:cNvPr id="1" name="Shape 17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" name="Google Shape;1771;p65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72" name="Google Shape;1772;p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700784"/>
            <a:ext cx="12192000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73" name="Google Shape;1773;p65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74" name="Google Shape;1774;p6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75" name="Google Shape;1775;p65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77" name="Google Shape;1777;p65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3C6E41C2-14D5-C020-C97A-A925CEB6DD0B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959085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6">
            <a:extLst>
              <a:ext uri="{FF2B5EF4-FFF2-40B4-BE49-F238E27FC236}">
                <a16:creationId xmlns:a16="http://schemas.microsoft.com/office/drawing/2014/main" id="{29CB6D6A-2CEC-0D24-99AF-E0DA41884F15}"/>
              </a:ext>
            </a:extLst>
          </p:cNvPr>
          <p:cNvSpPr/>
          <p:nvPr userDrawn="1"/>
        </p:nvSpPr>
        <p:spPr>
          <a:xfrm flipH="1">
            <a:off x="0" y="1843750"/>
            <a:ext cx="12192000" cy="3174366"/>
          </a:xfrm>
          <a:prstGeom prst="rect">
            <a:avLst/>
          </a:prstGeom>
          <a:blipFill dpi="0" rotWithShape="1">
            <a:blip r:embed="rId2" cstate="print">
              <a:alphaModFix amt="7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9A83A944-FF60-304C-D1BD-F1C5BFF682E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55601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Picture Placeholder 20">
            <a:extLst>
              <a:ext uri="{FF2B5EF4-FFF2-40B4-BE49-F238E27FC236}">
                <a16:creationId xmlns:a16="http://schemas.microsoft.com/office/drawing/2014/main" id="{DF2E9B5C-0F8C-D11B-A73A-A799A081890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1634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Picture Placeholder 20">
            <a:extLst>
              <a:ext uri="{FF2B5EF4-FFF2-40B4-BE49-F238E27FC236}">
                <a16:creationId xmlns:a16="http://schemas.microsoft.com/office/drawing/2014/main" id="{FDB7791B-35C3-EB5B-6E0F-239E7126E4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07667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Picture Placeholder 20">
            <a:extLst>
              <a:ext uri="{FF2B5EF4-FFF2-40B4-BE49-F238E27FC236}">
                <a16:creationId xmlns:a16="http://schemas.microsoft.com/office/drawing/2014/main" id="{0C4D3CEC-3D11-58A2-D1A6-E63E093F000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283700" y="1619250"/>
            <a:ext cx="2552700" cy="4006850"/>
          </a:xfrm>
          <a:gradFill flip="none" rotWithShape="1">
            <a:gsLst>
              <a:gs pos="0">
                <a:schemeClr val="accent1">
                  <a:alpha val="10000"/>
                  <a:lumMod val="0"/>
                  <a:lumOff val="100000"/>
                </a:schemeClr>
              </a:gs>
              <a:gs pos="25000">
                <a:schemeClr val="accent1">
                  <a:alpha val="10000"/>
                  <a:lumMod val="0"/>
                  <a:lumOff val="100000"/>
                </a:schemeClr>
              </a:gs>
              <a:gs pos="77000">
                <a:schemeClr val="accent1"/>
              </a:gs>
            </a:gsLst>
            <a:lin ang="5400000" scaled="0"/>
            <a:tileRect/>
          </a:gradFill>
          <a:ln>
            <a:noFill/>
          </a:ln>
          <a:effectLst>
            <a:outerShdw blurRad="762000" dist="508000" dir="81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1524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89E98A5-2D5F-9857-FA5F-471C1215B9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851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D9639330-7193-AE28-2F64-CA53A2DB308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53884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0662FD5-2822-4B58-4DFA-4E301598DC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29917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552D5489-1E2B-CEE3-C6D5-D0F2F77B20A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505949" y="3937000"/>
            <a:ext cx="2108200" cy="1231106"/>
          </a:xfrm>
        </p:spPr>
        <p:txBody>
          <a:bodyPr lIns="0" tIns="0" rIns="0" bIns="0">
            <a:spAutoFit/>
          </a:bodyPr>
          <a:lstStyle>
            <a:lvl1pPr marL="1524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53340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Google Shape;1087;p29">
            <a:extLst>
              <a:ext uri="{FF2B5EF4-FFF2-40B4-BE49-F238E27FC236}">
                <a16:creationId xmlns:a16="http://schemas.microsoft.com/office/drawing/2014/main" id="{811E659C-732D-9BB0-84BF-3C4E0779C4AD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04180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utoRev="1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0" fill="hold"/>
                                        <p:tgtEl>
                                          <p:spTgt spid="4"/>
                                        </p:tgtEl>
                                      </p:cBhvr>
                                      <p:by x="175000" y="17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Content">
  <p:cSld name="11_Title and Content">
    <p:bg>
      <p:bgPr>
        <a:solidFill>
          <a:schemeClr val="lt1"/>
        </a:solidFill>
        <a:effectLst/>
      </p:bgPr>
    </p:bg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9" name="Google Shape;1779;p66"/>
          <p:cNvSpPr/>
          <p:nvPr/>
        </p:nvSpPr>
        <p:spPr>
          <a:xfrm>
            <a:off x="0" y="191498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80" name="Google Shape;1780;p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5753" y="1935244"/>
            <a:ext cx="12197753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81" name="Google Shape;1781;p66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82" name="Google Shape;1782;p6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83" name="Google Shape;1783;p66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85" name="Google Shape;1785;p66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DDFEE698-E291-3A41-AA56-49D14B329F63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1758228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">
  <p:cSld name="7_Title Slide">
    <p:spTree>
      <p:nvGrpSpPr>
        <p:cNvPr id="1" name="Shape 1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8" name="Google Shape;1798;p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799" name="Google Shape;1799;p68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00" name="Google Shape;1800;p68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1" name="Google Shape;1801;p68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03" name="Google Shape;1803;p68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04" name="Google Shape;1804;p68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5" name="Google Shape;1805;p68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6" name="Google Shape;1806;p68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7" name="Google Shape;1807;p68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08" name="Google Shape;1808;p68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09" name="Google Shape;1809;p68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0" name="Google Shape;1810;p68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7AFD7699-C2F0-5E88-59EB-ED7425D9D3A6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1814942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Slide">
  <p:cSld name="10_Title Slide">
    <p:spTree>
      <p:nvGrpSpPr>
        <p:cNvPr id="1" name="Shape 18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12" name="Google Shape;1812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675" y="0"/>
            <a:ext cx="12197753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13" name="Google Shape;1813;p69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14" name="Google Shape;1814;p69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5" name="Google Shape;1815;p69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17" name="Google Shape;1817;p69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18" name="Google Shape;1818;p69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19" name="Google Shape;1819;p69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0" name="Google Shape;1820;p69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1" name="Google Shape;1821;p69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22" name="Google Shape;1822;p69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23" name="Google Shape;1823;p69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4" name="Google Shape;1824;p69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7A3E3A51-887A-B942-B32D-781B0C440E05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0820901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">
  <p:cSld name="8_Title Slide">
    <p:spTree>
      <p:nvGrpSpPr>
        <p:cNvPr id="1" name="Shape 1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26" name="Google Shape;1826;p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407161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27" name="Google Shape;1827;p7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73565" y="0"/>
            <a:ext cx="109184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28" name="Google Shape;1828;p70"/>
          <p:cNvSpPr/>
          <p:nvPr/>
        </p:nvSpPr>
        <p:spPr>
          <a:xfrm rot="5400000">
            <a:off x="-784123" y="500539"/>
            <a:ext cx="6858000" cy="6096000"/>
          </a:xfrm>
          <a:prstGeom prst="flowChartManualInput">
            <a:avLst/>
          </a:prstGeom>
          <a:solidFill>
            <a:srgbClr val="6B768E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29" name="Google Shape;1829;p70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30" name="Google Shape;1830;p70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832" name="Google Shape;1832;p70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33" name="Google Shape;1833;p70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4" name="Google Shape;1834;p70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5" name="Google Shape;1835;p70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6" name="Google Shape;1836;p70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37" name="Google Shape;1837;p70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38" name="Google Shape;1838;p70"/>
          <p:cNvSpPr txBox="1">
            <a:spLocks noGrp="1"/>
          </p:cNvSpPr>
          <p:nvPr>
            <p:ph type="body" idx="1"/>
          </p:nvPr>
        </p:nvSpPr>
        <p:spPr>
          <a:xfrm>
            <a:off x="602684" y="2971800"/>
            <a:ext cx="2870579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9" name="Google Shape;1839;p70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0B6C81CA-E780-F9E4-2215-02F7088D17FE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chemeClr val="bg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bg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00059509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Slide">
  <p:cSld name="9_Title Slide">
    <p:spTree>
      <p:nvGrpSpPr>
        <p:cNvPr id="1" name="Shape 18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1" name="Google Shape;1841;p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42" name="Google Shape;1842;p71"/>
          <p:cNvSpPr/>
          <p:nvPr/>
        </p:nvSpPr>
        <p:spPr>
          <a:xfrm rot="5400000">
            <a:off x="-381000" y="381000"/>
            <a:ext cx="6858000" cy="6096000"/>
          </a:xfrm>
          <a:prstGeom prst="flowChartManualInpu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843" name="Google Shape;1843;p71"/>
          <p:cNvCxnSpPr/>
          <p:nvPr/>
        </p:nvCxnSpPr>
        <p:spPr>
          <a:xfrm>
            <a:off x="4861560" y="0"/>
            <a:ext cx="1234440" cy="68580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44" name="Google Shape;1844;p71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45" name="Google Shape;1845;p71"/>
          <p:cNvSpPr/>
          <p:nvPr/>
        </p:nvSpPr>
        <p:spPr>
          <a:xfrm>
            <a:off x="5214189" y="6492240"/>
            <a:ext cx="176362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/>
          </a:p>
        </p:txBody>
      </p:sp>
      <p:grpSp>
        <p:nvGrpSpPr>
          <p:cNvPr id="1846" name="Google Shape;1846;p71"/>
          <p:cNvGrpSpPr/>
          <p:nvPr/>
        </p:nvGrpSpPr>
        <p:grpSpPr>
          <a:xfrm>
            <a:off x="602685" y="435448"/>
            <a:ext cx="495697" cy="485115"/>
            <a:chOff x="602685" y="435448"/>
            <a:chExt cx="495697" cy="485115"/>
          </a:xfrm>
        </p:grpSpPr>
        <p:sp>
          <p:nvSpPr>
            <p:cNvPr id="1847" name="Google Shape;1847;p71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48" name="Google Shape;1848;p71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49" name="Google Shape;1849;p71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50" name="Google Shape;1850;p71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51" name="Google Shape;1851;p71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852" name="Google Shape;1852;p71"/>
          <p:cNvSpPr txBox="1">
            <a:spLocks noGrp="1"/>
          </p:cNvSpPr>
          <p:nvPr>
            <p:ph type="body" idx="1"/>
          </p:nvPr>
        </p:nvSpPr>
        <p:spPr>
          <a:xfrm>
            <a:off x="771215" y="2971800"/>
            <a:ext cx="2702048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3360"/>
              <a:buNone/>
              <a:defRPr sz="28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3" name="Google Shape;1853;p71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5456884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6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A388954-3991-E110-3336-07A789DD3E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8000"/>
          </a:blip>
          <a:srcRect l="756" r="75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1800082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2992983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386526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1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3EC4C68-DE96-694D-7527-E00612C6FB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9" b="781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4432883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5625784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900190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 preserve="1" userDrawn="1">
  <p:cSld name="11_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702719A-9848-F6A5-1123-DCAD3FC5A2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2" b="7812"/>
          <a:stretch/>
        </p:blipFill>
        <p:spPr>
          <a:xfrm>
            <a:off x="0" y="-29635"/>
            <a:ext cx="12192000" cy="6858000"/>
          </a:xfrm>
          <a:prstGeom prst="rect">
            <a:avLst/>
          </a:prstGeom>
        </p:spPr>
      </p:pic>
      <p:sp>
        <p:nvSpPr>
          <p:cNvPr id="12" name="Google Shape;25;p26">
            <a:extLst>
              <a:ext uri="{FF2B5EF4-FFF2-40B4-BE49-F238E27FC236}">
                <a16:creationId xmlns:a16="http://schemas.microsoft.com/office/drawing/2014/main" id="{D7BE1D79-E2B7-42A5-9F42-159F8C52586D}"/>
              </a:ext>
            </a:extLst>
          </p:cNvPr>
          <p:cNvSpPr txBox="1">
            <a:spLocks noGrp="1"/>
          </p:cNvSpPr>
          <p:nvPr userDrawn="1">
            <p:ph type="ctrTitle"/>
          </p:nvPr>
        </p:nvSpPr>
        <p:spPr>
          <a:xfrm>
            <a:off x="489771" y="2903214"/>
            <a:ext cx="8003989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26;p26">
            <a:extLst>
              <a:ext uri="{FF2B5EF4-FFF2-40B4-BE49-F238E27FC236}">
                <a16:creationId xmlns:a16="http://schemas.microsoft.com/office/drawing/2014/main" id="{7BB96512-ADCC-FD81-9872-DB2FD414FB51}"/>
              </a:ext>
            </a:extLst>
          </p:cNvPr>
          <p:cNvSpPr txBox="1">
            <a:spLocks noGrp="1"/>
          </p:cNvSpPr>
          <p:nvPr userDrawn="1">
            <p:ph type="subTitle" idx="1"/>
          </p:nvPr>
        </p:nvSpPr>
        <p:spPr>
          <a:xfrm>
            <a:off x="489771" y="3956523"/>
            <a:ext cx="5024720" cy="436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tx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6564F7-3539-CBC8-0203-44F07FF63DE3}"/>
              </a:ext>
            </a:extLst>
          </p:cNvPr>
          <p:cNvGrpSpPr/>
          <p:nvPr userDrawn="1"/>
        </p:nvGrpSpPr>
        <p:grpSpPr>
          <a:xfrm>
            <a:off x="489771" y="220135"/>
            <a:ext cx="1246490" cy="977415"/>
            <a:chOff x="339090" y="220135"/>
            <a:chExt cx="1737789" cy="1362657"/>
          </a:xfrm>
        </p:grpSpPr>
        <p:sp>
          <p:nvSpPr>
            <p:cNvPr id="8" name="Google Shape;21;p26">
              <a:extLst>
                <a:ext uri="{FF2B5EF4-FFF2-40B4-BE49-F238E27FC236}">
                  <a16:creationId xmlns:a16="http://schemas.microsoft.com/office/drawing/2014/main" id="{2657A7C2-ABB4-24B3-52A2-1554FA50B6C4}"/>
                </a:ext>
              </a:extLst>
            </p:cNvPr>
            <p:cNvSpPr txBox="1"/>
            <p:nvPr/>
          </p:nvSpPr>
          <p:spPr>
            <a:xfrm>
              <a:off x="395328" y="1432612"/>
              <a:ext cx="1681551" cy="150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700" b="0" i="0" u="none" strike="noStrike" cap="none">
                  <a:solidFill>
                    <a:schemeClr val="tx1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Startup India">
              <a:extLst>
                <a:ext uri="{FF2B5EF4-FFF2-40B4-BE49-F238E27FC236}">
                  <a16:creationId xmlns:a16="http://schemas.microsoft.com/office/drawing/2014/main" id="{EBEDFD23-E35E-F668-6F2D-A187EF24AC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90" y="906704"/>
              <a:ext cx="1737789" cy="47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Satyameva Jayate - Wikipedia">
              <a:extLst>
                <a:ext uri="{FF2B5EF4-FFF2-40B4-BE49-F238E27FC236}">
                  <a16:creationId xmlns:a16="http://schemas.microsoft.com/office/drawing/2014/main" id="{828E353D-D2B5-3662-F049-B93B7BCFF0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87" y="220135"/>
              <a:ext cx="396594" cy="632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200E897A-673E-404A-852A-2914A03ACF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2520" y="172851"/>
            <a:ext cx="3241040" cy="127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725109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B08E10DD-69CA-D5E1-D628-26175D2D4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615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B08E10DD-69CA-D5E1-D628-26175D2D4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21ED39E9-D4C5-C37F-C71E-38B065B9654F}"/>
              </a:ext>
            </a:extLst>
          </p:cNvPr>
          <p:cNvGrpSpPr/>
          <p:nvPr userDrawn="1"/>
        </p:nvGrpSpPr>
        <p:grpSpPr>
          <a:xfrm rot="2319165">
            <a:off x="-2557854" y="-543386"/>
            <a:ext cx="7237713" cy="9700942"/>
            <a:chOff x="-1155181" y="-1277307"/>
            <a:chExt cx="7237713" cy="9700942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193C742-4C70-022D-EFE9-145094A0A98E}"/>
                </a:ext>
              </a:extLst>
            </p:cNvPr>
            <p:cNvSpPr/>
            <p:nvPr/>
          </p:nvSpPr>
          <p:spPr>
            <a:xfrm rot="12719834">
              <a:off x="-1155181" y="-425599"/>
              <a:ext cx="7069449" cy="6718942"/>
            </a:xfrm>
            <a:custGeom>
              <a:avLst/>
              <a:gdLst>
                <a:gd name="connsiteX0" fmla="*/ 1431301 w 1585912"/>
                <a:gd name="connsiteY0" fmla="*/ 292961 h 1271587"/>
                <a:gd name="connsiteX1" fmla="*/ 954146 w 1585912"/>
                <a:gd name="connsiteY1" fmla="*/ 931178 h 1271587"/>
                <a:gd name="connsiteX2" fmla="*/ 158997 w 1585912"/>
                <a:gd name="connsiteY2" fmla="*/ 983471 h 1271587"/>
                <a:gd name="connsiteX3" fmla="*/ 636152 w 1585912"/>
                <a:gd name="connsiteY3" fmla="*/ 345255 h 1271587"/>
                <a:gd name="connsiteX4" fmla="*/ 1431301 w 1585912"/>
                <a:gd name="connsiteY4" fmla="*/ 292961 h 1271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5912" h="1271587">
                  <a:moveTo>
                    <a:pt x="1431301" y="292961"/>
                  </a:moveTo>
                  <a:cubicBezTo>
                    <a:pt x="1519113" y="454760"/>
                    <a:pt x="1305484" y="740499"/>
                    <a:pt x="954146" y="931178"/>
                  </a:cubicBezTo>
                  <a:cubicBezTo>
                    <a:pt x="602809" y="1121857"/>
                    <a:pt x="246809" y="1145269"/>
                    <a:pt x="158997" y="983471"/>
                  </a:cubicBezTo>
                  <a:cubicBezTo>
                    <a:pt x="71185" y="821673"/>
                    <a:pt x="284815" y="535934"/>
                    <a:pt x="636152" y="345255"/>
                  </a:cubicBezTo>
                  <a:cubicBezTo>
                    <a:pt x="987489" y="154576"/>
                    <a:pt x="1343490" y="131163"/>
                    <a:pt x="1431301" y="292961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5BBCE06-72A3-CF21-06BE-88890CA65478}"/>
                </a:ext>
              </a:extLst>
            </p:cNvPr>
            <p:cNvSpPr/>
            <p:nvPr/>
          </p:nvSpPr>
          <p:spPr>
            <a:xfrm rot="12719834">
              <a:off x="-1136236" y="-517952"/>
              <a:ext cx="7069449" cy="7020917"/>
            </a:xfrm>
            <a:custGeom>
              <a:avLst/>
              <a:gdLst>
                <a:gd name="connsiteX0" fmla="*/ 1411027 w 1585912"/>
                <a:gd name="connsiteY0" fmla="*/ 284339 h 1328737"/>
                <a:gd name="connsiteX1" fmla="*/ 969505 w 1585912"/>
                <a:gd name="connsiteY1" fmla="*/ 950896 h 1328737"/>
                <a:gd name="connsiteX2" fmla="*/ 175994 w 1585912"/>
                <a:gd name="connsiteY2" fmla="*/ 1048773 h 1328737"/>
                <a:gd name="connsiteX3" fmla="*/ 617517 w 1585912"/>
                <a:gd name="connsiteY3" fmla="*/ 382217 h 1328737"/>
                <a:gd name="connsiteX4" fmla="*/ 1411027 w 1585912"/>
                <a:gd name="connsiteY4" fmla="*/ 284339 h 1328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5912" h="1328737">
                  <a:moveTo>
                    <a:pt x="1411027" y="284339"/>
                  </a:moveTo>
                  <a:cubicBezTo>
                    <a:pt x="1508226" y="441376"/>
                    <a:pt x="1310550" y="739803"/>
                    <a:pt x="969505" y="950896"/>
                  </a:cubicBezTo>
                  <a:cubicBezTo>
                    <a:pt x="628460" y="1161988"/>
                    <a:pt x="273193" y="1205809"/>
                    <a:pt x="175994" y="1048773"/>
                  </a:cubicBezTo>
                  <a:cubicBezTo>
                    <a:pt x="78795" y="891737"/>
                    <a:pt x="276472" y="593309"/>
                    <a:pt x="617517" y="382217"/>
                  </a:cubicBezTo>
                  <a:cubicBezTo>
                    <a:pt x="958561" y="171124"/>
                    <a:pt x="1313828" y="127303"/>
                    <a:pt x="1411027" y="28433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6AC4768-1C47-EF59-7368-003BFCB065F4}"/>
                </a:ext>
              </a:extLst>
            </p:cNvPr>
            <p:cNvSpPr/>
            <p:nvPr/>
          </p:nvSpPr>
          <p:spPr>
            <a:xfrm rot="12719834">
              <a:off x="-1087663" y="-602764"/>
              <a:ext cx="7037604" cy="7322892"/>
            </a:xfrm>
            <a:custGeom>
              <a:avLst/>
              <a:gdLst>
                <a:gd name="connsiteX0" fmla="*/ 1390706 w 1578768"/>
                <a:gd name="connsiteY0" fmla="*/ 275729 h 1385887"/>
                <a:gd name="connsiteX1" fmla="*/ 984813 w 1578768"/>
                <a:gd name="connsiteY1" fmla="*/ 970584 h 1385887"/>
                <a:gd name="connsiteX2" fmla="*/ 192973 w 1578768"/>
                <a:gd name="connsiteY2" fmla="*/ 1113981 h 1385887"/>
                <a:gd name="connsiteX3" fmla="*/ 598866 w 1578768"/>
                <a:gd name="connsiteY3" fmla="*/ 419126 h 1385887"/>
                <a:gd name="connsiteX4" fmla="*/ 1390706 w 1578768"/>
                <a:gd name="connsiteY4" fmla="*/ 275729 h 1385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8768" h="1385887">
                  <a:moveTo>
                    <a:pt x="1390706" y="275729"/>
                  </a:moveTo>
                  <a:cubicBezTo>
                    <a:pt x="1497282" y="428010"/>
                    <a:pt x="1315557" y="739107"/>
                    <a:pt x="984813" y="970584"/>
                  </a:cubicBezTo>
                  <a:cubicBezTo>
                    <a:pt x="654068" y="1202061"/>
                    <a:pt x="299550" y="1266262"/>
                    <a:pt x="192973" y="1113981"/>
                  </a:cubicBezTo>
                  <a:cubicBezTo>
                    <a:pt x="86397" y="961700"/>
                    <a:pt x="268122" y="650603"/>
                    <a:pt x="598866" y="419126"/>
                  </a:cubicBezTo>
                  <a:cubicBezTo>
                    <a:pt x="929611" y="187649"/>
                    <a:pt x="1284130" y="123448"/>
                    <a:pt x="1390706" y="27572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D9B3055-69F5-607F-2553-968D085F13E7}"/>
                </a:ext>
              </a:extLst>
            </p:cNvPr>
            <p:cNvSpPr/>
            <p:nvPr/>
          </p:nvSpPr>
          <p:spPr>
            <a:xfrm rot="12719834">
              <a:off x="-1068808" y="-695336"/>
              <a:ext cx="7037604" cy="7624867"/>
            </a:xfrm>
            <a:custGeom>
              <a:avLst/>
              <a:gdLst>
                <a:gd name="connsiteX0" fmla="*/ 1370321 w 1578768"/>
                <a:gd name="connsiteY0" fmla="*/ 267117 h 1443037"/>
                <a:gd name="connsiteX1" fmla="*/ 1000115 w 1578768"/>
                <a:gd name="connsiteY1" fmla="*/ 990286 h 1443037"/>
                <a:gd name="connsiteX2" fmla="*/ 209970 w 1578768"/>
                <a:gd name="connsiteY2" fmla="*/ 1179222 h 1443037"/>
                <a:gd name="connsiteX3" fmla="*/ 580176 w 1578768"/>
                <a:gd name="connsiteY3" fmla="*/ 456053 h 1443037"/>
                <a:gd name="connsiteX4" fmla="*/ 1370321 w 1578768"/>
                <a:gd name="connsiteY4" fmla="*/ 267117 h 144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8768" h="1443037">
                  <a:moveTo>
                    <a:pt x="1370321" y="267117"/>
                  </a:moveTo>
                  <a:cubicBezTo>
                    <a:pt x="1486285" y="414641"/>
                    <a:pt x="1320538" y="738415"/>
                    <a:pt x="1000115" y="990286"/>
                  </a:cubicBezTo>
                  <a:cubicBezTo>
                    <a:pt x="679693" y="1242157"/>
                    <a:pt x="325933" y="1326747"/>
                    <a:pt x="209970" y="1179222"/>
                  </a:cubicBezTo>
                  <a:cubicBezTo>
                    <a:pt x="94007" y="1031698"/>
                    <a:pt x="259754" y="707924"/>
                    <a:pt x="580176" y="456053"/>
                  </a:cubicBezTo>
                  <a:cubicBezTo>
                    <a:pt x="900598" y="204182"/>
                    <a:pt x="1254358" y="119592"/>
                    <a:pt x="1370321" y="267117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C162347-504A-F05E-4EE1-30DC953FF46A}"/>
                </a:ext>
              </a:extLst>
            </p:cNvPr>
            <p:cNvSpPr/>
            <p:nvPr/>
          </p:nvSpPr>
          <p:spPr>
            <a:xfrm rot="12719834">
              <a:off x="-1020004" y="-780172"/>
              <a:ext cx="7005759" cy="7926841"/>
            </a:xfrm>
            <a:custGeom>
              <a:avLst/>
              <a:gdLst>
                <a:gd name="connsiteX0" fmla="*/ 1349907 w 1571625"/>
                <a:gd name="connsiteY0" fmla="*/ 258495 h 1500187"/>
                <a:gd name="connsiteX1" fmla="*/ 1015331 w 1571625"/>
                <a:gd name="connsiteY1" fmla="*/ 1009894 h 1500187"/>
                <a:gd name="connsiteX2" fmla="*/ 226918 w 1571625"/>
                <a:gd name="connsiteY2" fmla="*/ 1244304 h 1500187"/>
                <a:gd name="connsiteX3" fmla="*/ 561494 w 1571625"/>
                <a:gd name="connsiteY3" fmla="*/ 492905 h 1500187"/>
                <a:gd name="connsiteX4" fmla="*/ 1349907 w 1571625"/>
                <a:gd name="connsiteY4" fmla="*/ 258495 h 1500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1625" h="1500187">
                  <a:moveTo>
                    <a:pt x="1349907" y="258495"/>
                  </a:moveTo>
                  <a:cubicBezTo>
                    <a:pt x="1475230" y="401257"/>
                    <a:pt x="1325435" y="737670"/>
                    <a:pt x="1015331" y="1009894"/>
                  </a:cubicBezTo>
                  <a:cubicBezTo>
                    <a:pt x="705226" y="1282118"/>
                    <a:pt x="352241" y="1387067"/>
                    <a:pt x="226918" y="1244304"/>
                  </a:cubicBezTo>
                  <a:cubicBezTo>
                    <a:pt x="101595" y="1101541"/>
                    <a:pt x="251390" y="765128"/>
                    <a:pt x="561494" y="492905"/>
                  </a:cubicBezTo>
                  <a:cubicBezTo>
                    <a:pt x="871599" y="220681"/>
                    <a:pt x="1224584" y="115732"/>
                    <a:pt x="1349907" y="258495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C13DE44-6196-6EA4-C521-3A200C26C966}"/>
                </a:ext>
              </a:extLst>
            </p:cNvPr>
            <p:cNvSpPr/>
            <p:nvPr/>
          </p:nvSpPr>
          <p:spPr>
            <a:xfrm rot="12719834">
              <a:off x="-1001227" y="-872830"/>
              <a:ext cx="7005759" cy="8228816"/>
            </a:xfrm>
            <a:custGeom>
              <a:avLst/>
              <a:gdLst>
                <a:gd name="connsiteX0" fmla="*/ 1329506 w 1571625"/>
                <a:gd name="connsiteY0" fmla="*/ 249878 h 1557337"/>
                <a:gd name="connsiteX1" fmla="*/ 1030613 w 1571625"/>
                <a:gd name="connsiteY1" fmla="*/ 1029584 h 1557337"/>
                <a:gd name="connsiteX2" fmla="*/ 243907 w 1571625"/>
                <a:gd name="connsiteY2" fmla="*/ 1309535 h 1557337"/>
                <a:gd name="connsiteX3" fmla="*/ 542799 w 1571625"/>
                <a:gd name="connsiteY3" fmla="*/ 529829 h 1557337"/>
                <a:gd name="connsiteX4" fmla="*/ 1329506 w 1571625"/>
                <a:gd name="connsiteY4" fmla="*/ 249878 h 1557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1625" h="1557337">
                  <a:moveTo>
                    <a:pt x="1329506" y="249878"/>
                  </a:moveTo>
                  <a:cubicBezTo>
                    <a:pt x="1464212" y="387882"/>
                    <a:pt x="1330393" y="736968"/>
                    <a:pt x="1030613" y="1029584"/>
                  </a:cubicBezTo>
                  <a:cubicBezTo>
                    <a:pt x="730833" y="1322201"/>
                    <a:pt x="378613" y="1447539"/>
                    <a:pt x="243907" y="1309535"/>
                  </a:cubicBezTo>
                  <a:cubicBezTo>
                    <a:pt x="109201" y="1171531"/>
                    <a:pt x="243020" y="822445"/>
                    <a:pt x="542799" y="529829"/>
                  </a:cubicBezTo>
                  <a:cubicBezTo>
                    <a:pt x="842579" y="237212"/>
                    <a:pt x="1194800" y="111874"/>
                    <a:pt x="1329506" y="24987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5231B19-E1F3-89D1-D55C-5FC0154D0ADE}"/>
                </a:ext>
              </a:extLst>
            </p:cNvPr>
            <p:cNvSpPr/>
            <p:nvPr/>
          </p:nvSpPr>
          <p:spPr>
            <a:xfrm rot="12719834">
              <a:off x="-952951" y="-957099"/>
              <a:ext cx="6973913" cy="8530791"/>
            </a:xfrm>
            <a:custGeom>
              <a:avLst/>
              <a:gdLst>
                <a:gd name="connsiteX0" fmla="*/ 1309249 w 1564481"/>
                <a:gd name="connsiteY0" fmla="*/ 241318 h 1614487"/>
                <a:gd name="connsiteX1" fmla="*/ 1046028 w 1564481"/>
                <a:gd name="connsiteY1" fmla="*/ 1049404 h 1614487"/>
                <a:gd name="connsiteX2" fmla="*/ 260936 w 1564481"/>
                <a:gd name="connsiteY2" fmla="*/ 1374854 h 1614487"/>
                <a:gd name="connsiteX3" fmla="*/ 524157 w 1564481"/>
                <a:gd name="connsiteY3" fmla="*/ 566768 h 1614487"/>
                <a:gd name="connsiteX4" fmla="*/ 1309249 w 1564481"/>
                <a:gd name="connsiteY4" fmla="*/ 241318 h 1614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4481" h="1614487">
                  <a:moveTo>
                    <a:pt x="1309249" y="241318"/>
                  </a:moveTo>
                  <a:cubicBezTo>
                    <a:pt x="1453360" y="374594"/>
                    <a:pt x="1335512" y="736386"/>
                    <a:pt x="1046028" y="1049404"/>
                  </a:cubicBezTo>
                  <a:cubicBezTo>
                    <a:pt x="756545" y="1362421"/>
                    <a:pt x="405047" y="1508131"/>
                    <a:pt x="260936" y="1374854"/>
                  </a:cubicBezTo>
                  <a:cubicBezTo>
                    <a:pt x="116825" y="1241578"/>
                    <a:pt x="234673" y="879786"/>
                    <a:pt x="524157" y="566768"/>
                  </a:cubicBezTo>
                  <a:cubicBezTo>
                    <a:pt x="813640" y="253751"/>
                    <a:pt x="1165138" y="108042"/>
                    <a:pt x="1309249" y="24131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6A6B6AD-7BDD-0BE6-4A00-5649E0A07CB6}"/>
                </a:ext>
              </a:extLst>
            </p:cNvPr>
            <p:cNvSpPr/>
            <p:nvPr/>
          </p:nvSpPr>
          <p:spPr>
            <a:xfrm rot="12719834">
              <a:off x="-933493" y="-1050527"/>
              <a:ext cx="6973913" cy="8832766"/>
            </a:xfrm>
            <a:custGeom>
              <a:avLst/>
              <a:gdLst>
                <a:gd name="connsiteX0" fmla="*/ 1288764 w 1564481"/>
                <a:gd name="connsiteY0" fmla="*/ 232662 h 1671637"/>
                <a:gd name="connsiteX1" fmla="*/ 1061163 w 1564481"/>
                <a:gd name="connsiteY1" fmla="*/ 1068957 h 1671637"/>
                <a:gd name="connsiteX2" fmla="*/ 277854 w 1564481"/>
                <a:gd name="connsiteY2" fmla="*/ 1439928 h 1671637"/>
                <a:gd name="connsiteX3" fmla="*/ 505455 w 1564481"/>
                <a:gd name="connsiteY3" fmla="*/ 603633 h 1671637"/>
                <a:gd name="connsiteX4" fmla="*/ 1288764 w 1564481"/>
                <a:gd name="connsiteY4" fmla="*/ 232662 h 167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4481" h="1671637">
                  <a:moveTo>
                    <a:pt x="1288764" y="232662"/>
                  </a:moveTo>
                  <a:cubicBezTo>
                    <a:pt x="1442218" y="361158"/>
                    <a:pt x="1340318" y="735580"/>
                    <a:pt x="1061163" y="1068957"/>
                  </a:cubicBezTo>
                  <a:cubicBezTo>
                    <a:pt x="782008" y="1402335"/>
                    <a:pt x="431308" y="1568424"/>
                    <a:pt x="277854" y="1439928"/>
                  </a:cubicBezTo>
                  <a:cubicBezTo>
                    <a:pt x="124399" y="1311432"/>
                    <a:pt x="226300" y="937010"/>
                    <a:pt x="505455" y="603633"/>
                  </a:cubicBezTo>
                  <a:cubicBezTo>
                    <a:pt x="784610" y="270256"/>
                    <a:pt x="1135309" y="104167"/>
                    <a:pt x="1288764" y="232662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D524A24-189A-CAD1-2DA2-664BE1ED3DE2}"/>
                </a:ext>
              </a:extLst>
            </p:cNvPr>
            <p:cNvSpPr/>
            <p:nvPr/>
          </p:nvSpPr>
          <p:spPr>
            <a:xfrm rot="12719834">
              <a:off x="-885098" y="-1134615"/>
              <a:ext cx="6942072" cy="9134741"/>
            </a:xfrm>
            <a:custGeom>
              <a:avLst/>
              <a:gdLst>
                <a:gd name="connsiteX0" fmla="*/ 1268500 w 1557337"/>
                <a:gd name="connsiteY0" fmla="*/ 224088 h 1728787"/>
                <a:gd name="connsiteX1" fmla="*/ 1076537 w 1557337"/>
                <a:gd name="connsiteY1" fmla="*/ 1088742 h 1728787"/>
                <a:gd name="connsiteX2" fmla="*/ 294858 w 1557337"/>
                <a:gd name="connsiteY2" fmla="*/ 1505220 h 1728787"/>
                <a:gd name="connsiteX3" fmla="*/ 486821 w 1557337"/>
                <a:gd name="connsiteY3" fmla="*/ 640566 h 1728787"/>
                <a:gd name="connsiteX4" fmla="*/ 1268500 w 1557337"/>
                <a:gd name="connsiteY4" fmla="*/ 224088 h 172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7337" h="1728787">
                  <a:moveTo>
                    <a:pt x="1268500" y="224088"/>
                  </a:moveTo>
                  <a:cubicBezTo>
                    <a:pt x="1431346" y="347848"/>
                    <a:pt x="1345401" y="734967"/>
                    <a:pt x="1076537" y="1088742"/>
                  </a:cubicBezTo>
                  <a:cubicBezTo>
                    <a:pt x="807674" y="1442517"/>
                    <a:pt x="457704" y="1628980"/>
                    <a:pt x="294858" y="1505220"/>
                  </a:cubicBezTo>
                  <a:cubicBezTo>
                    <a:pt x="132013" y="1381460"/>
                    <a:pt x="217957" y="994341"/>
                    <a:pt x="486821" y="640566"/>
                  </a:cubicBezTo>
                  <a:cubicBezTo>
                    <a:pt x="755684" y="286791"/>
                    <a:pt x="1105654" y="100328"/>
                    <a:pt x="1268500" y="22408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D2823F2-05CA-0731-0E03-DD7549F42960}"/>
                </a:ext>
              </a:extLst>
            </p:cNvPr>
            <p:cNvSpPr/>
            <p:nvPr/>
          </p:nvSpPr>
          <p:spPr>
            <a:xfrm rot="12719834">
              <a:off x="-875996" y="-1192468"/>
              <a:ext cx="6942072" cy="9398967"/>
            </a:xfrm>
            <a:custGeom>
              <a:avLst/>
              <a:gdLst>
                <a:gd name="connsiteX0" fmla="*/ 1248117 w 1557337"/>
                <a:gd name="connsiteY0" fmla="*/ 215488 h 1778793"/>
                <a:gd name="connsiteX1" fmla="*/ 1091822 w 1557337"/>
                <a:gd name="connsiteY1" fmla="*/ 1108437 h 1778793"/>
                <a:gd name="connsiteX2" fmla="*/ 311842 w 1557337"/>
                <a:gd name="connsiteY2" fmla="*/ 1570410 h 1778793"/>
                <a:gd name="connsiteX3" fmla="*/ 468137 w 1557337"/>
                <a:gd name="connsiteY3" fmla="*/ 677461 h 1778793"/>
                <a:gd name="connsiteX4" fmla="*/ 1248117 w 1557337"/>
                <a:gd name="connsiteY4" fmla="*/ 215488 h 1778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7337" h="1778793">
                  <a:moveTo>
                    <a:pt x="1248117" y="215488"/>
                  </a:moveTo>
                  <a:cubicBezTo>
                    <a:pt x="1420342" y="334499"/>
                    <a:pt x="1350367" y="734286"/>
                    <a:pt x="1091822" y="1108437"/>
                  </a:cubicBezTo>
                  <a:cubicBezTo>
                    <a:pt x="833277" y="1482589"/>
                    <a:pt x="484068" y="1689421"/>
                    <a:pt x="311842" y="1570410"/>
                  </a:cubicBezTo>
                  <a:cubicBezTo>
                    <a:pt x="139617" y="1451399"/>
                    <a:pt x="209592" y="1051612"/>
                    <a:pt x="468137" y="677461"/>
                  </a:cubicBezTo>
                  <a:cubicBezTo>
                    <a:pt x="726682" y="303309"/>
                    <a:pt x="1075891" y="96477"/>
                    <a:pt x="1248117" y="21548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7F2CBE4-4771-E88E-91B5-BB7F447F3D1D}"/>
                </a:ext>
              </a:extLst>
            </p:cNvPr>
            <p:cNvSpPr/>
            <p:nvPr/>
          </p:nvSpPr>
          <p:spPr>
            <a:xfrm rot="12719834">
              <a:off x="-827695" y="-1277307"/>
              <a:ext cx="6910227" cy="9700942"/>
            </a:xfrm>
            <a:custGeom>
              <a:avLst/>
              <a:gdLst>
                <a:gd name="connsiteX0" fmla="*/ 1227627 w 1550193"/>
                <a:gd name="connsiteY0" fmla="*/ 206864 h 1835943"/>
                <a:gd name="connsiteX1" fmla="*/ 1107024 w 1550193"/>
                <a:gd name="connsiteY1" fmla="*/ 1128058 h 1835943"/>
                <a:gd name="connsiteX2" fmla="*/ 328807 w 1550193"/>
                <a:gd name="connsiteY2" fmla="*/ 1635524 h 1835943"/>
                <a:gd name="connsiteX3" fmla="*/ 449410 w 1550193"/>
                <a:gd name="connsiteY3" fmla="*/ 714330 h 1835943"/>
                <a:gd name="connsiteX4" fmla="*/ 1227627 w 1550193"/>
                <a:gd name="connsiteY4" fmla="*/ 206864 h 1835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3" h="1835943">
                  <a:moveTo>
                    <a:pt x="1227627" y="206864"/>
                  </a:moveTo>
                  <a:cubicBezTo>
                    <a:pt x="1409223" y="321112"/>
                    <a:pt x="1355227" y="733545"/>
                    <a:pt x="1107024" y="1128058"/>
                  </a:cubicBezTo>
                  <a:cubicBezTo>
                    <a:pt x="858822" y="1522572"/>
                    <a:pt x="510402" y="1749772"/>
                    <a:pt x="328807" y="1635524"/>
                  </a:cubicBezTo>
                  <a:cubicBezTo>
                    <a:pt x="147212" y="1521276"/>
                    <a:pt x="201208" y="1108844"/>
                    <a:pt x="449410" y="714330"/>
                  </a:cubicBezTo>
                  <a:cubicBezTo>
                    <a:pt x="697613" y="319816"/>
                    <a:pt x="1046032" y="92616"/>
                    <a:pt x="1227627" y="20686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8BAB81F-7332-2381-D9F7-873AF54864A7}"/>
              </a:ext>
            </a:extLst>
          </p:cNvPr>
          <p:cNvGrpSpPr/>
          <p:nvPr userDrawn="1"/>
        </p:nvGrpSpPr>
        <p:grpSpPr>
          <a:xfrm rot="12719834" flipH="1" flipV="1">
            <a:off x="7034123" y="-317736"/>
            <a:ext cx="7958849" cy="6416967"/>
            <a:chOff x="-4827378" y="2019376"/>
            <a:chExt cx="1785435" cy="1214438"/>
          </a:xfrm>
        </p:grpSpPr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6476732A-CDF1-88B3-D733-EC3A8D1D0DA2}"/>
                </a:ext>
              </a:extLst>
            </p:cNvPr>
            <p:cNvSpPr/>
            <p:nvPr/>
          </p:nvSpPr>
          <p:spPr>
            <a:xfrm>
              <a:off x="-4777874" y="2257838"/>
              <a:ext cx="1735931" cy="892969"/>
            </a:xfrm>
            <a:custGeom>
              <a:avLst/>
              <a:gdLst>
                <a:gd name="connsiteX0" fmla="*/ 897594 w 1735931"/>
                <a:gd name="connsiteY0" fmla="*/ 60834 h 892968"/>
                <a:gd name="connsiteX1" fmla="*/ 1711129 w 1735931"/>
                <a:gd name="connsiteY1" fmla="*/ 509278 h 892968"/>
                <a:gd name="connsiteX2" fmla="*/ 841555 w 1735931"/>
                <a:gd name="connsiteY2" fmla="*/ 836053 h 892968"/>
                <a:gd name="connsiteX3" fmla="*/ 28020 w 1735931"/>
                <a:gd name="connsiteY3" fmla="*/ 387610 h 892968"/>
                <a:gd name="connsiteX4" fmla="*/ 897594 w 1735931"/>
                <a:gd name="connsiteY4" fmla="*/ 60834 h 89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5931" h="892968">
                  <a:moveTo>
                    <a:pt x="897594" y="60834"/>
                  </a:moveTo>
                  <a:cubicBezTo>
                    <a:pt x="1362372" y="94432"/>
                    <a:pt x="1726604" y="295207"/>
                    <a:pt x="1711129" y="509278"/>
                  </a:cubicBezTo>
                  <a:cubicBezTo>
                    <a:pt x="1695654" y="723349"/>
                    <a:pt x="1306333" y="869651"/>
                    <a:pt x="841555" y="836053"/>
                  </a:cubicBezTo>
                  <a:cubicBezTo>
                    <a:pt x="376777" y="802456"/>
                    <a:pt x="12545" y="601680"/>
                    <a:pt x="28020" y="387610"/>
                  </a:cubicBezTo>
                  <a:cubicBezTo>
                    <a:pt x="43494" y="173539"/>
                    <a:pt x="432816" y="27236"/>
                    <a:pt x="897594" y="6083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7" name="Freeform: Shape 1056">
              <a:extLst>
                <a:ext uri="{FF2B5EF4-FFF2-40B4-BE49-F238E27FC236}">
                  <a16:creationId xmlns:a16="http://schemas.microsoft.com/office/drawing/2014/main" id="{AC649FFA-15AF-3348-0443-4BE5362B539D}"/>
                </a:ext>
              </a:extLst>
            </p:cNvPr>
            <p:cNvSpPr/>
            <p:nvPr/>
          </p:nvSpPr>
          <p:spPr>
            <a:xfrm>
              <a:off x="-4754405" y="2295675"/>
              <a:ext cx="1664494" cy="800100"/>
            </a:xfrm>
            <a:custGeom>
              <a:avLst/>
              <a:gdLst>
                <a:gd name="connsiteX0" fmla="*/ 844905 w 1664493"/>
                <a:gd name="connsiteY0" fmla="*/ 23874 h 800100"/>
                <a:gd name="connsiteX1" fmla="*/ 1656828 w 1664493"/>
                <a:gd name="connsiteY1" fmla="*/ 426715 h 800100"/>
                <a:gd name="connsiteX2" fmla="*/ 822917 w 1664493"/>
                <a:gd name="connsiteY2" fmla="*/ 781808 h 800100"/>
                <a:gd name="connsiteX3" fmla="*/ 10994 w 1664493"/>
                <a:gd name="connsiteY3" fmla="*/ 378967 h 800100"/>
                <a:gd name="connsiteX4" fmla="*/ 844905 w 1664493"/>
                <a:gd name="connsiteY4" fmla="*/ 23874 h 8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4493" h="800100">
                  <a:moveTo>
                    <a:pt x="844905" y="23874"/>
                  </a:moveTo>
                  <a:cubicBezTo>
                    <a:pt x="1299390" y="37059"/>
                    <a:pt x="1662900" y="217418"/>
                    <a:pt x="1656828" y="426715"/>
                  </a:cubicBezTo>
                  <a:cubicBezTo>
                    <a:pt x="1650756" y="636013"/>
                    <a:pt x="1277401" y="794994"/>
                    <a:pt x="822917" y="781808"/>
                  </a:cubicBezTo>
                  <a:cubicBezTo>
                    <a:pt x="368432" y="768623"/>
                    <a:pt x="4922" y="588265"/>
                    <a:pt x="10994" y="378967"/>
                  </a:cubicBezTo>
                  <a:cubicBezTo>
                    <a:pt x="17067" y="169669"/>
                    <a:pt x="390421" y="10689"/>
                    <a:pt x="844905" y="23874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8" name="Freeform: Shape 1057">
              <a:extLst>
                <a:ext uri="{FF2B5EF4-FFF2-40B4-BE49-F238E27FC236}">
                  <a16:creationId xmlns:a16="http://schemas.microsoft.com/office/drawing/2014/main" id="{77F8F7DD-C6F7-B3DD-259F-E4F7EC2B82B5}"/>
                </a:ext>
              </a:extLst>
            </p:cNvPr>
            <p:cNvSpPr/>
            <p:nvPr/>
          </p:nvSpPr>
          <p:spPr>
            <a:xfrm>
              <a:off x="-4743007" y="2307477"/>
              <a:ext cx="1614488" cy="764381"/>
            </a:xfrm>
            <a:custGeom>
              <a:avLst/>
              <a:gdLst>
                <a:gd name="connsiteX0" fmla="*/ 1614612 w 1614487"/>
                <a:gd name="connsiteY0" fmla="*/ 370366 h 764381"/>
                <a:gd name="connsiteX1" fmla="*/ 816307 w 1614487"/>
                <a:gd name="connsiteY1" fmla="*/ 753764 h 764381"/>
                <a:gd name="connsiteX2" fmla="*/ 6001 w 1614487"/>
                <a:gd name="connsiteY2" fmla="*/ 396429 h 764381"/>
                <a:gd name="connsiteX3" fmla="*/ 804306 w 1614487"/>
                <a:gd name="connsiteY3" fmla="*/ 13031 h 764381"/>
                <a:gd name="connsiteX4" fmla="*/ 1614612 w 1614487"/>
                <a:gd name="connsiteY4" fmla="*/ 370366 h 76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4487" h="764381">
                  <a:moveTo>
                    <a:pt x="1614612" y="370366"/>
                  </a:moveTo>
                  <a:cubicBezTo>
                    <a:pt x="1617926" y="574914"/>
                    <a:pt x="1260513" y="746567"/>
                    <a:pt x="816307" y="753764"/>
                  </a:cubicBezTo>
                  <a:cubicBezTo>
                    <a:pt x="372101" y="760961"/>
                    <a:pt x="9315" y="600976"/>
                    <a:pt x="6001" y="396429"/>
                  </a:cubicBezTo>
                  <a:cubicBezTo>
                    <a:pt x="2687" y="191881"/>
                    <a:pt x="360100" y="20228"/>
                    <a:pt x="804306" y="13031"/>
                  </a:cubicBezTo>
                  <a:cubicBezTo>
                    <a:pt x="1248512" y="5834"/>
                    <a:pt x="1611298" y="165819"/>
                    <a:pt x="1614612" y="370366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E0054EFC-3394-2A82-8010-F0CB3BA2C744}"/>
                </a:ext>
              </a:extLst>
            </p:cNvPr>
            <p:cNvSpPr/>
            <p:nvPr/>
          </p:nvSpPr>
          <p:spPr>
            <a:xfrm>
              <a:off x="-4753560" y="2271461"/>
              <a:ext cx="1614488" cy="821531"/>
            </a:xfrm>
            <a:custGeom>
              <a:avLst/>
              <a:gdLst>
                <a:gd name="connsiteX0" fmla="*/ 1594177 w 1614487"/>
                <a:gd name="connsiteY0" fmla="*/ 361820 h 821531"/>
                <a:gd name="connsiteX1" fmla="*/ 831566 w 1614487"/>
                <a:gd name="connsiteY1" fmla="*/ 773547 h 821531"/>
                <a:gd name="connsiteX2" fmla="*/ 22985 w 1614487"/>
                <a:gd name="connsiteY2" fmla="*/ 461633 h 821531"/>
                <a:gd name="connsiteX3" fmla="*/ 785596 w 1614487"/>
                <a:gd name="connsiteY3" fmla="*/ 49907 h 821531"/>
                <a:gd name="connsiteX4" fmla="*/ 1594177 w 1614487"/>
                <a:gd name="connsiteY4" fmla="*/ 361820 h 821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4487" h="821531">
                  <a:moveTo>
                    <a:pt x="1594177" y="361820"/>
                  </a:moveTo>
                  <a:cubicBezTo>
                    <a:pt x="1606871" y="561648"/>
                    <a:pt x="1265439" y="745984"/>
                    <a:pt x="831566" y="773547"/>
                  </a:cubicBezTo>
                  <a:cubicBezTo>
                    <a:pt x="397694" y="801110"/>
                    <a:pt x="35680" y="661461"/>
                    <a:pt x="22985" y="461633"/>
                  </a:cubicBezTo>
                  <a:cubicBezTo>
                    <a:pt x="10291" y="261806"/>
                    <a:pt x="351723" y="77469"/>
                    <a:pt x="785596" y="49907"/>
                  </a:cubicBezTo>
                  <a:cubicBezTo>
                    <a:pt x="1219468" y="22344"/>
                    <a:pt x="1581482" y="161992"/>
                    <a:pt x="1594177" y="361820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2C968A61-CA01-5766-57A1-6F38CC9696DD}"/>
                </a:ext>
              </a:extLst>
            </p:cNvPr>
            <p:cNvSpPr/>
            <p:nvPr/>
          </p:nvSpPr>
          <p:spPr>
            <a:xfrm>
              <a:off x="-4764106" y="2235387"/>
              <a:ext cx="1607344" cy="878681"/>
            </a:xfrm>
            <a:custGeom>
              <a:avLst/>
              <a:gdLst>
                <a:gd name="connsiteX0" fmla="*/ 1573733 w 1607343"/>
                <a:gd name="connsiteY0" fmla="*/ 353198 h 878681"/>
                <a:gd name="connsiteX1" fmla="*/ 846853 w 1607343"/>
                <a:gd name="connsiteY1" fmla="*/ 793225 h 878681"/>
                <a:gd name="connsiteX2" fmla="*/ 39991 w 1607343"/>
                <a:gd name="connsiteY2" fmla="*/ 526855 h 878681"/>
                <a:gd name="connsiteX3" fmla="*/ 766871 w 1607343"/>
                <a:gd name="connsiteY3" fmla="*/ 86829 h 878681"/>
                <a:gd name="connsiteX4" fmla="*/ 1573733 w 1607343"/>
                <a:gd name="connsiteY4" fmla="*/ 353198 h 87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343" h="878681">
                  <a:moveTo>
                    <a:pt x="1573733" y="353198"/>
                  </a:moveTo>
                  <a:cubicBezTo>
                    <a:pt x="1595820" y="548264"/>
                    <a:pt x="1270384" y="745271"/>
                    <a:pt x="846853" y="793225"/>
                  </a:cubicBezTo>
                  <a:cubicBezTo>
                    <a:pt x="423321" y="841179"/>
                    <a:pt x="62077" y="721921"/>
                    <a:pt x="39991" y="526855"/>
                  </a:cubicBezTo>
                  <a:cubicBezTo>
                    <a:pt x="17904" y="331790"/>
                    <a:pt x="343340" y="134783"/>
                    <a:pt x="766871" y="86829"/>
                  </a:cubicBezTo>
                  <a:cubicBezTo>
                    <a:pt x="1190403" y="38875"/>
                    <a:pt x="1551647" y="158132"/>
                    <a:pt x="1573733" y="35319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4397680E-5590-AFCB-53D6-4BAFB434042B}"/>
                </a:ext>
              </a:extLst>
            </p:cNvPr>
            <p:cNvSpPr/>
            <p:nvPr/>
          </p:nvSpPr>
          <p:spPr>
            <a:xfrm>
              <a:off x="-4774598" y="2199446"/>
              <a:ext cx="1607344" cy="935831"/>
            </a:xfrm>
            <a:custGeom>
              <a:avLst/>
              <a:gdLst>
                <a:gd name="connsiteX0" fmla="*/ 1553436 w 1607343"/>
                <a:gd name="connsiteY0" fmla="*/ 344578 h 935831"/>
                <a:gd name="connsiteX1" fmla="*/ 862216 w 1607343"/>
                <a:gd name="connsiteY1" fmla="*/ 812923 h 935831"/>
                <a:gd name="connsiteX2" fmla="*/ 56999 w 1607343"/>
                <a:gd name="connsiteY2" fmla="*/ 592113 h 935831"/>
                <a:gd name="connsiteX3" fmla="*/ 748218 w 1607343"/>
                <a:gd name="connsiteY3" fmla="*/ 123768 h 935831"/>
                <a:gd name="connsiteX4" fmla="*/ 1553436 w 1607343"/>
                <a:gd name="connsiteY4" fmla="*/ 344578 h 935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7343" h="935831">
                  <a:moveTo>
                    <a:pt x="1553436" y="344578"/>
                  </a:moveTo>
                  <a:cubicBezTo>
                    <a:pt x="1584915" y="534883"/>
                    <a:pt x="1275446" y="744568"/>
                    <a:pt x="862216" y="812923"/>
                  </a:cubicBezTo>
                  <a:cubicBezTo>
                    <a:pt x="448987" y="881278"/>
                    <a:pt x="88479" y="782418"/>
                    <a:pt x="56999" y="592113"/>
                  </a:cubicBezTo>
                  <a:cubicBezTo>
                    <a:pt x="25519" y="401808"/>
                    <a:pt x="334989" y="192123"/>
                    <a:pt x="748218" y="123768"/>
                  </a:cubicBezTo>
                  <a:cubicBezTo>
                    <a:pt x="1161448" y="55413"/>
                    <a:pt x="1521956" y="154273"/>
                    <a:pt x="1553436" y="344578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E3715307-43BF-3B7A-0725-69FE8138A8FD}"/>
                </a:ext>
              </a:extLst>
            </p:cNvPr>
            <p:cNvSpPr/>
            <p:nvPr/>
          </p:nvSpPr>
          <p:spPr>
            <a:xfrm>
              <a:off x="-4785143" y="2163398"/>
              <a:ext cx="1600200" cy="992981"/>
            </a:xfrm>
            <a:custGeom>
              <a:avLst/>
              <a:gdLst>
                <a:gd name="connsiteX0" fmla="*/ 1533087 w 1600200"/>
                <a:gd name="connsiteY0" fmla="*/ 335992 h 992981"/>
                <a:gd name="connsiteX1" fmla="*/ 877549 w 1600200"/>
                <a:gd name="connsiteY1" fmla="*/ 832669 h 992981"/>
                <a:gd name="connsiteX2" fmla="*/ 74004 w 1600200"/>
                <a:gd name="connsiteY2" fmla="*/ 657361 h 992981"/>
                <a:gd name="connsiteX3" fmla="*/ 729542 w 1600200"/>
                <a:gd name="connsiteY3" fmla="*/ 160684 h 992981"/>
                <a:gd name="connsiteX4" fmla="*/ 1533087 w 1600200"/>
                <a:gd name="connsiteY4" fmla="*/ 335992 h 99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992981">
                  <a:moveTo>
                    <a:pt x="1533087" y="335992"/>
                  </a:moveTo>
                  <a:cubicBezTo>
                    <a:pt x="1573958" y="521556"/>
                    <a:pt x="1280464" y="743926"/>
                    <a:pt x="877549" y="832669"/>
                  </a:cubicBezTo>
                  <a:cubicBezTo>
                    <a:pt x="474634" y="921413"/>
                    <a:pt x="114875" y="842925"/>
                    <a:pt x="74004" y="657361"/>
                  </a:cubicBezTo>
                  <a:cubicBezTo>
                    <a:pt x="33133" y="471798"/>
                    <a:pt x="326627" y="249428"/>
                    <a:pt x="729542" y="160684"/>
                  </a:cubicBezTo>
                  <a:cubicBezTo>
                    <a:pt x="1132457" y="71941"/>
                    <a:pt x="1492216" y="150429"/>
                    <a:pt x="1533087" y="335992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2948DA9A-D63A-D8F3-EFA8-C1F8D80B176B}"/>
                </a:ext>
              </a:extLst>
            </p:cNvPr>
            <p:cNvSpPr/>
            <p:nvPr/>
          </p:nvSpPr>
          <p:spPr>
            <a:xfrm>
              <a:off x="-4795681" y="2127450"/>
              <a:ext cx="1600200" cy="1042988"/>
            </a:xfrm>
            <a:custGeom>
              <a:avLst/>
              <a:gdLst>
                <a:gd name="connsiteX0" fmla="*/ 1512740 w 1600200"/>
                <a:gd name="connsiteY0" fmla="*/ 327356 h 1042987"/>
                <a:gd name="connsiteX1" fmla="*/ 892850 w 1600200"/>
                <a:gd name="connsiteY1" fmla="*/ 852296 h 1042987"/>
                <a:gd name="connsiteX2" fmla="*/ 90987 w 1600200"/>
                <a:gd name="connsiteY2" fmla="*/ 722525 h 1042987"/>
                <a:gd name="connsiteX3" fmla="*/ 710877 w 1600200"/>
                <a:gd name="connsiteY3" fmla="*/ 197585 h 1042987"/>
                <a:gd name="connsiteX4" fmla="*/ 1512740 w 1600200"/>
                <a:gd name="connsiteY4" fmla="*/ 327356 h 104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1042987">
                  <a:moveTo>
                    <a:pt x="1512740" y="327356"/>
                  </a:moveTo>
                  <a:cubicBezTo>
                    <a:pt x="1562991" y="508149"/>
                    <a:pt x="1285457" y="743173"/>
                    <a:pt x="892850" y="852296"/>
                  </a:cubicBezTo>
                  <a:cubicBezTo>
                    <a:pt x="500244" y="961419"/>
                    <a:pt x="141238" y="903318"/>
                    <a:pt x="90987" y="722525"/>
                  </a:cubicBezTo>
                  <a:cubicBezTo>
                    <a:pt x="40736" y="541731"/>
                    <a:pt x="318270" y="306708"/>
                    <a:pt x="710877" y="197585"/>
                  </a:cubicBezTo>
                  <a:cubicBezTo>
                    <a:pt x="1103483" y="88462"/>
                    <a:pt x="1462490" y="146562"/>
                    <a:pt x="1512740" y="327356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502F26D5-90BB-2EF9-5256-D348BABDBE35}"/>
                </a:ext>
              </a:extLst>
            </p:cNvPr>
            <p:cNvSpPr/>
            <p:nvPr/>
          </p:nvSpPr>
          <p:spPr>
            <a:xfrm>
              <a:off x="-4806260" y="2091330"/>
              <a:ext cx="1600200" cy="1100138"/>
            </a:xfrm>
            <a:custGeom>
              <a:avLst/>
              <a:gdLst>
                <a:gd name="connsiteX0" fmla="*/ 1492424 w 1600200"/>
                <a:gd name="connsiteY0" fmla="*/ 318739 h 1100137"/>
                <a:gd name="connsiteX1" fmla="*/ 908206 w 1600200"/>
                <a:gd name="connsiteY1" fmla="*/ 872016 h 1100137"/>
                <a:gd name="connsiteX2" fmla="*/ 107996 w 1600200"/>
                <a:gd name="connsiteY2" fmla="*/ 787816 h 1100137"/>
                <a:gd name="connsiteX3" fmla="*/ 692214 w 1600200"/>
                <a:gd name="connsiteY3" fmla="*/ 234538 h 1100137"/>
                <a:gd name="connsiteX4" fmla="*/ 1492424 w 1600200"/>
                <a:gd name="connsiteY4" fmla="*/ 318739 h 110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00" h="1100137">
                  <a:moveTo>
                    <a:pt x="1492424" y="318739"/>
                  </a:moveTo>
                  <a:cubicBezTo>
                    <a:pt x="1552069" y="494774"/>
                    <a:pt x="1290506" y="742484"/>
                    <a:pt x="908206" y="872016"/>
                  </a:cubicBezTo>
                  <a:cubicBezTo>
                    <a:pt x="525907" y="1001548"/>
                    <a:pt x="167641" y="963851"/>
                    <a:pt x="107996" y="787816"/>
                  </a:cubicBezTo>
                  <a:cubicBezTo>
                    <a:pt x="48352" y="611781"/>
                    <a:pt x="309915" y="364070"/>
                    <a:pt x="692214" y="234538"/>
                  </a:cubicBezTo>
                  <a:cubicBezTo>
                    <a:pt x="1074513" y="105006"/>
                    <a:pt x="1432779" y="142704"/>
                    <a:pt x="1492424" y="318739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CF94FF0A-332F-97BD-E1C2-D1084DEBD282}"/>
                </a:ext>
              </a:extLst>
            </p:cNvPr>
            <p:cNvSpPr/>
            <p:nvPr/>
          </p:nvSpPr>
          <p:spPr>
            <a:xfrm>
              <a:off x="-4816830" y="2055397"/>
              <a:ext cx="1593056" cy="1157288"/>
            </a:xfrm>
            <a:custGeom>
              <a:avLst/>
              <a:gdLst>
                <a:gd name="connsiteX0" fmla="*/ 1472029 w 1593056"/>
                <a:gd name="connsiteY0" fmla="*/ 310155 h 1157287"/>
                <a:gd name="connsiteX1" fmla="*/ 923512 w 1593056"/>
                <a:gd name="connsiteY1" fmla="*/ 891749 h 1157287"/>
                <a:gd name="connsiteX2" fmla="*/ 124998 w 1593056"/>
                <a:gd name="connsiteY2" fmla="*/ 853034 h 1157287"/>
                <a:gd name="connsiteX3" fmla="*/ 673516 w 1593056"/>
                <a:gd name="connsiteY3" fmla="*/ 271439 h 1157287"/>
                <a:gd name="connsiteX4" fmla="*/ 1472029 w 1593056"/>
                <a:gd name="connsiteY4" fmla="*/ 310155 h 1157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056" h="1157287">
                  <a:moveTo>
                    <a:pt x="1472029" y="310155"/>
                  </a:moveTo>
                  <a:cubicBezTo>
                    <a:pt x="1541064" y="481449"/>
                    <a:pt x="1295485" y="741838"/>
                    <a:pt x="923512" y="891749"/>
                  </a:cubicBezTo>
                  <a:cubicBezTo>
                    <a:pt x="551540" y="1041661"/>
                    <a:pt x="194033" y="1024328"/>
                    <a:pt x="124998" y="853034"/>
                  </a:cubicBezTo>
                  <a:cubicBezTo>
                    <a:pt x="55964" y="681740"/>
                    <a:pt x="301543" y="421351"/>
                    <a:pt x="673516" y="271439"/>
                  </a:cubicBezTo>
                  <a:cubicBezTo>
                    <a:pt x="1045488" y="121528"/>
                    <a:pt x="1402995" y="138861"/>
                    <a:pt x="1472029" y="310155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0B7A706C-59A5-0866-C377-8A02CB075E9A}"/>
                </a:ext>
              </a:extLst>
            </p:cNvPr>
            <p:cNvSpPr/>
            <p:nvPr/>
          </p:nvSpPr>
          <p:spPr>
            <a:xfrm>
              <a:off x="-4827378" y="2019376"/>
              <a:ext cx="1593056" cy="1214438"/>
            </a:xfrm>
            <a:custGeom>
              <a:avLst/>
              <a:gdLst>
                <a:gd name="connsiteX0" fmla="*/ 1451650 w 1593056"/>
                <a:gd name="connsiteY0" fmla="*/ 301561 h 1214437"/>
                <a:gd name="connsiteX1" fmla="*/ 938821 w 1593056"/>
                <a:gd name="connsiteY1" fmla="*/ 911463 h 1214437"/>
                <a:gd name="connsiteX2" fmla="*/ 141997 w 1593056"/>
                <a:gd name="connsiteY2" fmla="*/ 918243 h 1214437"/>
                <a:gd name="connsiteX3" fmla="*/ 654826 w 1593056"/>
                <a:gd name="connsiteY3" fmla="*/ 308341 h 1214437"/>
                <a:gd name="connsiteX4" fmla="*/ 1451650 w 1593056"/>
                <a:gd name="connsiteY4" fmla="*/ 301561 h 1214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056" h="1214437">
                  <a:moveTo>
                    <a:pt x="1451650" y="301561"/>
                  </a:moveTo>
                  <a:cubicBezTo>
                    <a:pt x="1530073" y="468109"/>
                    <a:pt x="1300472" y="741171"/>
                    <a:pt x="938821" y="911463"/>
                  </a:cubicBezTo>
                  <a:cubicBezTo>
                    <a:pt x="577171" y="1081755"/>
                    <a:pt x="220421" y="1084791"/>
                    <a:pt x="141997" y="918243"/>
                  </a:cubicBezTo>
                  <a:cubicBezTo>
                    <a:pt x="63574" y="751695"/>
                    <a:pt x="293176" y="478633"/>
                    <a:pt x="654826" y="308341"/>
                  </a:cubicBezTo>
                  <a:cubicBezTo>
                    <a:pt x="1016477" y="138049"/>
                    <a:pt x="1373227" y="135014"/>
                    <a:pt x="1451650" y="301561"/>
                  </a:cubicBezTo>
                  <a:close/>
                </a:path>
              </a:pathLst>
            </a:custGeom>
            <a:noFill/>
            <a:ln w="3175" cap="flat">
              <a:gradFill>
                <a:gsLst>
                  <a:gs pos="50000">
                    <a:schemeClr val="accent2">
                      <a:alpha val="25000"/>
                    </a:schemeClr>
                  </a:gs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76" name="Google Shape;1076;p28"/>
          <p:cNvSpPr txBox="1">
            <a:spLocks noGrp="1"/>
          </p:cNvSpPr>
          <p:nvPr userDrawn="1"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 userDrawn="1"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140F960-55AB-F934-BBDF-1FBFCB36A2E2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355602" y="1663700"/>
            <a:ext cx="2651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E84BD6A0-84E1-DA53-BFD2-BE722C5E843A}"/>
              </a:ext>
            </a:extLst>
          </p:cNvPr>
          <p:cNvSpPr>
            <a:spLocks noGrp="1"/>
          </p:cNvSpPr>
          <p:nvPr userDrawn="1">
            <p:ph type="pic" sz="quarter" idx="14"/>
          </p:nvPr>
        </p:nvSpPr>
        <p:spPr>
          <a:xfrm>
            <a:off x="3298600" y="1663700"/>
            <a:ext cx="2651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212FEDA-705E-C91A-5555-AF3B60761418}"/>
              </a:ext>
            </a:extLst>
          </p:cNvPr>
          <p:cNvSpPr>
            <a:spLocks noGrp="1"/>
          </p:cNvSpPr>
          <p:nvPr userDrawn="1">
            <p:ph type="pic" sz="quarter" idx="15"/>
          </p:nvPr>
        </p:nvSpPr>
        <p:spPr>
          <a:xfrm>
            <a:off x="6241598" y="1663700"/>
            <a:ext cx="2651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9D139C4-044D-BA63-2384-38DA8F910FA6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526315" y="3691426"/>
            <a:ext cx="2310374" cy="861774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92B6296-3FB5-4866-BDD5-EEA1765F41DC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3469781" y="3691426"/>
            <a:ext cx="2309813" cy="830997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C1E5D530-236A-6F52-17B0-816435D45484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6412686" y="3691426"/>
            <a:ext cx="2309813" cy="830997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266420AF-A2C6-8BEB-8B49-E436B1247089}"/>
              </a:ext>
            </a:extLst>
          </p:cNvPr>
          <p:cNvSpPr>
            <a:spLocks noGrp="1"/>
          </p:cNvSpPr>
          <p:nvPr userDrawn="1">
            <p:ph type="pic" sz="quarter" idx="23"/>
          </p:nvPr>
        </p:nvSpPr>
        <p:spPr>
          <a:xfrm>
            <a:off x="9184597" y="1663700"/>
            <a:ext cx="2651802" cy="1384299"/>
          </a:xfrm>
          <a:prstGeom prst="round2SameRect">
            <a:avLst/>
          </a:prstGeom>
        </p:spPr>
        <p:txBody>
          <a:bodyPr/>
          <a:lstStyle>
            <a:lvl1pPr marL="1524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4F935C07-A2FD-EC74-C445-62A67840F6B4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9355592" y="3691426"/>
            <a:ext cx="2309813" cy="830997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2pPr>
            <a:lvl3pPr marL="10160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14859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194310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781C5E85-9ADE-EED0-A84B-28FAA0B3D1BD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864577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0" presetClass="path" presetSubtype="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10872 0.00208 L 8.33333E-7 7.40741E-7 " pathEditMode="relative" rAng="0" ptsTypes="AA">
                                      <p:cBhvr>
                                        <p:cTn id="9" dur="3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443" y="-11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0" presetClass="path" presetSubtype="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12279 -0.00023 L 4.79167E-6 2.22222E-6 " pathEditMode="relative" rAng="0" ptsTypes="AA">
                                      <p:cBhvr>
                                        <p:cTn id="14" dur="3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3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Slide">
  <p:cSld name="11_Title Slid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oogle Shape;31;p21"/>
          <p:cNvGrpSpPr/>
          <p:nvPr/>
        </p:nvGrpSpPr>
        <p:grpSpPr>
          <a:xfrm rot="10800000">
            <a:off x="-1521801" y="-1248075"/>
            <a:ext cx="5848979" cy="5709390"/>
            <a:chOff x="7397166" y="1622082"/>
            <a:chExt cx="5848979" cy="5709390"/>
          </a:xfrm>
        </p:grpSpPr>
        <p:sp>
          <p:nvSpPr>
            <p:cNvPr id="32" name="Google Shape;32;p21"/>
            <p:cNvSpPr/>
            <p:nvPr/>
          </p:nvSpPr>
          <p:spPr>
            <a:xfrm>
              <a:off x="10477398" y="5718001"/>
              <a:ext cx="477907" cy="649771"/>
            </a:xfrm>
            <a:custGeom>
              <a:avLst/>
              <a:gdLst/>
              <a:ahLst/>
              <a:cxnLst/>
              <a:rect l="l" t="t" r="r" b="b"/>
              <a:pathLst>
                <a:path w="477907" h="649771" extrusionOk="0">
                  <a:moveTo>
                    <a:pt x="295155" y="649771"/>
                  </a:moveTo>
                  <a:cubicBezTo>
                    <a:pt x="294250" y="649771"/>
                    <a:pt x="293346" y="649047"/>
                    <a:pt x="292803" y="648143"/>
                  </a:cubicBezTo>
                  <a:lnTo>
                    <a:pt x="181" y="3759"/>
                  </a:lnTo>
                  <a:cubicBezTo>
                    <a:pt x="-181" y="2855"/>
                    <a:pt x="0" y="1589"/>
                    <a:pt x="723" y="865"/>
                  </a:cubicBezTo>
                  <a:cubicBezTo>
                    <a:pt x="1447" y="142"/>
                    <a:pt x="2532" y="-220"/>
                    <a:pt x="3617" y="142"/>
                  </a:cubicBezTo>
                  <a:lnTo>
                    <a:pt x="476009" y="168879"/>
                  </a:lnTo>
                  <a:cubicBezTo>
                    <a:pt x="476732" y="169060"/>
                    <a:pt x="477275" y="169602"/>
                    <a:pt x="477637" y="170326"/>
                  </a:cubicBezTo>
                  <a:cubicBezTo>
                    <a:pt x="477998" y="171049"/>
                    <a:pt x="477998" y="171773"/>
                    <a:pt x="477637" y="172496"/>
                  </a:cubicBezTo>
                  <a:lnTo>
                    <a:pt x="297867" y="647962"/>
                  </a:lnTo>
                  <a:cubicBezTo>
                    <a:pt x="297506" y="649047"/>
                    <a:pt x="296601" y="649590"/>
                    <a:pt x="295516" y="649771"/>
                  </a:cubicBezTo>
                  <a:cubicBezTo>
                    <a:pt x="295335" y="649771"/>
                    <a:pt x="295335" y="649771"/>
                    <a:pt x="295155" y="649771"/>
                  </a:cubicBezTo>
                  <a:close/>
                  <a:moveTo>
                    <a:pt x="7777" y="7376"/>
                  </a:moveTo>
                  <a:lnTo>
                    <a:pt x="295155" y="640005"/>
                  </a:lnTo>
                  <a:lnTo>
                    <a:pt x="471668" y="173039"/>
                  </a:lnTo>
                  <a:lnTo>
                    <a:pt x="7777" y="737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3" name="Google Shape;33;p21"/>
            <p:cNvSpPr/>
            <p:nvPr/>
          </p:nvSpPr>
          <p:spPr>
            <a:xfrm>
              <a:off x="12225625" y="2550403"/>
              <a:ext cx="532328" cy="277143"/>
            </a:xfrm>
            <a:custGeom>
              <a:avLst/>
              <a:gdLst/>
              <a:ahLst/>
              <a:cxnLst/>
              <a:rect l="l" t="t" r="r" b="b"/>
              <a:pathLst>
                <a:path w="532328" h="277143" extrusionOk="0">
                  <a:moveTo>
                    <a:pt x="2445" y="277143"/>
                  </a:moveTo>
                  <a:cubicBezTo>
                    <a:pt x="1360" y="277143"/>
                    <a:pt x="275" y="276239"/>
                    <a:pt x="94" y="275154"/>
                  </a:cubicBezTo>
                  <a:cubicBezTo>
                    <a:pt x="-268" y="273888"/>
                    <a:pt x="456" y="272622"/>
                    <a:pt x="1541" y="272079"/>
                  </a:cubicBezTo>
                  <a:lnTo>
                    <a:pt x="528370" y="255"/>
                  </a:lnTo>
                  <a:cubicBezTo>
                    <a:pt x="529636" y="-288"/>
                    <a:pt x="530902" y="74"/>
                    <a:pt x="531807" y="978"/>
                  </a:cubicBezTo>
                  <a:cubicBezTo>
                    <a:pt x="532530" y="2063"/>
                    <a:pt x="532530" y="3510"/>
                    <a:pt x="531626" y="4415"/>
                  </a:cubicBezTo>
                  <a:lnTo>
                    <a:pt x="270833" y="274249"/>
                  </a:lnTo>
                  <a:cubicBezTo>
                    <a:pt x="270291" y="274792"/>
                    <a:pt x="269568" y="274973"/>
                    <a:pt x="268844" y="274973"/>
                  </a:cubicBezTo>
                  <a:lnTo>
                    <a:pt x="2626" y="276962"/>
                  </a:lnTo>
                  <a:cubicBezTo>
                    <a:pt x="2445" y="277143"/>
                    <a:pt x="2445" y="277143"/>
                    <a:pt x="2445" y="277143"/>
                  </a:cubicBezTo>
                  <a:close/>
                  <a:moveTo>
                    <a:pt x="516253" y="12553"/>
                  </a:moveTo>
                  <a:lnTo>
                    <a:pt x="13839" y="271717"/>
                  </a:lnTo>
                  <a:lnTo>
                    <a:pt x="267578" y="269728"/>
                  </a:lnTo>
                  <a:lnTo>
                    <a:pt x="516253" y="12553"/>
                  </a:lnTo>
                  <a:close/>
                  <a:moveTo>
                    <a:pt x="268663" y="272441"/>
                  </a:moveTo>
                  <a:lnTo>
                    <a:pt x="268663" y="272441"/>
                  </a:lnTo>
                  <a:lnTo>
                    <a:pt x="268663" y="2724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4" name="Google Shape;34;p21"/>
            <p:cNvSpPr/>
            <p:nvPr/>
          </p:nvSpPr>
          <p:spPr>
            <a:xfrm>
              <a:off x="11516226" y="1647471"/>
              <a:ext cx="1241602" cy="908431"/>
            </a:xfrm>
            <a:custGeom>
              <a:avLst/>
              <a:gdLst/>
              <a:ahLst/>
              <a:cxnLst/>
              <a:rect l="l" t="t" r="r" b="b"/>
              <a:pathLst>
                <a:path w="1241602" h="908431" extrusionOk="0">
                  <a:moveTo>
                    <a:pt x="1238673" y="908432"/>
                  </a:moveTo>
                  <a:cubicBezTo>
                    <a:pt x="1238311" y="908432"/>
                    <a:pt x="1237769" y="908251"/>
                    <a:pt x="1237406" y="908070"/>
                  </a:cubicBezTo>
                  <a:lnTo>
                    <a:pt x="1266" y="124428"/>
                  </a:lnTo>
                  <a:cubicBezTo>
                    <a:pt x="543" y="123885"/>
                    <a:pt x="0" y="123162"/>
                    <a:pt x="0" y="122258"/>
                  </a:cubicBezTo>
                  <a:cubicBezTo>
                    <a:pt x="0" y="121353"/>
                    <a:pt x="362" y="120630"/>
                    <a:pt x="1085" y="120087"/>
                  </a:cubicBezTo>
                  <a:lnTo>
                    <a:pt x="151918" y="543"/>
                  </a:lnTo>
                  <a:cubicBezTo>
                    <a:pt x="153003" y="-181"/>
                    <a:pt x="154269" y="-181"/>
                    <a:pt x="155354" y="543"/>
                  </a:cubicBezTo>
                  <a:lnTo>
                    <a:pt x="1240662" y="903549"/>
                  </a:lnTo>
                  <a:cubicBezTo>
                    <a:pt x="1241747" y="904453"/>
                    <a:pt x="1241928" y="906081"/>
                    <a:pt x="1241024" y="907166"/>
                  </a:cubicBezTo>
                  <a:cubicBezTo>
                    <a:pt x="1240481" y="908070"/>
                    <a:pt x="1239577" y="908432"/>
                    <a:pt x="1238673" y="908432"/>
                  </a:cubicBezTo>
                  <a:close/>
                  <a:moveTo>
                    <a:pt x="7415" y="121896"/>
                  </a:moveTo>
                  <a:lnTo>
                    <a:pt x="1205214" y="881123"/>
                  </a:lnTo>
                  <a:lnTo>
                    <a:pt x="153546" y="6149"/>
                  </a:lnTo>
                  <a:lnTo>
                    <a:pt x="7415" y="1218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5" name="Google Shape;35;p21"/>
            <p:cNvSpPr/>
            <p:nvPr/>
          </p:nvSpPr>
          <p:spPr>
            <a:xfrm>
              <a:off x="11516323" y="1766931"/>
              <a:ext cx="1241651" cy="1060689"/>
            </a:xfrm>
            <a:custGeom>
              <a:avLst/>
              <a:gdLst/>
              <a:ahLst/>
              <a:cxnLst/>
              <a:rect l="l" t="t" r="r" b="b"/>
              <a:pathLst>
                <a:path w="1241651" h="1060689" extrusionOk="0">
                  <a:moveTo>
                    <a:pt x="711747" y="1060615"/>
                  </a:moveTo>
                  <a:cubicBezTo>
                    <a:pt x="711024" y="1060615"/>
                    <a:pt x="710119" y="1060072"/>
                    <a:pt x="709758" y="1059349"/>
                  </a:cubicBezTo>
                  <a:lnTo>
                    <a:pt x="446" y="4244"/>
                  </a:lnTo>
                  <a:cubicBezTo>
                    <a:pt x="-277" y="3159"/>
                    <a:pt x="-96" y="1712"/>
                    <a:pt x="808" y="808"/>
                  </a:cubicBezTo>
                  <a:cubicBezTo>
                    <a:pt x="1712" y="-96"/>
                    <a:pt x="3159" y="-277"/>
                    <a:pt x="4244" y="446"/>
                  </a:cubicBezTo>
                  <a:lnTo>
                    <a:pt x="1240385" y="783908"/>
                  </a:lnTo>
                  <a:cubicBezTo>
                    <a:pt x="1241109" y="784450"/>
                    <a:pt x="1241651" y="785355"/>
                    <a:pt x="1241651" y="786259"/>
                  </a:cubicBezTo>
                  <a:cubicBezTo>
                    <a:pt x="1241651" y="787163"/>
                    <a:pt x="1241109" y="788067"/>
                    <a:pt x="1240204" y="788610"/>
                  </a:cubicBezTo>
                  <a:lnTo>
                    <a:pt x="713375" y="1060434"/>
                  </a:lnTo>
                  <a:cubicBezTo>
                    <a:pt x="712652" y="1060615"/>
                    <a:pt x="712109" y="1060796"/>
                    <a:pt x="711747" y="1060615"/>
                  </a:cubicBezTo>
                  <a:close/>
                  <a:moveTo>
                    <a:pt x="12021" y="11840"/>
                  </a:moveTo>
                  <a:lnTo>
                    <a:pt x="712832" y="1054466"/>
                  </a:lnTo>
                  <a:lnTo>
                    <a:pt x="1233512" y="785897"/>
                  </a:lnTo>
                  <a:lnTo>
                    <a:pt x="12021" y="1184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6" name="Google Shape;36;p21"/>
            <p:cNvSpPr/>
            <p:nvPr/>
          </p:nvSpPr>
          <p:spPr>
            <a:xfrm>
              <a:off x="8737035" y="5586119"/>
              <a:ext cx="850605" cy="232217"/>
            </a:xfrm>
            <a:custGeom>
              <a:avLst/>
              <a:gdLst/>
              <a:ahLst/>
              <a:cxnLst/>
              <a:rect l="l" t="t" r="r" b="b"/>
              <a:pathLst>
                <a:path w="850605" h="232217" extrusionOk="0">
                  <a:moveTo>
                    <a:pt x="818548" y="232217"/>
                  </a:moveTo>
                  <a:cubicBezTo>
                    <a:pt x="818367" y="232217"/>
                    <a:pt x="818367" y="232217"/>
                    <a:pt x="818186" y="232217"/>
                  </a:cubicBezTo>
                  <a:lnTo>
                    <a:pt x="2170" y="68905"/>
                  </a:lnTo>
                  <a:cubicBezTo>
                    <a:pt x="904" y="68725"/>
                    <a:pt x="0" y="67459"/>
                    <a:pt x="0" y="66012"/>
                  </a:cubicBezTo>
                  <a:cubicBezTo>
                    <a:pt x="0" y="64746"/>
                    <a:pt x="1085" y="63661"/>
                    <a:pt x="2532" y="63480"/>
                  </a:cubicBezTo>
                  <a:lnTo>
                    <a:pt x="847665" y="0"/>
                  </a:lnTo>
                  <a:cubicBezTo>
                    <a:pt x="848389" y="0"/>
                    <a:pt x="849293" y="181"/>
                    <a:pt x="849835" y="904"/>
                  </a:cubicBezTo>
                  <a:cubicBezTo>
                    <a:pt x="850378" y="1447"/>
                    <a:pt x="850740" y="2351"/>
                    <a:pt x="850559" y="3074"/>
                  </a:cubicBezTo>
                  <a:lnTo>
                    <a:pt x="821441" y="229685"/>
                  </a:lnTo>
                  <a:cubicBezTo>
                    <a:pt x="821441" y="230408"/>
                    <a:pt x="820899" y="231132"/>
                    <a:pt x="820356" y="231494"/>
                  </a:cubicBezTo>
                  <a:cubicBezTo>
                    <a:pt x="819813" y="232036"/>
                    <a:pt x="819090" y="232217"/>
                    <a:pt x="818548" y="232217"/>
                  </a:cubicBezTo>
                  <a:close/>
                  <a:moveTo>
                    <a:pt x="22426" y="67459"/>
                  </a:moveTo>
                  <a:lnTo>
                    <a:pt x="816377" y="226249"/>
                  </a:lnTo>
                  <a:lnTo>
                    <a:pt x="844591" y="5787"/>
                  </a:lnTo>
                  <a:lnTo>
                    <a:pt x="22426" y="6745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7" name="Google Shape;37;p21"/>
            <p:cNvSpPr/>
            <p:nvPr/>
          </p:nvSpPr>
          <p:spPr>
            <a:xfrm>
              <a:off x="9553004" y="5586432"/>
              <a:ext cx="930000" cy="231903"/>
            </a:xfrm>
            <a:custGeom>
              <a:avLst/>
              <a:gdLst/>
              <a:ahLst/>
              <a:cxnLst/>
              <a:rect l="l" t="t" r="r" b="b"/>
              <a:pathLst>
                <a:path w="930000" h="231903" extrusionOk="0">
                  <a:moveTo>
                    <a:pt x="2579" y="231903"/>
                  </a:moveTo>
                  <a:cubicBezTo>
                    <a:pt x="1856" y="231903"/>
                    <a:pt x="1313" y="231542"/>
                    <a:pt x="770" y="231180"/>
                  </a:cubicBezTo>
                  <a:cubicBezTo>
                    <a:pt x="228" y="230638"/>
                    <a:pt x="-134" y="229733"/>
                    <a:pt x="47" y="229010"/>
                  </a:cubicBezTo>
                  <a:lnTo>
                    <a:pt x="29165" y="2399"/>
                  </a:lnTo>
                  <a:cubicBezTo>
                    <a:pt x="29165" y="1676"/>
                    <a:pt x="29707" y="952"/>
                    <a:pt x="30250" y="591"/>
                  </a:cubicBezTo>
                  <a:cubicBezTo>
                    <a:pt x="30792" y="229"/>
                    <a:pt x="31516" y="-133"/>
                    <a:pt x="32239" y="48"/>
                  </a:cubicBezTo>
                  <a:lnTo>
                    <a:pt x="927650" y="131710"/>
                  </a:lnTo>
                  <a:cubicBezTo>
                    <a:pt x="928916" y="131891"/>
                    <a:pt x="930001" y="133157"/>
                    <a:pt x="930001" y="134423"/>
                  </a:cubicBezTo>
                  <a:cubicBezTo>
                    <a:pt x="930001" y="135870"/>
                    <a:pt x="928916" y="136955"/>
                    <a:pt x="927650" y="136955"/>
                  </a:cubicBezTo>
                  <a:lnTo>
                    <a:pt x="3122" y="231903"/>
                  </a:lnTo>
                  <a:cubicBezTo>
                    <a:pt x="2760" y="231903"/>
                    <a:pt x="2760" y="231903"/>
                    <a:pt x="2579" y="231903"/>
                  </a:cubicBezTo>
                  <a:close/>
                  <a:moveTo>
                    <a:pt x="34048" y="5655"/>
                  </a:moveTo>
                  <a:lnTo>
                    <a:pt x="5834" y="226297"/>
                  </a:lnTo>
                  <a:lnTo>
                    <a:pt x="905405" y="133880"/>
                  </a:lnTo>
                  <a:lnTo>
                    <a:pt x="34048" y="56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8" name="Google Shape;38;p21"/>
            <p:cNvSpPr/>
            <p:nvPr/>
          </p:nvSpPr>
          <p:spPr>
            <a:xfrm>
              <a:off x="9581960" y="5271675"/>
              <a:ext cx="900910" cy="451760"/>
            </a:xfrm>
            <a:custGeom>
              <a:avLst/>
              <a:gdLst/>
              <a:ahLst/>
              <a:cxnLst/>
              <a:rect l="l" t="t" r="r" b="b"/>
              <a:pathLst>
                <a:path w="900910" h="451760" extrusionOk="0">
                  <a:moveTo>
                    <a:pt x="897970" y="451712"/>
                  </a:moveTo>
                  <a:cubicBezTo>
                    <a:pt x="897970" y="451712"/>
                    <a:pt x="897789" y="451712"/>
                    <a:pt x="897789" y="451712"/>
                  </a:cubicBezTo>
                  <a:lnTo>
                    <a:pt x="2379" y="320050"/>
                  </a:lnTo>
                  <a:cubicBezTo>
                    <a:pt x="1113" y="319870"/>
                    <a:pt x="208" y="318965"/>
                    <a:pt x="27" y="317699"/>
                  </a:cubicBezTo>
                  <a:cubicBezTo>
                    <a:pt x="-153" y="316433"/>
                    <a:pt x="570" y="315348"/>
                    <a:pt x="1836" y="314806"/>
                  </a:cubicBezTo>
                  <a:lnTo>
                    <a:pt x="829064" y="119"/>
                  </a:lnTo>
                  <a:cubicBezTo>
                    <a:pt x="829788" y="-62"/>
                    <a:pt x="830692" y="-62"/>
                    <a:pt x="831416" y="300"/>
                  </a:cubicBezTo>
                  <a:cubicBezTo>
                    <a:pt x="832139" y="661"/>
                    <a:pt x="832682" y="1385"/>
                    <a:pt x="832682" y="2289"/>
                  </a:cubicBezTo>
                  <a:lnTo>
                    <a:pt x="900864" y="448819"/>
                  </a:lnTo>
                  <a:cubicBezTo>
                    <a:pt x="901045" y="449723"/>
                    <a:pt x="900683" y="450446"/>
                    <a:pt x="900140" y="451170"/>
                  </a:cubicBezTo>
                  <a:cubicBezTo>
                    <a:pt x="899598" y="451532"/>
                    <a:pt x="898874" y="451893"/>
                    <a:pt x="897970" y="451712"/>
                  </a:cubicBezTo>
                  <a:close/>
                  <a:moveTo>
                    <a:pt x="13411" y="316252"/>
                  </a:moveTo>
                  <a:lnTo>
                    <a:pt x="894895" y="445925"/>
                  </a:lnTo>
                  <a:lnTo>
                    <a:pt x="827799" y="6449"/>
                  </a:lnTo>
                  <a:lnTo>
                    <a:pt x="13411" y="3162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9" name="Google Shape;39;p21"/>
            <p:cNvSpPr/>
            <p:nvPr/>
          </p:nvSpPr>
          <p:spPr>
            <a:xfrm>
              <a:off x="7438868" y="5835663"/>
              <a:ext cx="648244" cy="773982"/>
            </a:xfrm>
            <a:custGeom>
              <a:avLst/>
              <a:gdLst/>
              <a:ahLst/>
              <a:cxnLst/>
              <a:rect l="l" t="t" r="r" b="b"/>
              <a:pathLst>
                <a:path w="648244" h="773982" extrusionOk="0">
                  <a:moveTo>
                    <a:pt x="2526" y="773911"/>
                  </a:moveTo>
                  <a:cubicBezTo>
                    <a:pt x="1983" y="773911"/>
                    <a:pt x="1441" y="773730"/>
                    <a:pt x="898" y="773188"/>
                  </a:cubicBezTo>
                  <a:cubicBezTo>
                    <a:pt x="-6" y="772465"/>
                    <a:pt x="-187" y="771198"/>
                    <a:pt x="175" y="770113"/>
                  </a:cubicBezTo>
                  <a:lnTo>
                    <a:pt x="350671" y="1663"/>
                  </a:lnTo>
                  <a:cubicBezTo>
                    <a:pt x="351032" y="758"/>
                    <a:pt x="351937" y="216"/>
                    <a:pt x="352841" y="35"/>
                  </a:cubicBezTo>
                  <a:cubicBezTo>
                    <a:pt x="353745" y="-146"/>
                    <a:pt x="354649" y="397"/>
                    <a:pt x="355192" y="1120"/>
                  </a:cubicBezTo>
                  <a:lnTo>
                    <a:pt x="647634" y="386702"/>
                  </a:lnTo>
                  <a:cubicBezTo>
                    <a:pt x="648176" y="387244"/>
                    <a:pt x="648357" y="388149"/>
                    <a:pt x="648176" y="388872"/>
                  </a:cubicBezTo>
                  <a:cubicBezTo>
                    <a:pt x="647995" y="389595"/>
                    <a:pt x="647634" y="390319"/>
                    <a:pt x="646910" y="390681"/>
                  </a:cubicBezTo>
                  <a:lnTo>
                    <a:pt x="4153" y="773550"/>
                  </a:lnTo>
                  <a:cubicBezTo>
                    <a:pt x="3611" y="773911"/>
                    <a:pt x="3068" y="774092"/>
                    <a:pt x="2526" y="773911"/>
                  </a:cubicBezTo>
                  <a:close/>
                  <a:moveTo>
                    <a:pt x="353745" y="8174"/>
                  </a:moveTo>
                  <a:lnTo>
                    <a:pt x="8675" y="764507"/>
                  </a:lnTo>
                  <a:lnTo>
                    <a:pt x="641485" y="387606"/>
                  </a:lnTo>
                  <a:lnTo>
                    <a:pt x="353745" y="817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0" name="Google Shape;40;p21"/>
            <p:cNvSpPr/>
            <p:nvPr/>
          </p:nvSpPr>
          <p:spPr>
            <a:xfrm>
              <a:off x="9553051" y="5717926"/>
              <a:ext cx="929840" cy="819487"/>
            </a:xfrm>
            <a:custGeom>
              <a:avLst/>
              <a:gdLst/>
              <a:ahLst/>
              <a:cxnLst/>
              <a:rect l="l" t="t" r="r" b="b"/>
              <a:pathLst>
                <a:path w="929840" h="819487" extrusionOk="0">
                  <a:moveTo>
                    <a:pt x="679290" y="819487"/>
                  </a:moveTo>
                  <a:cubicBezTo>
                    <a:pt x="678566" y="819487"/>
                    <a:pt x="678024" y="819125"/>
                    <a:pt x="677481" y="818583"/>
                  </a:cubicBezTo>
                  <a:lnTo>
                    <a:pt x="723" y="99505"/>
                  </a:lnTo>
                  <a:cubicBezTo>
                    <a:pt x="0" y="98782"/>
                    <a:pt x="-181" y="97697"/>
                    <a:pt x="181" y="96793"/>
                  </a:cubicBezTo>
                  <a:cubicBezTo>
                    <a:pt x="543" y="95888"/>
                    <a:pt x="1447" y="95165"/>
                    <a:pt x="2351" y="94984"/>
                  </a:cubicBezTo>
                  <a:lnTo>
                    <a:pt x="926879" y="35"/>
                  </a:lnTo>
                  <a:cubicBezTo>
                    <a:pt x="927784" y="-145"/>
                    <a:pt x="928688" y="397"/>
                    <a:pt x="929230" y="940"/>
                  </a:cubicBezTo>
                  <a:cubicBezTo>
                    <a:pt x="929773" y="1663"/>
                    <a:pt x="929954" y="2567"/>
                    <a:pt x="929773" y="3472"/>
                  </a:cubicBezTo>
                  <a:lnTo>
                    <a:pt x="682183" y="817317"/>
                  </a:lnTo>
                  <a:cubicBezTo>
                    <a:pt x="681822" y="818221"/>
                    <a:pt x="681098" y="818945"/>
                    <a:pt x="680194" y="819125"/>
                  </a:cubicBezTo>
                  <a:cubicBezTo>
                    <a:pt x="679832" y="819487"/>
                    <a:pt x="679651" y="819487"/>
                    <a:pt x="679290" y="819487"/>
                  </a:cubicBezTo>
                  <a:close/>
                  <a:moveTo>
                    <a:pt x="8319" y="99867"/>
                  </a:moveTo>
                  <a:lnTo>
                    <a:pt x="678205" y="811529"/>
                  </a:lnTo>
                  <a:lnTo>
                    <a:pt x="923262" y="6004"/>
                  </a:lnTo>
                  <a:lnTo>
                    <a:pt x="8319" y="998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1" name="Google Shape;41;p21"/>
            <p:cNvSpPr/>
            <p:nvPr/>
          </p:nvSpPr>
          <p:spPr>
            <a:xfrm>
              <a:off x="10229741" y="6362415"/>
              <a:ext cx="545548" cy="361639"/>
            </a:xfrm>
            <a:custGeom>
              <a:avLst/>
              <a:gdLst/>
              <a:ahLst/>
              <a:cxnLst/>
              <a:rect l="l" t="t" r="r" b="b"/>
              <a:pathLst>
                <a:path w="545548" h="361639" extrusionOk="0">
                  <a:moveTo>
                    <a:pt x="153432" y="361639"/>
                  </a:moveTo>
                  <a:cubicBezTo>
                    <a:pt x="152528" y="361639"/>
                    <a:pt x="151986" y="361278"/>
                    <a:pt x="151443" y="360735"/>
                  </a:cubicBezTo>
                  <a:lnTo>
                    <a:pt x="610" y="174093"/>
                  </a:lnTo>
                  <a:cubicBezTo>
                    <a:pt x="68" y="173370"/>
                    <a:pt x="-113" y="172466"/>
                    <a:pt x="68" y="171562"/>
                  </a:cubicBezTo>
                  <a:cubicBezTo>
                    <a:pt x="249" y="170657"/>
                    <a:pt x="972" y="170115"/>
                    <a:pt x="1876" y="169753"/>
                  </a:cubicBezTo>
                  <a:lnTo>
                    <a:pt x="542089" y="111"/>
                  </a:lnTo>
                  <a:cubicBezTo>
                    <a:pt x="543355" y="-250"/>
                    <a:pt x="544621" y="293"/>
                    <a:pt x="545163" y="1378"/>
                  </a:cubicBezTo>
                  <a:cubicBezTo>
                    <a:pt x="545887" y="2463"/>
                    <a:pt x="545525" y="3909"/>
                    <a:pt x="544621" y="4633"/>
                  </a:cubicBezTo>
                  <a:lnTo>
                    <a:pt x="155241" y="360916"/>
                  </a:lnTo>
                  <a:cubicBezTo>
                    <a:pt x="154879" y="361459"/>
                    <a:pt x="154156" y="361639"/>
                    <a:pt x="153432" y="361639"/>
                  </a:cubicBezTo>
                  <a:close/>
                  <a:moveTo>
                    <a:pt x="7302" y="173551"/>
                  </a:moveTo>
                  <a:lnTo>
                    <a:pt x="153975" y="354948"/>
                  </a:lnTo>
                  <a:lnTo>
                    <a:pt x="532323" y="8793"/>
                  </a:lnTo>
                  <a:lnTo>
                    <a:pt x="7302" y="17355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2" name="Google Shape;42;p21"/>
            <p:cNvSpPr/>
            <p:nvPr/>
          </p:nvSpPr>
          <p:spPr>
            <a:xfrm>
              <a:off x="10229924" y="5718143"/>
              <a:ext cx="545612" cy="819270"/>
            </a:xfrm>
            <a:custGeom>
              <a:avLst/>
              <a:gdLst/>
              <a:ahLst/>
              <a:cxnLst/>
              <a:rect l="l" t="t" r="r" b="b"/>
              <a:pathLst>
                <a:path w="545612" h="819270" extrusionOk="0">
                  <a:moveTo>
                    <a:pt x="2416" y="819271"/>
                  </a:moveTo>
                  <a:cubicBezTo>
                    <a:pt x="1693" y="819271"/>
                    <a:pt x="1150" y="818909"/>
                    <a:pt x="788" y="818547"/>
                  </a:cubicBezTo>
                  <a:cubicBezTo>
                    <a:pt x="65" y="817824"/>
                    <a:pt x="-116" y="816738"/>
                    <a:pt x="65" y="815834"/>
                  </a:cubicBezTo>
                  <a:lnTo>
                    <a:pt x="247655" y="1989"/>
                  </a:lnTo>
                  <a:cubicBezTo>
                    <a:pt x="248017" y="904"/>
                    <a:pt x="248921" y="181"/>
                    <a:pt x="250006" y="0"/>
                  </a:cubicBezTo>
                  <a:cubicBezTo>
                    <a:pt x="251091" y="0"/>
                    <a:pt x="252176" y="543"/>
                    <a:pt x="252719" y="1628"/>
                  </a:cubicBezTo>
                  <a:lnTo>
                    <a:pt x="545341" y="646012"/>
                  </a:lnTo>
                  <a:cubicBezTo>
                    <a:pt x="545703" y="646735"/>
                    <a:pt x="545703" y="647459"/>
                    <a:pt x="545341" y="648182"/>
                  </a:cubicBezTo>
                  <a:cubicBezTo>
                    <a:pt x="544980" y="648906"/>
                    <a:pt x="544437" y="649448"/>
                    <a:pt x="543714" y="649629"/>
                  </a:cubicBezTo>
                  <a:lnTo>
                    <a:pt x="3501" y="819271"/>
                  </a:lnTo>
                  <a:cubicBezTo>
                    <a:pt x="3140" y="819271"/>
                    <a:pt x="2778" y="819271"/>
                    <a:pt x="2416" y="819271"/>
                  </a:cubicBezTo>
                  <a:close/>
                  <a:moveTo>
                    <a:pt x="250730" y="10128"/>
                  </a:moveTo>
                  <a:lnTo>
                    <a:pt x="6576" y="812398"/>
                  </a:lnTo>
                  <a:lnTo>
                    <a:pt x="539012" y="645289"/>
                  </a:lnTo>
                  <a:lnTo>
                    <a:pt x="250730" y="1012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3" name="Google Shape;43;p21"/>
            <p:cNvSpPr/>
            <p:nvPr/>
          </p:nvSpPr>
          <p:spPr>
            <a:xfrm>
              <a:off x="10770021" y="5886967"/>
              <a:ext cx="1132510" cy="480804"/>
            </a:xfrm>
            <a:custGeom>
              <a:avLst/>
              <a:gdLst/>
              <a:ahLst/>
              <a:cxnLst/>
              <a:rect l="l" t="t" r="r" b="b"/>
              <a:pathLst>
                <a:path w="1132510" h="480804" extrusionOk="0">
                  <a:moveTo>
                    <a:pt x="2532" y="480804"/>
                  </a:moveTo>
                  <a:cubicBezTo>
                    <a:pt x="1809" y="480804"/>
                    <a:pt x="1085" y="480443"/>
                    <a:pt x="723" y="479900"/>
                  </a:cubicBezTo>
                  <a:cubicBezTo>
                    <a:pt x="0" y="479177"/>
                    <a:pt x="-181" y="478092"/>
                    <a:pt x="181" y="477187"/>
                  </a:cubicBezTo>
                  <a:lnTo>
                    <a:pt x="179950" y="1721"/>
                  </a:lnTo>
                  <a:cubicBezTo>
                    <a:pt x="180493" y="455"/>
                    <a:pt x="181759" y="-269"/>
                    <a:pt x="183025" y="93"/>
                  </a:cubicBezTo>
                  <a:lnTo>
                    <a:pt x="1130341" y="214767"/>
                  </a:lnTo>
                  <a:cubicBezTo>
                    <a:pt x="1131607" y="215129"/>
                    <a:pt x="1132511" y="216214"/>
                    <a:pt x="1132511" y="217480"/>
                  </a:cubicBezTo>
                  <a:cubicBezTo>
                    <a:pt x="1132511" y="218746"/>
                    <a:pt x="1131607" y="219831"/>
                    <a:pt x="1130521" y="220193"/>
                  </a:cubicBezTo>
                  <a:lnTo>
                    <a:pt x="3617" y="480804"/>
                  </a:lnTo>
                  <a:cubicBezTo>
                    <a:pt x="3074" y="480804"/>
                    <a:pt x="2894" y="480804"/>
                    <a:pt x="2532" y="480804"/>
                  </a:cubicBezTo>
                  <a:close/>
                  <a:moveTo>
                    <a:pt x="184291" y="5700"/>
                  </a:moveTo>
                  <a:lnTo>
                    <a:pt x="7053" y="474293"/>
                  </a:lnTo>
                  <a:lnTo>
                    <a:pt x="1117681" y="217480"/>
                  </a:lnTo>
                  <a:lnTo>
                    <a:pt x="184291" y="570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4" name="Google Shape;44;p21"/>
            <p:cNvSpPr/>
            <p:nvPr/>
          </p:nvSpPr>
          <p:spPr>
            <a:xfrm>
              <a:off x="10950107" y="5682851"/>
              <a:ext cx="952637" cy="424309"/>
            </a:xfrm>
            <a:custGeom>
              <a:avLst/>
              <a:gdLst/>
              <a:ahLst/>
              <a:cxnLst/>
              <a:rect l="l" t="t" r="r" b="b"/>
              <a:pathLst>
                <a:path w="952637" h="424309" extrusionOk="0">
                  <a:moveTo>
                    <a:pt x="949531" y="424310"/>
                  </a:moveTo>
                  <a:cubicBezTo>
                    <a:pt x="949350" y="424310"/>
                    <a:pt x="949170" y="424310"/>
                    <a:pt x="949170" y="424310"/>
                  </a:cubicBezTo>
                  <a:lnTo>
                    <a:pt x="2035" y="209454"/>
                  </a:lnTo>
                  <a:cubicBezTo>
                    <a:pt x="949" y="209274"/>
                    <a:pt x="226" y="208369"/>
                    <a:pt x="45" y="207465"/>
                  </a:cubicBezTo>
                  <a:cubicBezTo>
                    <a:pt x="-136" y="206380"/>
                    <a:pt x="226" y="205295"/>
                    <a:pt x="1130" y="204752"/>
                  </a:cubicBezTo>
                  <a:lnTo>
                    <a:pt x="274763" y="568"/>
                  </a:lnTo>
                  <a:cubicBezTo>
                    <a:pt x="275667" y="-156"/>
                    <a:pt x="276933" y="-156"/>
                    <a:pt x="277838" y="387"/>
                  </a:cubicBezTo>
                  <a:lnTo>
                    <a:pt x="951340" y="419426"/>
                  </a:lnTo>
                  <a:cubicBezTo>
                    <a:pt x="952425" y="420150"/>
                    <a:pt x="952967" y="421597"/>
                    <a:pt x="952425" y="422682"/>
                  </a:cubicBezTo>
                  <a:cubicBezTo>
                    <a:pt x="951702" y="423767"/>
                    <a:pt x="950617" y="424310"/>
                    <a:pt x="949531" y="424310"/>
                  </a:cubicBezTo>
                  <a:close/>
                  <a:moveTo>
                    <a:pt x="8726" y="205295"/>
                  </a:moveTo>
                  <a:lnTo>
                    <a:pt x="934520" y="415448"/>
                  </a:lnTo>
                  <a:lnTo>
                    <a:pt x="276210" y="5812"/>
                  </a:lnTo>
                  <a:lnTo>
                    <a:pt x="8726" y="20529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5" name="Google Shape;45;p21"/>
            <p:cNvSpPr/>
            <p:nvPr/>
          </p:nvSpPr>
          <p:spPr>
            <a:xfrm>
              <a:off x="11223569" y="5526728"/>
              <a:ext cx="678816" cy="580432"/>
            </a:xfrm>
            <a:custGeom>
              <a:avLst/>
              <a:gdLst/>
              <a:ahLst/>
              <a:cxnLst/>
              <a:rect l="l" t="t" r="r" b="b"/>
              <a:pathLst>
                <a:path w="678816" h="580432" extrusionOk="0">
                  <a:moveTo>
                    <a:pt x="676069" y="580433"/>
                  </a:moveTo>
                  <a:cubicBezTo>
                    <a:pt x="675707" y="580433"/>
                    <a:pt x="675165" y="580252"/>
                    <a:pt x="674803" y="580071"/>
                  </a:cubicBezTo>
                  <a:lnTo>
                    <a:pt x="1300" y="161031"/>
                  </a:lnTo>
                  <a:cubicBezTo>
                    <a:pt x="396" y="160489"/>
                    <a:pt x="-146" y="159404"/>
                    <a:pt x="35" y="158319"/>
                  </a:cubicBezTo>
                  <a:cubicBezTo>
                    <a:pt x="215" y="157234"/>
                    <a:pt x="939" y="156329"/>
                    <a:pt x="2024" y="156148"/>
                  </a:cubicBezTo>
                  <a:lnTo>
                    <a:pt x="615844" y="71"/>
                  </a:lnTo>
                  <a:cubicBezTo>
                    <a:pt x="616568" y="-110"/>
                    <a:pt x="617472" y="71"/>
                    <a:pt x="618014" y="433"/>
                  </a:cubicBezTo>
                  <a:cubicBezTo>
                    <a:pt x="618738" y="794"/>
                    <a:pt x="619100" y="1518"/>
                    <a:pt x="619100" y="2422"/>
                  </a:cubicBezTo>
                  <a:lnTo>
                    <a:pt x="678782" y="577720"/>
                  </a:lnTo>
                  <a:cubicBezTo>
                    <a:pt x="678962" y="578805"/>
                    <a:pt x="678420" y="579710"/>
                    <a:pt x="677515" y="580252"/>
                  </a:cubicBezTo>
                  <a:cubicBezTo>
                    <a:pt x="677154" y="580252"/>
                    <a:pt x="676611" y="580433"/>
                    <a:pt x="676069" y="580433"/>
                  </a:cubicBezTo>
                  <a:close/>
                  <a:moveTo>
                    <a:pt x="9439" y="159585"/>
                  </a:moveTo>
                  <a:lnTo>
                    <a:pt x="672994" y="572475"/>
                  </a:lnTo>
                  <a:lnTo>
                    <a:pt x="614216" y="5858"/>
                  </a:lnTo>
                  <a:lnTo>
                    <a:pt x="9439" y="1595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6" name="Google Shape;46;p21"/>
            <p:cNvSpPr/>
            <p:nvPr/>
          </p:nvSpPr>
          <p:spPr>
            <a:xfrm>
              <a:off x="12312393" y="4298293"/>
              <a:ext cx="496810" cy="478321"/>
            </a:xfrm>
            <a:custGeom>
              <a:avLst/>
              <a:gdLst/>
              <a:ahLst/>
              <a:cxnLst/>
              <a:rect l="l" t="t" r="r" b="b"/>
              <a:pathLst>
                <a:path w="496810" h="478321" extrusionOk="0">
                  <a:moveTo>
                    <a:pt x="409229" y="478321"/>
                  </a:moveTo>
                  <a:cubicBezTo>
                    <a:pt x="408505" y="478321"/>
                    <a:pt x="407782" y="477960"/>
                    <a:pt x="407420" y="477417"/>
                  </a:cubicBezTo>
                  <a:lnTo>
                    <a:pt x="678" y="4483"/>
                  </a:lnTo>
                  <a:cubicBezTo>
                    <a:pt x="-226" y="3398"/>
                    <a:pt x="-226" y="1951"/>
                    <a:pt x="678" y="866"/>
                  </a:cubicBezTo>
                  <a:cubicBezTo>
                    <a:pt x="1583" y="-219"/>
                    <a:pt x="3210" y="-219"/>
                    <a:pt x="4295" y="504"/>
                  </a:cubicBezTo>
                  <a:lnTo>
                    <a:pt x="495677" y="362394"/>
                  </a:lnTo>
                  <a:cubicBezTo>
                    <a:pt x="496220" y="362755"/>
                    <a:pt x="496581" y="363479"/>
                    <a:pt x="496762" y="364202"/>
                  </a:cubicBezTo>
                  <a:cubicBezTo>
                    <a:pt x="496943" y="364926"/>
                    <a:pt x="496581" y="365649"/>
                    <a:pt x="496220" y="366192"/>
                  </a:cubicBezTo>
                  <a:lnTo>
                    <a:pt x="411760" y="477056"/>
                  </a:lnTo>
                  <a:cubicBezTo>
                    <a:pt x="411218" y="477779"/>
                    <a:pt x="410495" y="478141"/>
                    <a:pt x="409771" y="478141"/>
                  </a:cubicBezTo>
                  <a:cubicBezTo>
                    <a:pt x="409410" y="478321"/>
                    <a:pt x="409229" y="478321"/>
                    <a:pt x="409229" y="478321"/>
                  </a:cubicBezTo>
                  <a:close/>
                  <a:moveTo>
                    <a:pt x="20030" y="18951"/>
                  </a:moveTo>
                  <a:lnTo>
                    <a:pt x="409229" y="471268"/>
                  </a:lnTo>
                  <a:lnTo>
                    <a:pt x="490071" y="365107"/>
                  </a:lnTo>
                  <a:lnTo>
                    <a:pt x="20030" y="1895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7" name="Google Shape;47;p21"/>
            <p:cNvSpPr/>
            <p:nvPr/>
          </p:nvSpPr>
          <p:spPr>
            <a:xfrm>
              <a:off x="10380595" y="6362367"/>
              <a:ext cx="1550807" cy="921793"/>
            </a:xfrm>
            <a:custGeom>
              <a:avLst/>
              <a:gdLst/>
              <a:ahLst/>
              <a:cxnLst/>
              <a:rect l="l" t="t" r="r" b="b"/>
              <a:pathLst>
                <a:path w="1550807" h="921793" extrusionOk="0">
                  <a:moveTo>
                    <a:pt x="1547980" y="921794"/>
                  </a:moveTo>
                  <a:cubicBezTo>
                    <a:pt x="1547799" y="921794"/>
                    <a:pt x="1547437" y="921794"/>
                    <a:pt x="1547256" y="921614"/>
                  </a:cubicBezTo>
                  <a:lnTo>
                    <a:pt x="1855" y="361507"/>
                  </a:lnTo>
                  <a:cubicBezTo>
                    <a:pt x="950" y="361145"/>
                    <a:pt x="227" y="360422"/>
                    <a:pt x="46" y="359518"/>
                  </a:cubicBezTo>
                  <a:cubicBezTo>
                    <a:pt x="-135" y="358614"/>
                    <a:pt x="227" y="357710"/>
                    <a:pt x="950" y="356986"/>
                  </a:cubicBezTo>
                  <a:lnTo>
                    <a:pt x="390330" y="702"/>
                  </a:lnTo>
                  <a:cubicBezTo>
                    <a:pt x="391234" y="-202"/>
                    <a:pt x="392862" y="-202"/>
                    <a:pt x="393766" y="522"/>
                  </a:cubicBezTo>
                  <a:lnTo>
                    <a:pt x="1549788" y="916911"/>
                  </a:lnTo>
                  <a:cubicBezTo>
                    <a:pt x="1550873" y="917815"/>
                    <a:pt x="1551054" y="919262"/>
                    <a:pt x="1550512" y="920347"/>
                  </a:cubicBezTo>
                  <a:cubicBezTo>
                    <a:pt x="1549969" y="921251"/>
                    <a:pt x="1549065" y="921794"/>
                    <a:pt x="1547980" y="921794"/>
                  </a:cubicBezTo>
                  <a:close/>
                  <a:moveTo>
                    <a:pt x="7823" y="357890"/>
                  </a:moveTo>
                  <a:lnTo>
                    <a:pt x="1533511" y="910762"/>
                  </a:lnTo>
                  <a:lnTo>
                    <a:pt x="392320" y="6128"/>
                  </a:lnTo>
                  <a:lnTo>
                    <a:pt x="7823" y="35789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8" name="Google Shape;48;p21"/>
            <p:cNvSpPr/>
            <p:nvPr/>
          </p:nvSpPr>
          <p:spPr>
            <a:xfrm>
              <a:off x="10770087" y="6101848"/>
              <a:ext cx="1161381" cy="1182312"/>
            </a:xfrm>
            <a:custGeom>
              <a:avLst/>
              <a:gdLst/>
              <a:ahLst/>
              <a:cxnLst/>
              <a:rect l="l" t="t" r="r" b="b"/>
              <a:pathLst>
                <a:path w="1161381" h="1182312" extrusionOk="0">
                  <a:moveTo>
                    <a:pt x="1158488" y="1182313"/>
                  </a:moveTo>
                  <a:cubicBezTo>
                    <a:pt x="1157946" y="1182313"/>
                    <a:pt x="1157403" y="1182133"/>
                    <a:pt x="1157041" y="1181770"/>
                  </a:cubicBezTo>
                  <a:lnTo>
                    <a:pt x="1019" y="265381"/>
                  </a:lnTo>
                  <a:cubicBezTo>
                    <a:pt x="296" y="264658"/>
                    <a:pt x="-246" y="263754"/>
                    <a:pt x="115" y="262669"/>
                  </a:cubicBezTo>
                  <a:cubicBezTo>
                    <a:pt x="296" y="261584"/>
                    <a:pt x="1200" y="260860"/>
                    <a:pt x="2104" y="260679"/>
                  </a:cubicBezTo>
                  <a:lnTo>
                    <a:pt x="1129009" y="68"/>
                  </a:lnTo>
                  <a:cubicBezTo>
                    <a:pt x="1129732" y="-113"/>
                    <a:pt x="1130637" y="68"/>
                    <a:pt x="1131179" y="610"/>
                  </a:cubicBezTo>
                  <a:cubicBezTo>
                    <a:pt x="1131903" y="1153"/>
                    <a:pt x="1132264" y="1876"/>
                    <a:pt x="1132264" y="2600"/>
                  </a:cubicBezTo>
                  <a:lnTo>
                    <a:pt x="1161382" y="1179600"/>
                  </a:lnTo>
                  <a:cubicBezTo>
                    <a:pt x="1161382" y="1180685"/>
                    <a:pt x="1160839" y="1181590"/>
                    <a:pt x="1159935" y="1182133"/>
                  </a:cubicBezTo>
                  <a:cubicBezTo>
                    <a:pt x="1159393" y="1182133"/>
                    <a:pt x="1159031" y="1182313"/>
                    <a:pt x="1158488" y="1182313"/>
                  </a:cubicBezTo>
                  <a:close/>
                  <a:moveTo>
                    <a:pt x="8796" y="264658"/>
                  </a:moveTo>
                  <a:lnTo>
                    <a:pt x="1155956" y="1173994"/>
                  </a:lnTo>
                  <a:lnTo>
                    <a:pt x="1127200" y="6036"/>
                  </a:lnTo>
                  <a:lnTo>
                    <a:pt x="8796" y="26465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9" name="Google Shape;49;p21"/>
            <p:cNvSpPr/>
            <p:nvPr/>
          </p:nvSpPr>
          <p:spPr>
            <a:xfrm>
              <a:off x="11896925" y="6101882"/>
              <a:ext cx="411469" cy="1182279"/>
            </a:xfrm>
            <a:custGeom>
              <a:avLst/>
              <a:gdLst/>
              <a:ahLst/>
              <a:cxnLst/>
              <a:rect l="l" t="t" r="r" b="b"/>
              <a:pathLst>
                <a:path w="411469" h="1182279" extrusionOk="0">
                  <a:moveTo>
                    <a:pt x="31650" y="1182279"/>
                  </a:moveTo>
                  <a:cubicBezTo>
                    <a:pt x="31288" y="1182279"/>
                    <a:pt x="30745" y="1182099"/>
                    <a:pt x="30384" y="1181918"/>
                  </a:cubicBezTo>
                  <a:cubicBezTo>
                    <a:pt x="29660" y="1181375"/>
                    <a:pt x="29118" y="1180651"/>
                    <a:pt x="29118" y="1179747"/>
                  </a:cubicBezTo>
                  <a:lnTo>
                    <a:pt x="0" y="2747"/>
                  </a:lnTo>
                  <a:cubicBezTo>
                    <a:pt x="0" y="1481"/>
                    <a:pt x="904" y="395"/>
                    <a:pt x="2170" y="34"/>
                  </a:cubicBezTo>
                  <a:cubicBezTo>
                    <a:pt x="3436" y="-147"/>
                    <a:pt x="4702" y="395"/>
                    <a:pt x="5245" y="1662"/>
                  </a:cubicBezTo>
                  <a:lnTo>
                    <a:pt x="411263" y="1013542"/>
                  </a:lnTo>
                  <a:cubicBezTo>
                    <a:pt x="411806" y="1014808"/>
                    <a:pt x="411263" y="1016436"/>
                    <a:pt x="409816" y="1016978"/>
                  </a:cubicBezTo>
                  <a:lnTo>
                    <a:pt x="32916" y="1182099"/>
                  </a:lnTo>
                  <a:cubicBezTo>
                    <a:pt x="32554" y="1182099"/>
                    <a:pt x="32011" y="1182279"/>
                    <a:pt x="31650" y="1182279"/>
                  </a:cubicBezTo>
                  <a:close/>
                  <a:moveTo>
                    <a:pt x="5787" y="17396"/>
                  </a:moveTo>
                  <a:lnTo>
                    <a:pt x="34363" y="1175407"/>
                  </a:lnTo>
                  <a:lnTo>
                    <a:pt x="405295" y="1013000"/>
                  </a:lnTo>
                  <a:lnTo>
                    <a:pt x="5787" y="173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0" name="Google Shape;50;p21"/>
            <p:cNvSpPr/>
            <p:nvPr/>
          </p:nvSpPr>
          <p:spPr>
            <a:xfrm>
              <a:off x="11667166" y="1647290"/>
              <a:ext cx="1578979" cy="908612"/>
            </a:xfrm>
            <a:custGeom>
              <a:avLst/>
              <a:gdLst/>
              <a:ahLst/>
              <a:cxnLst/>
              <a:rect l="l" t="t" r="r" b="b"/>
              <a:pathLst>
                <a:path w="1578979" h="908612" extrusionOk="0">
                  <a:moveTo>
                    <a:pt x="1087733" y="908613"/>
                  </a:moveTo>
                  <a:cubicBezTo>
                    <a:pt x="1087191" y="908613"/>
                    <a:pt x="1086648" y="908432"/>
                    <a:pt x="1086106" y="908070"/>
                  </a:cubicBezTo>
                  <a:lnTo>
                    <a:pt x="978" y="4883"/>
                  </a:lnTo>
                  <a:cubicBezTo>
                    <a:pt x="74" y="4160"/>
                    <a:pt x="-288" y="2894"/>
                    <a:pt x="255" y="1809"/>
                  </a:cubicBezTo>
                  <a:cubicBezTo>
                    <a:pt x="617" y="723"/>
                    <a:pt x="1702" y="0"/>
                    <a:pt x="2787" y="0"/>
                  </a:cubicBezTo>
                  <a:lnTo>
                    <a:pt x="1576221" y="42320"/>
                  </a:lnTo>
                  <a:cubicBezTo>
                    <a:pt x="1577125" y="42501"/>
                    <a:pt x="1578029" y="42863"/>
                    <a:pt x="1578572" y="43767"/>
                  </a:cubicBezTo>
                  <a:cubicBezTo>
                    <a:pt x="1579115" y="44671"/>
                    <a:pt x="1579115" y="45575"/>
                    <a:pt x="1578572" y="46480"/>
                  </a:cubicBezTo>
                  <a:lnTo>
                    <a:pt x="1090446" y="907166"/>
                  </a:lnTo>
                  <a:cubicBezTo>
                    <a:pt x="1090084" y="907889"/>
                    <a:pt x="1089361" y="908251"/>
                    <a:pt x="1088637" y="908432"/>
                  </a:cubicBezTo>
                  <a:cubicBezTo>
                    <a:pt x="1088276" y="908613"/>
                    <a:pt x="1087914" y="908613"/>
                    <a:pt x="1087733" y="908613"/>
                  </a:cubicBezTo>
                  <a:close/>
                  <a:moveTo>
                    <a:pt x="10383" y="5606"/>
                  </a:moveTo>
                  <a:lnTo>
                    <a:pt x="1087191" y="901559"/>
                  </a:lnTo>
                  <a:lnTo>
                    <a:pt x="1571519" y="47746"/>
                  </a:lnTo>
                  <a:lnTo>
                    <a:pt x="10383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1" name="Google Shape;51;p21"/>
            <p:cNvSpPr/>
            <p:nvPr/>
          </p:nvSpPr>
          <p:spPr>
            <a:xfrm>
              <a:off x="11418169" y="3220227"/>
              <a:ext cx="800128" cy="326757"/>
            </a:xfrm>
            <a:custGeom>
              <a:avLst/>
              <a:gdLst/>
              <a:ahLst/>
              <a:cxnLst/>
              <a:rect l="l" t="t" r="r" b="b"/>
              <a:pathLst>
                <a:path w="800128" h="326757" extrusionOk="0">
                  <a:moveTo>
                    <a:pt x="797241" y="326758"/>
                  </a:moveTo>
                  <a:cubicBezTo>
                    <a:pt x="797241" y="326758"/>
                    <a:pt x="797060" y="326758"/>
                    <a:pt x="797241" y="326758"/>
                  </a:cubicBezTo>
                  <a:lnTo>
                    <a:pt x="2385" y="231809"/>
                  </a:lnTo>
                  <a:cubicBezTo>
                    <a:pt x="1300" y="231628"/>
                    <a:pt x="215" y="230724"/>
                    <a:pt x="34" y="229639"/>
                  </a:cubicBezTo>
                  <a:cubicBezTo>
                    <a:pt x="-147" y="228554"/>
                    <a:pt x="396" y="227288"/>
                    <a:pt x="1481" y="226745"/>
                  </a:cubicBezTo>
                  <a:lnTo>
                    <a:pt x="431011" y="315"/>
                  </a:lnTo>
                  <a:cubicBezTo>
                    <a:pt x="431915" y="-227"/>
                    <a:pt x="433181" y="-46"/>
                    <a:pt x="434085" y="677"/>
                  </a:cubicBezTo>
                  <a:lnTo>
                    <a:pt x="799230" y="322056"/>
                  </a:lnTo>
                  <a:cubicBezTo>
                    <a:pt x="800134" y="322779"/>
                    <a:pt x="800315" y="324045"/>
                    <a:pt x="799954" y="325130"/>
                  </a:cubicBezTo>
                  <a:cubicBezTo>
                    <a:pt x="799411" y="326215"/>
                    <a:pt x="798326" y="326758"/>
                    <a:pt x="797241" y="326758"/>
                  </a:cubicBezTo>
                  <a:close/>
                  <a:moveTo>
                    <a:pt x="11609" y="227469"/>
                  </a:moveTo>
                  <a:lnTo>
                    <a:pt x="789284" y="320428"/>
                  </a:lnTo>
                  <a:lnTo>
                    <a:pt x="431734" y="5922"/>
                  </a:lnTo>
                  <a:lnTo>
                    <a:pt x="11609" y="22746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2" name="Google Shape;52;p21"/>
            <p:cNvSpPr/>
            <p:nvPr/>
          </p:nvSpPr>
          <p:spPr>
            <a:xfrm>
              <a:off x="7789351" y="5740322"/>
              <a:ext cx="391984" cy="486563"/>
            </a:xfrm>
            <a:custGeom>
              <a:avLst/>
              <a:gdLst/>
              <a:ahLst/>
              <a:cxnLst/>
              <a:rect l="l" t="t" r="r" b="b"/>
              <a:pathLst>
                <a:path w="391984" h="486563" extrusionOk="0">
                  <a:moveTo>
                    <a:pt x="294981" y="486564"/>
                  </a:moveTo>
                  <a:cubicBezTo>
                    <a:pt x="294258" y="486564"/>
                    <a:pt x="293534" y="486202"/>
                    <a:pt x="292992" y="485478"/>
                  </a:cubicBezTo>
                  <a:lnTo>
                    <a:pt x="550" y="99897"/>
                  </a:lnTo>
                  <a:cubicBezTo>
                    <a:pt x="7" y="99173"/>
                    <a:pt x="-174" y="98269"/>
                    <a:pt x="188" y="97365"/>
                  </a:cubicBezTo>
                  <a:cubicBezTo>
                    <a:pt x="550" y="96461"/>
                    <a:pt x="1273" y="95918"/>
                    <a:pt x="1997" y="95556"/>
                  </a:cubicBezTo>
                  <a:lnTo>
                    <a:pt x="388664" y="65"/>
                  </a:lnTo>
                  <a:cubicBezTo>
                    <a:pt x="389568" y="-116"/>
                    <a:pt x="390472" y="65"/>
                    <a:pt x="391196" y="788"/>
                  </a:cubicBezTo>
                  <a:cubicBezTo>
                    <a:pt x="391919" y="1512"/>
                    <a:pt x="392100" y="2416"/>
                    <a:pt x="391919" y="3320"/>
                  </a:cubicBezTo>
                  <a:lnTo>
                    <a:pt x="297513" y="484393"/>
                  </a:lnTo>
                  <a:cubicBezTo>
                    <a:pt x="297332" y="485478"/>
                    <a:pt x="296428" y="486202"/>
                    <a:pt x="295524" y="486564"/>
                  </a:cubicBezTo>
                  <a:cubicBezTo>
                    <a:pt x="295524" y="486564"/>
                    <a:pt x="295162" y="486564"/>
                    <a:pt x="294981" y="486564"/>
                  </a:cubicBezTo>
                  <a:close/>
                  <a:moveTo>
                    <a:pt x="7422" y="99897"/>
                  </a:moveTo>
                  <a:lnTo>
                    <a:pt x="293715" y="477521"/>
                  </a:lnTo>
                  <a:lnTo>
                    <a:pt x="386132" y="6395"/>
                  </a:lnTo>
                  <a:lnTo>
                    <a:pt x="7422" y="998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3" name="Google Shape;53;p21"/>
            <p:cNvSpPr/>
            <p:nvPr/>
          </p:nvSpPr>
          <p:spPr>
            <a:xfrm>
              <a:off x="7789358" y="5296887"/>
              <a:ext cx="392092" cy="544417"/>
            </a:xfrm>
            <a:custGeom>
              <a:avLst/>
              <a:gdLst/>
              <a:ahLst/>
              <a:cxnLst/>
              <a:rect l="l" t="t" r="r" b="b"/>
              <a:pathLst>
                <a:path w="392092" h="544417" extrusionOk="0">
                  <a:moveTo>
                    <a:pt x="2532" y="544417"/>
                  </a:moveTo>
                  <a:cubicBezTo>
                    <a:pt x="1809" y="544417"/>
                    <a:pt x="904" y="543875"/>
                    <a:pt x="543" y="543332"/>
                  </a:cubicBezTo>
                  <a:cubicBezTo>
                    <a:pt x="-181" y="542428"/>
                    <a:pt x="-181" y="541162"/>
                    <a:pt x="543" y="540258"/>
                  </a:cubicBezTo>
                  <a:lnTo>
                    <a:pt x="361890" y="1130"/>
                  </a:lnTo>
                  <a:cubicBezTo>
                    <a:pt x="362613" y="226"/>
                    <a:pt x="363698" y="-136"/>
                    <a:pt x="364784" y="45"/>
                  </a:cubicBezTo>
                  <a:cubicBezTo>
                    <a:pt x="365869" y="407"/>
                    <a:pt x="366773" y="1311"/>
                    <a:pt x="366773" y="2577"/>
                  </a:cubicBezTo>
                  <a:lnTo>
                    <a:pt x="392093" y="446213"/>
                  </a:lnTo>
                  <a:cubicBezTo>
                    <a:pt x="392093" y="447479"/>
                    <a:pt x="391369" y="448745"/>
                    <a:pt x="390103" y="448926"/>
                  </a:cubicBezTo>
                  <a:lnTo>
                    <a:pt x="3436" y="544417"/>
                  </a:lnTo>
                  <a:cubicBezTo>
                    <a:pt x="3075" y="544417"/>
                    <a:pt x="2894" y="544417"/>
                    <a:pt x="2532" y="544417"/>
                  </a:cubicBezTo>
                  <a:close/>
                  <a:moveTo>
                    <a:pt x="361890" y="10716"/>
                  </a:moveTo>
                  <a:lnTo>
                    <a:pt x="8862" y="537364"/>
                  </a:lnTo>
                  <a:lnTo>
                    <a:pt x="386667" y="444043"/>
                  </a:lnTo>
                  <a:lnTo>
                    <a:pt x="361890" y="1071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4" name="Google Shape;54;p21"/>
            <p:cNvSpPr/>
            <p:nvPr/>
          </p:nvSpPr>
          <p:spPr>
            <a:xfrm>
              <a:off x="11223604" y="5365565"/>
              <a:ext cx="619269" cy="322445"/>
            </a:xfrm>
            <a:custGeom>
              <a:avLst/>
              <a:gdLst/>
              <a:ahLst/>
              <a:cxnLst/>
              <a:rect l="l" t="t" r="r" b="b"/>
              <a:pathLst>
                <a:path w="619269" h="322445" extrusionOk="0">
                  <a:moveTo>
                    <a:pt x="2532" y="322375"/>
                  </a:moveTo>
                  <a:cubicBezTo>
                    <a:pt x="1808" y="322375"/>
                    <a:pt x="1266" y="322013"/>
                    <a:pt x="723" y="321471"/>
                  </a:cubicBezTo>
                  <a:cubicBezTo>
                    <a:pt x="0" y="320747"/>
                    <a:pt x="-181" y="319662"/>
                    <a:pt x="181" y="318758"/>
                  </a:cubicBezTo>
                  <a:lnTo>
                    <a:pt x="100917" y="1901"/>
                  </a:lnTo>
                  <a:cubicBezTo>
                    <a:pt x="101278" y="454"/>
                    <a:pt x="102906" y="-270"/>
                    <a:pt x="104353" y="92"/>
                  </a:cubicBezTo>
                  <a:lnTo>
                    <a:pt x="617437" y="160691"/>
                  </a:lnTo>
                  <a:cubicBezTo>
                    <a:pt x="618522" y="161053"/>
                    <a:pt x="619427" y="162138"/>
                    <a:pt x="619246" y="163404"/>
                  </a:cubicBezTo>
                  <a:cubicBezTo>
                    <a:pt x="619246" y="164670"/>
                    <a:pt x="618342" y="165574"/>
                    <a:pt x="617257" y="165936"/>
                  </a:cubicBezTo>
                  <a:lnTo>
                    <a:pt x="3436" y="322013"/>
                  </a:lnTo>
                  <a:cubicBezTo>
                    <a:pt x="3074" y="322375"/>
                    <a:pt x="2713" y="322556"/>
                    <a:pt x="2532" y="322375"/>
                  </a:cubicBezTo>
                  <a:close/>
                  <a:moveTo>
                    <a:pt x="105076" y="6241"/>
                  </a:moveTo>
                  <a:lnTo>
                    <a:pt x="6511" y="315864"/>
                  </a:lnTo>
                  <a:lnTo>
                    <a:pt x="606405" y="163223"/>
                  </a:lnTo>
                  <a:lnTo>
                    <a:pt x="105076" y="6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" name="Google Shape;55;p21"/>
            <p:cNvSpPr/>
            <p:nvPr/>
          </p:nvSpPr>
          <p:spPr>
            <a:xfrm>
              <a:off x="11389267" y="4298327"/>
              <a:ext cx="928173" cy="363625"/>
            </a:xfrm>
            <a:custGeom>
              <a:avLst/>
              <a:gdLst/>
              <a:ahLst/>
              <a:cxnLst/>
              <a:rect l="l" t="t" r="r" b="b"/>
              <a:pathLst>
                <a:path w="928173" h="363625" extrusionOk="0">
                  <a:moveTo>
                    <a:pt x="204185" y="363626"/>
                  </a:moveTo>
                  <a:cubicBezTo>
                    <a:pt x="204004" y="363626"/>
                    <a:pt x="203823" y="363626"/>
                    <a:pt x="203461" y="363445"/>
                  </a:cubicBezTo>
                  <a:lnTo>
                    <a:pt x="1808" y="296348"/>
                  </a:lnTo>
                  <a:cubicBezTo>
                    <a:pt x="723" y="295986"/>
                    <a:pt x="0" y="294901"/>
                    <a:pt x="0" y="293816"/>
                  </a:cubicBezTo>
                  <a:cubicBezTo>
                    <a:pt x="0" y="292731"/>
                    <a:pt x="723" y="291646"/>
                    <a:pt x="1808" y="291284"/>
                  </a:cubicBezTo>
                  <a:lnTo>
                    <a:pt x="924709" y="109"/>
                  </a:lnTo>
                  <a:cubicBezTo>
                    <a:pt x="926156" y="-253"/>
                    <a:pt x="927422" y="289"/>
                    <a:pt x="927964" y="1736"/>
                  </a:cubicBezTo>
                  <a:cubicBezTo>
                    <a:pt x="928507" y="3002"/>
                    <a:pt x="927964" y="4449"/>
                    <a:pt x="926699" y="5172"/>
                  </a:cubicBezTo>
                  <a:lnTo>
                    <a:pt x="205270" y="363445"/>
                  </a:lnTo>
                  <a:cubicBezTo>
                    <a:pt x="205089" y="363626"/>
                    <a:pt x="204546" y="363626"/>
                    <a:pt x="204185" y="363626"/>
                  </a:cubicBezTo>
                  <a:close/>
                  <a:moveTo>
                    <a:pt x="11394" y="293997"/>
                  </a:moveTo>
                  <a:lnTo>
                    <a:pt x="204004" y="358019"/>
                  </a:lnTo>
                  <a:lnTo>
                    <a:pt x="893421" y="15662"/>
                  </a:lnTo>
                  <a:lnTo>
                    <a:pt x="11394" y="2939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" name="Google Shape;56;p21"/>
            <p:cNvSpPr/>
            <p:nvPr/>
          </p:nvSpPr>
          <p:spPr>
            <a:xfrm>
              <a:off x="10409171" y="5271606"/>
              <a:ext cx="269818" cy="451816"/>
            </a:xfrm>
            <a:custGeom>
              <a:avLst/>
              <a:gdLst/>
              <a:ahLst/>
              <a:cxnLst/>
              <a:rect l="l" t="t" r="r" b="b"/>
              <a:pathLst>
                <a:path w="269818" h="451816" extrusionOk="0">
                  <a:moveTo>
                    <a:pt x="70759" y="451782"/>
                  </a:moveTo>
                  <a:cubicBezTo>
                    <a:pt x="70578" y="451782"/>
                    <a:pt x="70578" y="451782"/>
                    <a:pt x="70398" y="451782"/>
                  </a:cubicBezTo>
                  <a:cubicBezTo>
                    <a:pt x="69313" y="451601"/>
                    <a:pt x="68408" y="450697"/>
                    <a:pt x="68228" y="449612"/>
                  </a:cubicBezTo>
                  <a:lnTo>
                    <a:pt x="45" y="3082"/>
                  </a:lnTo>
                  <a:cubicBezTo>
                    <a:pt x="-136" y="2178"/>
                    <a:pt x="226" y="1093"/>
                    <a:pt x="1130" y="550"/>
                  </a:cubicBezTo>
                  <a:cubicBezTo>
                    <a:pt x="1854" y="7"/>
                    <a:pt x="2939" y="-174"/>
                    <a:pt x="3843" y="188"/>
                  </a:cubicBezTo>
                  <a:lnTo>
                    <a:pt x="268253" y="112318"/>
                  </a:lnTo>
                  <a:cubicBezTo>
                    <a:pt x="268976" y="112680"/>
                    <a:pt x="269518" y="113222"/>
                    <a:pt x="269699" y="113946"/>
                  </a:cubicBezTo>
                  <a:cubicBezTo>
                    <a:pt x="269880" y="114669"/>
                    <a:pt x="269880" y="115392"/>
                    <a:pt x="269518" y="116116"/>
                  </a:cubicBezTo>
                  <a:lnTo>
                    <a:pt x="73291" y="450516"/>
                  </a:lnTo>
                  <a:cubicBezTo>
                    <a:pt x="72749" y="451420"/>
                    <a:pt x="71845" y="451962"/>
                    <a:pt x="70759" y="451782"/>
                  </a:cubicBezTo>
                  <a:close/>
                  <a:moveTo>
                    <a:pt x="6194" y="7061"/>
                  </a:moveTo>
                  <a:lnTo>
                    <a:pt x="72387" y="441292"/>
                  </a:lnTo>
                  <a:lnTo>
                    <a:pt x="263369" y="116116"/>
                  </a:lnTo>
                  <a:lnTo>
                    <a:pt x="6194" y="706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" name="Google Shape;57;p21"/>
            <p:cNvSpPr/>
            <p:nvPr/>
          </p:nvSpPr>
          <p:spPr>
            <a:xfrm>
              <a:off x="10477563" y="5383743"/>
              <a:ext cx="477787" cy="508562"/>
            </a:xfrm>
            <a:custGeom>
              <a:avLst/>
              <a:gdLst/>
              <a:ahLst/>
              <a:cxnLst/>
              <a:rect l="l" t="t" r="r" b="b"/>
              <a:pathLst>
                <a:path w="477787" h="508562" extrusionOk="0">
                  <a:moveTo>
                    <a:pt x="474940" y="508563"/>
                  </a:moveTo>
                  <a:cubicBezTo>
                    <a:pt x="474759" y="508563"/>
                    <a:pt x="474398" y="508563"/>
                    <a:pt x="474217" y="508382"/>
                  </a:cubicBezTo>
                  <a:lnTo>
                    <a:pt x="1825" y="339645"/>
                  </a:lnTo>
                  <a:cubicBezTo>
                    <a:pt x="1101" y="339464"/>
                    <a:pt x="559" y="338740"/>
                    <a:pt x="197" y="338017"/>
                  </a:cubicBezTo>
                  <a:cubicBezTo>
                    <a:pt x="-164" y="337293"/>
                    <a:pt x="16" y="336389"/>
                    <a:pt x="378" y="335666"/>
                  </a:cubicBezTo>
                  <a:lnTo>
                    <a:pt x="196605" y="1266"/>
                  </a:lnTo>
                  <a:cubicBezTo>
                    <a:pt x="197148" y="362"/>
                    <a:pt x="198052" y="0"/>
                    <a:pt x="198956" y="0"/>
                  </a:cubicBezTo>
                  <a:cubicBezTo>
                    <a:pt x="199861" y="0"/>
                    <a:pt x="200765" y="543"/>
                    <a:pt x="201307" y="1447"/>
                  </a:cubicBezTo>
                  <a:lnTo>
                    <a:pt x="477472" y="504584"/>
                  </a:lnTo>
                  <a:cubicBezTo>
                    <a:pt x="478015" y="505488"/>
                    <a:pt x="477834" y="506754"/>
                    <a:pt x="477111" y="507659"/>
                  </a:cubicBezTo>
                  <a:cubicBezTo>
                    <a:pt x="476568" y="508201"/>
                    <a:pt x="475664" y="508563"/>
                    <a:pt x="474940" y="508563"/>
                  </a:cubicBezTo>
                  <a:close/>
                  <a:moveTo>
                    <a:pt x="6527" y="335485"/>
                  </a:moveTo>
                  <a:lnTo>
                    <a:pt x="469153" y="500786"/>
                  </a:lnTo>
                  <a:lnTo>
                    <a:pt x="198775" y="7958"/>
                  </a:lnTo>
                  <a:lnTo>
                    <a:pt x="6527" y="3354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" name="Google Shape;58;p21"/>
            <p:cNvSpPr/>
            <p:nvPr/>
          </p:nvSpPr>
          <p:spPr>
            <a:xfrm>
              <a:off x="10673852" y="5383799"/>
              <a:ext cx="555177" cy="508505"/>
            </a:xfrm>
            <a:custGeom>
              <a:avLst/>
              <a:gdLst/>
              <a:ahLst/>
              <a:cxnLst/>
              <a:rect l="l" t="t" r="r" b="b"/>
              <a:pathLst>
                <a:path w="555177" h="508505" extrusionOk="0">
                  <a:moveTo>
                    <a:pt x="278651" y="508506"/>
                  </a:moveTo>
                  <a:cubicBezTo>
                    <a:pt x="278470" y="508506"/>
                    <a:pt x="278470" y="508506"/>
                    <a:pt x="278289" y="508506"/>
                  </a:cubicBezTo>
                  <a:cubicBezTo>
                    <a:pt x="277565" y="508325"/>
                    <a:pt x="276842" y="507783"/>
                    <a:pt x="276480" y="507240"/>
                  </a:cubicBezTo>
                  <a:lnTo>
                    <a:pt x="315" y="4103"/>
                  </a:lnTo>
                  <a:cubicBezTo>
                    <a:pt x="-227" y="3018"/>
                    <a:pt x="-46" y="1752"/>
                    <a:pt x="677" y="848"/>
                  </a:cubicBezTo>
                  <a:cubicBezTo>
                    <a:pt x="1582" y="-57"/>
                    <a:pt x="2847" y="-237"/>
                    <a:pt x="3933" y="305"/>
                  </a:cubicBezTo>
                  <a:lnTo>
                    <a:pt x="553730" y="299258"/>
                  </a:lnTo>
                  <a:cubicBezTo>
                    <a:pt x="554635" y="299619"/>
                    <a:pt x="554996" y="300523"/>
                    <a:pt x="555177" y="301428"/>
                  </a:cubicBezTo>
                  <a:cubicBezTo>
                    <a:pt x="555177" y="302332"/>
                    <a:pt x="554815" y="303236"/>
                    <a:pt x="554092" y="303779"/>
                  </a:cubicBezTo>
                  <a:lnTo>
                    <a:pt x="280459" y="507963"/>
                  </a:lnTo>
                  <a:cubicBezTo>
                    <a:pt x="279917" y="508325"/>
                    <a:pt x="279193" y="508506"/>
                    <a:pt x="278651" y="508506"/>
                  </a:cubicBezTo>
                  <a:close/>
                  <a:moveTo>
                    <a:pt x="9358" y="9348"/>
                  </a:moveTo>
                  <a:lnTo>
                    <a:pt x="279555" y="501814"/>
                  </a:lnTo>
                  <a:lnTo>
                    <a:pt x="547400" y="301970"/>
                  </a:lnTo>
                  <a:lnTo>
                    <a:pt x="9358" y="93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" name="Google Shape;59;p21"/>
            <p:cNvSpPr/>
            <p:nvPr/>
          </p:nvSpPr>
          <p:spPr>
            <a:xfrm>
              <a:off x="10673876" y="5365657"/>
              <a:ext cx="655897" cy="322353"/>
            </a:xfrm>
            <a:custGeom>
              <a:avLst/>
              <a:gdLst/>
              <a:ahLst/>
              <a:cxnLst/>
              <a:rect l="l" t="t" r="r" b="b"/>
              <a:pathLst>
                <a:path w="655897" h="322353" extrusionOk="0">
                  <a:moveTo>
                    <a:pt x="552260" y="322283"/>
                  </a:moveTo>
                  <a:cubicBezTo>
                    <a:pt x="551899" y="322283"/>
                    <a:pt x="551537" y="322102"/>
                    <a:pt x="551175" y="321921"/>
                  </a:cubicBezTo>
                  <a:lnTo>
                    <a:pt x="1377" y="22969"/>
                  </a:lnTo>
                  <a:cubicBezTo>
                    <a:pt x="292" y="22426"/>
                    <a:pt x="-250" y="21160"/>
                    <a:pt x="112" y="19894"/>
                  </a:cubicBezTo>
                  <a:cubicBezTo>
                    <a:pt x="473" y="18628"/>
                    <a:pt x="1377" y="17905"/>
                    <a:pt x="2644" y="17905"/>
                  </a:cubicBezTo>
                  <a:lnTo>
                    <a:pt x="653177" y="0"/>
                  </a:lnTo>
                  <a:cubicBezTo>
                    <a:pt x="654082" y="0"/>
                    <a:pt x="654805" y="362"/>
                    <a:pt x="655347" y="1085"/>
                  </a:cubicBezTo>
                  <a:cubicBezTo>
                    <a:pt x="655890" y="1809"/>
                    <a:pt x="656071" y="2713"/>
                    <a:pt x="655709" y="3436"/>
                  </a:cubicBezTo>
                  <a:lnTo>
                    <a:pt x="554973" y="320293"/>
                  </a:lnTo>
                  <a:cubicBezTo>
                    <a:pt x="554792" y="321017"/>
                    <a:pt x="554250" y="321740"/>
                    <a:pt x="553346" y="321921"/>
                  </a:cubicBezTo>
                  <a:cubicBezTo>
                    <a:pt x="552984" y="322283"/>
                    <a:pt x="552622" y="322463"/>
                    <a:pt x="552260" y="322283"/>
                  </a:cubicBezTo>
                  <a:close/>
                  <a:moveTo>
                    <a:pt x="12771" y="23149"/>
                  </a:moveTo>
                  <a:lnTo>
                    <a:pt x="550814" y="315772"/>
                  </a:lnTo>
                  <a:lnTo>
                    <a:pt x="649379" y="5606"/>
                  </a:lnTo>
                  <a:lnTo>
                    <a:pt x="12771" y="231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" name="Google Shape;60;p21"/>
            <p:cNvSpPr/>
            <p:nvPr/>
          </p:nvSpPr>
          <p:spPr>
            <a:xfrm>
              <a:off x="8150705" y="5296786"/>
              <a:ext cx="365687" cy="449027"/>
            </a:xfrm>
            <a:custGeom>
              <a:avLst/>
              <a:gdLst/>
              <a:ahLst/>
              <a:cxnLst/>
              <a:rect l="l" t="t" r="r" b="b"/>
              <a:pathLst>
                <a:path w="365687" h="449027" extrusionOk="0">
                  <a:moveTo>
                    <a:pt x="27852" y="449028"/>
                  </a:moveTo>
                  <a:cubicBezTo>
                    <a:pt x="27490" y="449028"/>
                    <a:pt x="27128" y="448847"/>
                    <a:pt x="26767" y="448666"/>
                  </a:cubicBezTo>
                  <a:cubicBezTo>
                    <a:pt x="26043" y="448123"/>
                    <a:pt x="25501" y="447400"/>
                    <a:pt x="25320" y="446496"/>
                  </a:cubicBezTo>
                  <a:lnTo>
                    <a:pt x="0" y="2860"/>
                  </a:lnTo>
                  <a:cubicBezTo>
                    <a:pt x="0" y="1774"/>
                    <a:pt x="543" y="870"/>
                    <a:pt x="1447" y="328"/>
                  </a:cubicBezTo>
                  <a:cubicBezTo>
                    <a:pt x="2351" y="-215"/>
                    <a:pt x="3436" y="-34"/>
                    <a:pt x="4341" y="508"/>
                  </a:cubicBezTo>
                  <a:lnTo>
                    <a:pt x="364603" y="265460"/>
                  </a:lnTo>
                  <a:cubicBezTo>
                    <a:pt x="365326" y="266003"/>
                    <a:pt x="365688" y="266907"/>
                    <a:pt x="365688" y="267811"/>
                  </a:cubicBezTo>
                  <a:cubicBezTo>
                    <a:pt x="365688" y="268716"/>
                    <a:pt x="365145" y="269620"/>
                    <a:pt x="364241" y="269981"/>
                  </a:cubicBezTo>
                  <a:lnTo>
                    <a:pt x="29298" y="448666"/>
                  </a:lnTo>
                  <a:cubicBezTo>
                    <a:pt x="28937" y="448847"/>
                    <a:pt x="28394" y="449028"/>
                    <a:pt x="27852" y="449028"/>
                  </a:cubicBezTo>
                  <a:close/>
                  <a:moveTo>
                    <a:pt x="5607" y="8104"/>
                  </a:moveTo>
                  <a:lnTo>
                    <a:pt x="30384" y="441793"/>
                  </a:lnTo>
                  <a:lnTo>
                    <a:pt x="357730" y="267088"/>
                  </a:lnTo>
                  <a:lnTo>
                    <a:pt x="5607" y="810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" name="Google Shape;61;p21"/>
            <p:cNvSpPr/>
            <p:nvPr/>
          </p:nvSpPr>
          <p:spPr>
            <a:xfrm>
              <a:off x="9671101" y="3931462"/>
              <a:ext cx="559634" cy="144884"/>
            </a:xfrm>
            <a:custGeom>
              <a:avLst/>
              <a:gdLst/>
              <a:ahLst/>
              <a:cxnLst/>
              <a:rect l="l" t="t" r="r" b="b"/>
              <a:pathLst>
                <a:path w="559634" h="144884" extrusionOk="0">
                  <a:moveTo>
                    <a:pt x="18134" y="144884"/>
                  </a:moveTo>
                  <a:cubicBezTo>
                    <a:pt x="17591" y="144884"/>
                    <a:pt x="17229" y="144703"/>
                    <a:pt x="16868" y="144522"/>
                  </a:cubicBezTo>
                  <a:cubicBezTo>
                    <a:pt x="16144" y="144161"/>
                    <a:pt x="15782" y="143437"/>
                    <a:pt x="15782" y="142714"/>
                  </a:cubicBezTo>
                  <a:lnTo>
                    <a:pt x="48" y="33840"/>
                  </a:lnTo>
                  <a:cubicBezTo>
                    <a:pt x="-133" y="33116"/>
                    <a:pt x="229" y="32393"/>
                    <a:pt x="591" y="31669"/>
                  </a:cubicBezTo>
                  <a:cubicBezTo>
                    <a:pt x="1133" y="31127"/>
                    <a:pt x="1857" y="30765"/>
                    <a:pt x="2580" y="30765"/>
                  </a:cubicBezTo>
                  <a:lnTo>
                    <a:pt x="556718" y="20"/>
                  </a:lnTo>
                  <a:cubicBezTo>
                    <a:pt x="558165" y="-161"/>
                    <a:pt x="559250" y="924"/>
                    <a:pt x="559612" y="2371"/>
                  </a:cubicBezTo>
                  <a:cubicBezTo>
                    <a:pt x="559793" y="3818"/>
                    <a:pt x="558889" y="5084"/>
                    <a:pt x="557623" y="5445"/>
                  </a:cubicBezTo>
                  <a:lnTo>
                    <a:pt x="19219" y="144884"/>
                  </a:lnTo>
                  <a:cubicBezTo>
                    <a:pt x="18676" y="144884"/>
                    <a:pt x="18495" y="144884"/>
                    <a:pt x="18134" y="144884"/>
                  </a:cubicBezTo>
                  <a:close/>
                  <a:moveTo>
                    <a:pt x="5655" y="35829"/>
                  </a:moveTo>
                  <a:lnTo>
                    <a:pt x="20665" y="138735"/>
                  </a:lnTo>
                  <a:lnTo>
                    <a:pt x="529952" y="6712"/>
                  </a:lnTo>
                  <a:lnTo>
                    <a:pt x="5655" y="3582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" name="Google Shape;62;p21"/>
            <p:cNvSpPr/>
            <p:nvPr/>
          </p:nvSpPr>
          <p:spPr>
            <a:xfrm>
              <a:off x="7614788" y="4827769"/>
              <a:ext cx="755067" cy="291926"/>
            </a:xfrm>
            <a:custGeom>
              <a:avLst/>
              <a:gdLst/>
              <a:ahLst/>
              <a:cxnLst/>
              <a:rect l="l" t="t" r="r" b="b"/>
              <a:pathLst>
                <a:path w="755067" h="291926" extrusionOk="0">
                  <a:moveTo>
                    <a:pt x="287242" y="291927"/>
                  </a:moveTo>
                  <a:cubicBezTo>
                    <a:pt x="286700" y="291927"/>
                    <a:pt x="286338" y="291746"/>
                    <a:pt x="285795" y="291384"/>
                  </a:cubicBezTo>
                  <a:lnTo>
                    <a:pt x="1130" y="93891"/>
                  </a:lnTo>
                  <a:cubicBezTo>
                    <a:pt x="226" y="93348"/>
                    <a:pt x="-136" y="92083"/>
                    <a:pt x="45" y="90997"/>
                  </a:cubicBezTo>
                  <a:cubicBezTo>
                    <a:pt x="407" y="89912"/>
                    <a:pt x="1311" y="89189"/>
                    <a:pt x="2396" y="89008"/>
                  </a:cubicBezTo>
                  <a:lnTo>
                    <a:pt x="752038" y="27"/>
                  </a:lnTo>
                  <a:cubicBezTo>
                    <a:pt x="753304" y="-153"/>
                    <a:pt x="754570" y="570"/>
                    <a:pt x="754932" y="1836"/>
                  </a:cubicBezTo>
                  <a:cubicBezTo>
                    <a:pt x="755294" y="3102"/>
                    <a:pt x="754932" y="4368"/>
                    <a:pt x="753847" y="5091"/>
                  </a:cubicBezTo>
                  <a:lnTo>
                    <a:pt x="288689" y="291565"/>
                  </a:lnTo>
                  <a:cubicBezTo>
                    <a:pt x="288327" y="291746"/>
                    <a:pt x="287785" y="291927"/>
                    <a:pt x="287242" y="291927"/>
                  </a:cubicBezTo>
                  <a:close/>
                  <a:moveTo>
                    <a:pt x="9992" y="93529"/>
                  </a:moveTo>
                  <a:lnTo>
                    <a:pt x="287423" y="285959"/>
                  </a:lnTo>
                  <a:lnTo>
                    <a:pt x="740464" y="6719"/>
                  </a:lnTo>
                  <a:lnTo>
                    <a:pt x="9992" y="9352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" name="Google Shape;63;p21"/>
            <p:cNvSpPr/>
            <p:nvPr/>
          </p:nvSpPr>
          <p:spPr>
            <a:xfrm>
              <a:off x="7789511" y="5114443"/>
              <a:ext cx="366634" cy="726861"/>
            </a:xfrm>
            <a:custGeom>
              <a:avLst/>
              <a:gdLst/>
              <a:ahLst/>
              <a:cxnLst/>
              <a:rect l="l" t="t" r="r" b="b"/>
              <a:pathLst>
                <a:path w="366634" h="726861" extrusionOk="0">
                  <a:moveTo>
                    <a:pt x="2379" y="726861"/>
                  </a:moveTo>
                  <a:cubicBezTo>
                    <a:pt x="2017" y="726861"/>
                    <a:pt x="1836" y="726861"/>
                    <a:pt x="1655" y="726680"/>
                  </a:cubicBezTo>
                  <a:cubicBezTo>
                    <a:pt x="570" y="726138"/>
                    <a:pt x="-153" y="725053"/>
                    <a:pt x="28" y="723787"/>
                  </a:cubicBezTo>
                  <a:lnTo>
                    <a:pt x="109987" y="2177"/>
                  </a:lnTo>
                  <a:cubicBezTo>
                    <a:pt x="110168" y="1273"/>
                    <a:pt x="110711" y="369"/>
                    <a:pt x="111615" y="188"/>
                  </a:cubicBezTo>
                  <a:cubicBezTo>
                    <a:pt x="112519" y="-173"/>
                    <a:pt x="113423" y="7"/>
                    <a:pt x="114328" y="550"/>
                  </a:cubicBezTo>
                  <a:lnTo>
                    <a:pt x="365535" y="183032"/>
                  </a:lnTo>
                  <a:cubicBezTo>
                    <a:pt x="366620" y="183936"/>
                    <a:pt x="366982" y="185564"/>
                    <a:pt x="366258" y="186649"/>
                  </a:cubicBezTo>
                  <a:lnTo>
                    <a:pt x="4911" y="725776"/>
                  </a:lnTo>
                  <a:cubicBezTo>
                    <a:pt x="4187" y="726500"/>
                    <a:pt x="3283" y="726861"/>
                    <a:pt x="2379" y="726861"/>
                  </a:cubicBezTo>
                  <a:close/>
                  <a:moveTo>
                    <a:pt x="114689" y="7241"/>
                  </a:moveTo>
                  <a:lnTo>
                    <a:pt x="7081" y="712574"/>
                  </a:lnTo>
                  <a:lnTo>
                    <a:pt x="360290" y="185564"/>
                  </a:lnTo>
                  <a:lnTo>
                    <a:pt x="114689" y="7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" name="Google Shape;64;p21"/>
            <p:cNvSpPr/>
            <p:nvPr/>
          </p:nvSpPr>
          <p:spPr>
            <a:xfrm>
              <a:off x="7899498" y="4827409"/>
              <a:ext cx="470396" cy="474667"/>
            </a:xfrm>
            <a:custGeom>
              <a:avLst/>
              <a:gdLst/>
              <a:ahLst/>
              <a:cxnLst/>
              <a:rect l="l" t="t" r="r" b="b"/>
              <a:pathLst>
                <a:path w="470396" h="474667" extrusionOk="0">
                  <a:moveTo>
                    <a:pt x="253739" y="474587"/>
                  </a:moveTo>
                  <a:cubicBezTo>
                    <a:pt x="253196" y="474587"/>
                    <a:pt x="252835" y="474406"/>
                    <a:pt x="252292" y="474045"/>
                  </a:cubicBezTo>
                  <a:lnTo>
                    <a:pt x="1085" y="291562"/>
                  </a:lnTo>
                  <a:cubicBezTo>
                    <a:pt x="362" y="291020"/>
                    <a:pt x="0" y="290116"/>
                    <a:pt x="0" y="289211"/>
                  </a:cubicBezTo>
                  <a:cubicBezTo>
                    <a:pt x="0" y="288307"/>
                    <a:pt x="543" y="287584"/>
                    <a:pt x="1266" y="287041"/>
                  </a:cubicBezTo>
                  <a:lnTo>
                    <a:pt x="466243" y="387"/>
                  </a:lnTo>
                  <a:cubicBezTo>
                    <a:pt x="467147" y="-156"/>
                    <a:pt x="468594" y="-156"/>
                    <a:pt x="469498" y="568"/>
                  </a:cubicBezTo>
                  <a:cubicBezTo>
                    <a:pt x="470403" y="1291"/>
                    <a:pt x="470583" y="2557"/>
                    <a:pt x="470222" y="3642"/>
                  </a:cubicBezTo>
                  <a:lnTo>
                    <a:pt x="256271" y="473140"/>
                  </a:lnTo>
                  <a:cubicBezTo>
                    <a:pt x="255909" y="473864"/>
                    <a:pt x="255367" y="474406"/>
                    <a:pt x="254462" y="474587"/>
                  </a:cubicBezTo>
                  <a:cubicBezTo>
                    <a:pt x="254281" y="474587"/>
                    <a:pt x="253920" y="474768"/>
                    <a:pt x="253739" y="474587"/>
                  </a:cubicBezTo>
                  <a:close/>
                  <a:moveTo>
                    <a:pt x="7415" y="289754"/>
                  </a:moveTo>
                  <a:lnTo>
                    <a:pt x="252835" y="467896"/>
                  </a:lnTo>
                  <a:lnTo>
                    <a:pt x="461541" y="9972"/>
                  </a:lnTo>
                  <a:lnTo>
                    <a:pt x="7415" y="2897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" name="Google Shape;65;p21"/>
            <p:cNvSpPr/>
            <p:nvPr/>
          </p:nvSpPr>
          <p:spPr>
            <a:xfrm>
              <a:off x="8150453" y="4827912"/>
              <a:ext cx="796909" cy="534490"/>
            </a:xfrm>
            <a:custGeom>
              <a:avLst/>
              <a:gdLst/>
              <a:ahLst/>
              <a:cxnLst/>
              <a:rect l="l" t="t" r="r" b="b"/>
              <a:pathLst>
                <a:path w="796909" h="534490" extrusionOk="0">
                  <a:moveTo>
                    <a:pt x="794022" y="534490"/>
                  </a:moveTo>
                  <a:cubicBezTo>
                    <a:pt x="794022" y="534490"/>
                    <a:pt x="794022" y="534490"/>
                    <a:pt x="794022" y="534490"/>
                  </a:cubicBezTo>
                  <a:lnTo>
                    <a:pt x="2603" y="474266"/>
                  </a:lnTo>
                  <a:cubicBezTo>
                    <a:pt x="1699" y="474266"/>
                    <a:pt x="975" y="473723"/>
                    <a:pt x="433" y="473000"/>
                  </a:cubicBezTo>
                  <a:cubicBezTo>
                    <a:pt x="-110" y="472276"/>
                    <a:pt x="-110" y="471372"/>
                    <a:pt x="252" y="470468"/>
                  </a:cubicBezTo>
                  <a:lnTo>
                    <a:pt x="214022" y="1512"/>
                  </a:lnTo>
                  <a:cubicBezTo>
                    <a:pt x="214384" y="789"/>
                    <a:pt x="215107" y="246"/>
                    <a:pt x="216011" y="65"/>
                  </a:cubicBezTo>
                  <a:cubicBezTo>
                    <a:pt x="216916" y="-116"/>
                    <a:pt x="217639" y="65"/>
                    <a:pt x="218363" y="789"/>
                  </a:cubicBezTo>
                  <a:lnTo>
                    <a:pt x="796012" y="530150"/>
                  </a:lnTo>
                  <a:cubicBezTo>
                    <a:pt x="796916" y="530873"/>
                    <a:pt x="797097" y="532139"/>
                    <a:pt x="796735" y="533224"/>
                  </a:cubicBezTo>
                  <a:cubicBezTo>
                    <a:pt x="796193" y="533947"/>
                    <a:pt x="795288" y="534490"/>
                    <a:pt x="794022" y="534490"/>
                  </a:cubicBezTo>
                  <a:close/>
                  <a:moveTo>
                    <a:pt x="6944" y="469021"/>
                  </a:moveTo>
                  <a:lnTo>
                    <a:pt x="786607" y="528341"/>
                  </a:lnTo>
                  <a:lnTo>
                    <a:pt x="217458" y="6757"/>
                  </a:lnTo>
                  <a:lnTo>
                    <a:pt x="6944" y="46902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" name="Google Shape;66;p21"/>
            <p:cNvSpPr/>
            <p:nvPr/>
          </p:nvSpPr>
          <p:spPr>
            <a:xfrm>
              <a:off x="8150747" y="5296752"/>
              <a:ext cx="796475" cy="270377"/>
            </a:xfrm>
            <a:custGeom>
              <a:avLst/>
              <a:gdLst/>
              <a:ahLst/>
              <a:cxnLst/>
              <a:rect l="l" t="t" r="r" b="b"/>
              <a:pathLst>
                <a:path w="796475" h="270377" extrusionOk="0">
                  <a:moveTo>
                    <a:pt x="362752" y="270377"/>
                  </a:moveTo>
                  <a:cubicBezTo>
                    <a:pt x="362209" y="270377"/>
                    <a:pt x="361667" y="270197"/>
                    <a:pt x="361305" y="269835"/>
                  </a:cubicBezTo>
                  <a:lnTo>
                    <a:pt x="1043" y="4883"/>
                  </a:lnTo>
                  <a:cubicBezTo>
                    <a:pt x="139" y="4160"/>
                    <a:pt x="-223" y="2894"/>
                    <a:pt x="139" y="1808"/>
                  </a:cubicBezTo>
                  <a:cubicBezTo>
                    <a:pt x="500" y="723"/>
                    <a:pt x="1585" y="0"/>
                    <a:pt x="2851" y="0"/>
                  </a:cubicBezTo>
                  <a:cubicBezTo>
                    <a:pt x="2851" y="0"/>
                    <a:pt x="2851" y="0"/>
                    <a:pt x="2851" y="0"/>
                  </a:cubicBezTo>
                  <a:lnTo>
                    <a:pt x="794090" y="60225"/>
                  </a:lnTo>
                  <a:cubicBezTo>
                    <a:pt x="795356" y="60225"/>
                    <a:pt x="796260" y="61129"/>
                    <a:pt x="796441" y="62395"/>
                  </a:cubicBezTo>
                  <a:cubicBezTo>
                    <a:pt x="796622" y="63661"/>
                    <a:pt x="796079" y="64746"/>
                    <a:pt x="794994" y="65288"/>
                  </a:cubicBezTo>
                  <a:lnTo>
                    <a:pt x="364018" y="270016"/>
                  </a:lnTo>
                  <a:cubicBezTo>
                    <a:pt x="363656" y="270197"/>
                    <a:pt x="363294" y="270377"/>
                    <a:pt x="362752" y="270377"/>
                  </a:cubicBezTo>
                  <a:close/>
                  <a:moveTo>
                    <a:pt x="11894" y="5968"/>
                  </a:moveTo>
                  <a:lnTo>
                    <a:pt x="363294" y="264409"/>
                  </a:lnTo>
                  <a:lnTo>
                    <a:pt x="783600" y="64746"/>
                  </a:lnTo>
                  <a:lnTo>
                    <a:pt x="11894" y="59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7" name="Google Shape;67;p21"/>
            <p:cNvSpPr/>
            <p:nvPr/>
          </p:nvSpPr>
          <p:spPr>
            <a:xfrm>
              <a:off x="8511329" y="5357083"/>
              <a:ext cx="436319" cy="298122"/>
            </a:xfrm>
            <a:custGeom>
              <a:avLst/>
              <a:gdLst/>
              <a:ahLst/>
              <a:cxnLst/>
              <a:rect l="l" t="t" r="r" b="b"/>
              <a:pathLst>
                <a:path w="436319" h="298122" extrusionOk="0">
                  <a:moveTo>
                    <a:pt x="228238" y="298122"/>
                  </a:moveTo>
                  <a:cubicBezTo>
                    <a:pt x="227877" y="298122"/>
                    <a:pt x="227696" y="298122"/>
                    <a:pt x="227515" y="297941"/>
                  </a:cubicBezTo>
                  <a:lnTo>
                    <a:pt x="1628" y="209865"/>
                  </a:lnTo>
                  <a:cubicBezTo>
                    <a:pt x="543" y="209504"/>
                    <a:pt x="0" y="208599"/>
                    <a:pt x="0" y="207514"/>
                  </a:cubicBezTo>
                  <a:cubicBezTo>
                    <a:pt x="0" y="206429"/>
                    <a:pt x="543" y="205525"/>
                    <a:pt x="1447" y="204982"/>
                  </a:cubicBezTo>
                  <a:lnTo>
                    <a:pt x="432423" y="255"/>
                  </a:lnTo>
                  <a:cubicBezTo>
                    <a:pt x="433508" y="-288"/>
                    <a:pt x="434774" y="74"/>
                    <a:pt x="435678" y="978"/>
                  </a:cubicBezTo>
                  <a:cubicBezTo>
                    <a:pt x="436402" y="1883"/>
                    <a:pt x="436583" y="3330"/>
                    <a:pt x="435859" y="4234"/>
                  </a:cubicBezTo>
                  <a:lnTo>
                    <a:pt x="230770" y="297037"/>
                  </a:lnTo>
                  <a:cubicBezTo>
                    <a:pt x="230047" y="297761"/>
                    <a:pt x="229143" y="298122"/>
                    <a:pt x="228238" y="298122"/>
                  </a:cubicBezTo>
                  <a:close/>
                  <a:moveTo>
                    <a:pt x="9224" y="206972"/>
                  </a:moveTo>
                  <a:lnTo>
                    <a:pt x="227334" y="291973"/>
                  </a:lnTo>
                  <a:lnTo>
                    <a:pt x="425370" y="9298"/>
                  </a:lnTo>
                  <a:lnTo>
                    <a:pt x="9224" y="20697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8" name="Google Shape;68;p21"/>
            <p:cNvSpPr/>
            <p:nvPr/>
          </p:nvSpPr>
          <p:spPr>
            <a:xfrm>
              <a:off x="8737010" y="5357121"/>
              <a:ext cx="850611" cy="298264"/>
            </a:xfrm>
            <a:custGeom>
              <a:avLst/>
              <a:gdLst/>
              <a:ahLst/>
              <a:cxnLst/>
              <a:rect l="l" t="t" r="r" b="b"/>
              <a:pathLst>
                <a:path w="850611" h="298264" extrusionOk="0">
                  <a:moveTo>
                    <a:pt x="2557" y="298084"/>
                  </a:moveTo>
                  <a:cubicBezTo>
                    <a:pt x="1653" y="298084"/>
                    <a:pt x="929" y="297541"/>
                    <a:pt x="387" y="296818"/>
                  </a:cubicBezTo>
                  <a:cubicBezTo>
                    <a:pt x="-156" y="295914"/>
                    <a:pt x="-156" y="294828"/>
                    <a:pt x="568" y="293924"/>
                  </a:cubicBezTo>
                  <a:lnTo>
                    <a:pt x="205657" y="1121"/>
                  </a:lnTo>
                  <a:cubicBezTo>
                    <a:pt x="206380" y="216"/>
                    <a:pt x="207646" y="-326"/>
                    <a:pt x="208731" y="216"/>
                  </a:cubicBezTo>
                  <a:lnTo>
                    <a:pt x="848775" y="229540"/>
                  </a:lnTo>
                  <a:cubicBezTo>
                    <a:pt x="850041" y="229902"/>
                    <a:pt x="850765" y="231168"/>
                    <a:pt x="850584" y="232434"/>
                  </a:cubicBezTo>
                  <a:cubicBezTo>
                    <a:pt x="850403" y="233700"/>
                    <a:pt x="849318" y="234604"/>
                    <a:pt x="848052" y="234785"/>
                  </a:cubicBezTo>
                  <a:lnTo>
                    <a:pt x="2919" y="298265"/>
                  </a:lnTo>
                  <a:cubicBezTo>
                    <a:pt x="2738" y="298084"/>
                    <a:pt x="2557" y="298084"/>
                    <a:pt x="2557" y="298084"/>
                  </a:cubicBezTo>
                  <a:close/>
                  <a:moveTo>
                    <a:pt x="208731" y="5823"/>
                  </a:moveTo>
                  <a:lnTo>
                    <a:pt x="8163" y="292297"/>
                  </a:lnTo>
                  <a:lnTo>
                    <a:pt x="835030" y="230263"/>
                  </a:lnTo>
                  <a:lnTo>
                    <a:pt x="208731" y="582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9" name="Google Shape;69;p21"/>
            <p:cNvSpPr/>
            <p:nvPr/>
          </p:nvSpPr>
          <p:spPr>
            <a:xfrm>
              <a:off x="8521999" y="5812894"/>
              <a:ext cx="1300768" cy="1081344"/>
            </a:xfrm>
            <a:custGeom>
              <a:avLst/>
              <a:gdLst/>
              <a:ahLst/>
              <a:cxnLst/>
              <a:rect l="l" t="t" r="r" b="b"/>
              <a:pathLst>
                <a:path w="1300768" h="1081344" extrusionOk="0">
                  <a:moveTo>
                    <a:pt x="1297993" y="1081345"/>
                  </a:moveTo>
                  <a:cubicBezTo>
                    <a:pt x="1297812" y="1081345"/>
                    <a:pt x="1297450" y="1081345"/>
                    <a:pt x="1297269" y="1081164"/>
                  </a:cubicBezTo>
                  <a:lnTo>
                    <a:pt x="1809" y="593400"/>
                  </a:lnTo>
                  <a:cubicBezTo>
                    <a:pt x="904" y="593038"/>
                    <a:pt x="181" y="592134"/>
                    <a:pt x="0" y="591049"/>
                  </a:cubicBezTo>
                  <a:cubicBezTo>
                    <a:pt x="0" y="589964"/>
                    <a:pt x="362" y="589059"/>
                    <a:pt x="1266" y="588516"/>
                  </a:cubicBezTo>
                  <a:lnTo>
                    <a:pt x="1032317" y="378"/>
                  </a:lnTo>
                  <a:cubicBezTo>
                    <a:pt x="1033041" y="16"/>
                    <a:pt x="1033945" y="-165"/>
                    <a:pt x="1034669" y="197"/>
                  </a:cubicBezTo>
                  <a:cubicBezTo>
                    <a:pt x="1035392" y="559"/>
                    <a:pt x="1035935" y="1282"/>
                    <a:pt x="1036296" y="2006"/>
                  </a:cubicBezTo>
                  <a:lnTo>
                    <a:pt x="1300706" y="1077909"/>
                  </a:lnTo>
                  <a:cubicBezTo>
                    <a:pt x="1300887" y="1078813"/>
                    <a:pt x="1300706" y="1079898"/>
                    <a:pt x="1299801" y="1080622"/>
                  </a:cubicBezTo>
                  <a:cubicBezTo>
                    <a:pt x="1299440" y="1081164"/>
                    <a:pt x="1298716" y="1081345"/>
                    <a:pt x="1297993" y="1081345"/>
                  </a:cubicBezTo>
                  <a:close/>
                  <a:moveTo>
                    <a:pt x="9043" y="590325"/>
                  </a:moveTo>
                  <a:lnTo>
                    <a:pt x="1294376" y="1074292"/>
                  </a:lnTo>
                  <a:lnTo>
                    <a:pt x="1031956" y="6889"/>
                  </a:lnTo>
                  <a:lnTo>
                    <a:pt x="9043" y="5903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0" name="Google Shape;70;p21"/>
            <p:cNvSpPr/>
            <p:nvPr/>
          </p:nvSpPr>
          <p:spPr>
            <a:xfrm>
              <a:off x="9552939" y="5812786"/>
              <a:ext cx="682113" cy="1081452"/>
            </a:xfrm>
            <a:custGeom>
              <a:avLst/>
              <a:gdLst/>
              <a:ahLst/>
              <a:cxnLst/>
              <a:rect l="l" t="t" r="r" b="b"/>
              <a:pathLst>
                <a:path w="682113" h="1081452" extrusionOk="0">
                  <a:moveTo>
                    <a:pt x="267053" y="1081453"/>
                  </a:moveTo>
                  <a:cubicBezTo>
                    <a:pt x="266872" y="1081453"/>
                    <a:pt x="266691" y="1081453"/>
                    <a:pt x="266329" y="1081272"/>
                  </a:cubicBezTo>
                  <a:cubicBezTo>
                    <a:pt x="265425" y="1080910"/>
                    <a:pt x="264702" y="1080187"/>
                    <a:pt x="264521" y="1079283"/>
                  </a:cubicBezTo>
                  <a:lnTo>
                    <a:pt x="112" y="3380"/>
                  </a:lnTo>
                  <a:cubicBezTo>
                    <a:pt x="-250" y="2114"/>
                    <a:pt x="292" y="1029"/>
                    <a:pt x="1378" y="305"/>
                  </a:cubicBezTo>
                  <a:cubicBezTo>
                    <a:pt x="2463" y="-237"/>
                    <a:pt x="3729" y="-57"/>
                    <a:pt x="4633" y="848"/>
                  </a:cubicBezTo>
                  <a:lnTo>
                    <a:pt x="681391" y="719925"/>
                  </a:lnTo>
                  <a:cubicBezTo>
                    <a:pt x="681933" y="720467"/>
                    <a:pt x="682114" y="721191"/>
                    <a:pt x="682114" y="721915"/>
                  </a:cubicBezTo>
                  <a:cubicBezTo>
                    <a:pt x="682114" y="722638"/>
                    <a:pt x="681752" y="723361"/>
                    <a:pt x="681210" y="723904"/>
                  </a:cubicBezTo>
                  <a:lnTo>
                    <a:pt x="268862" y="1080730"/>
                  </a:lnTo>
                  <a:cubicBezTo>
                    <a:pt x="268500" y="1081272"/>
                    <a:pt x="267776" y="1081453"/>
                    <a:pt x="267053" y="1081453"/>
                  </a:cubicBezTo>
                  <a:close/>
                  <a:moveTo>
                    <a:pt x="7888" y="12241"/>
                  </a:moveTo>
                  <a:lnTo>
                    <a:pt x="268862" y="1073857"/>
                  </a:lnTo>
                  <a:lnTo>
                    <a:pt x="675784" y="721734"/>
                  </a:lnTo>
                  <a:lnTo>
                    <a:pt x="7888" y="12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1" name="Google Shape;71;p21"/>
            <p:cNvSpPr/>
            <p:nvPr/>
          </p:nvSpPr>
          <p:spPr>
            <a:xfrm>
              <a:off x="11837424" y="5519022"/>
              <a:ext cx="186167" cy="588138"/>
            </a:xfrm>
            <a:custGeom>
              <a:avLst/>
              <a:gdLst/>
              <a:ahLst/>
              <a:cxnLst/>
              <a:rect l="l" t="t" r="r" b="b"/>
              <a:pathLst>
                <a:path w="186167" h="588138" extrusionOk="0">
                  <a:moveTo>
                    <a:pt x="62214" y="588139"/>
                  </a:moveTo>
                  <a:cubicBezTo>
                    <a:pt x="60948" y="588139"/>
                    <a:pt x="59863" y="587054"/>
                    <a:pt x="59682" y="585788"/>
                  </a:cubicBezTo>
                  <a:lnTo>
                    <a:pt x="0" y="10490"/>
                  </a:lnTo>
                  <a:cubicBezTo>
                    <a:pt x="0" y="9766"/>
                    <a:pt x="181" y="9043"/>
                    <a:pt x="723" y="8500"/>
                  </a:cubicBezTo>
                  <a:cubicBezTo>
                    <a:pt x="1266" y="7958"/>
                    <a:pt x="1989" y="7596"/>
                    <a:pt x="2713" y="7596"/>
                  </a:cubicBezTo>
                  <a:lnTo>
                    <a:pt x="183386" y="0"/>
                  </a:lnTo>
                  <a:cubicBezTo>
                    <a:pt x="184291" y="0"/>
                    <a:pt x="185014" y="362"/>
                    <a:pt x="185557" y="904"/>
                  </a:cubicBezTo>
                  <a:cubicBezTo>
                    <a:pt x="186099" y="1628"/>
                    <a:pt x="186280" y="2351"/>
                    <a:pt x="186099" y="3256"/>
                  </a:cubicBezTo>
                  <a:lnTo>
                    <a:pt x="65107" y="586149"/>
                  </a:lnTo>
                  <a:cubicBezTo>
                    <a:pt x="64746" y="587234"/>
                    <a:pt x="63480" y="588139"/>
                    <a:pt x="62214" y="588139"/>
                  </a:cubicBezTo>
                  <a:cubicBezTo>
                    <a:pt x="62214" y="588139"/>
                    <a:pt x="62214" y="588139"/>
                    <a:pt x="62214" y="588139"/>
                  </a:cubicBezTo>
                  <a:close/>
                  <a:moveTo>
                    <a:pt x="5606" y="12660"/>
                  </a:moveTo>
                  <a:lnTo>
                    <a:pt x="63299" y="567883"/>
                  </a:lnTo>
                  <a:lnTo>
                    <a:pt x="180131" y="5426"/>
                  </a:lnTo>
                  <a:lnTo>
                    <a:pt x="5606" y="1266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2" name="Google Shape;72;p21"/>
            <p:cNvSpPr/>
            <p:nvPr/>
          </p:nvSpPr>
          <p:spPr>
            <a:xfrm>
              <a:off x="11897219" y="5518880"/>
              <a:ext cx="646079" cy="588280"/>
            </a:xfrm>
            <a:custGeom>
              <a:avLst/>
              <a:gdLst/>
              <a:ahLst/>
              <a:cxnLst/>
              <a:rect l="l" t="t" r="r" b="b"/>
              <a:pathLst>
                <a:path w="646079" h="588280" extrusionOk="0">
                  <a:moveTo>
                    <a:pt x="2419" y="588281"/>
                  </a:moveTo>
                  <a:cubicBezTo>
                    <a:pt x="1695" y="588281"/>
                    <a:pt x="972" y="587919"/>
                    <a:pt x="610" y="587376"/>
                  </a:cubicBezTo>
                  <a:cubicBezTo>
                    <a:pt x="68" y="586653"/>
                    <a:pt x="-113" y="585929"/>
                    <a:pt x="68" y="585025"/>
                  </a:cubicBezTo>
                  <a:lnTo>
                    <a:pt x="121059" y="2131"/>
                  </a:lnTo>
                  <a:cubicBezTo>
                    <a:pt x="121240" y="1227"/>
                    <a:pt x="121964" y="323"/>
                    <a:pt x="123049" y="142"/>
                  </a:cubicBezTo>
                  <a:cubicBezTo>
                    <a:pt x="123953" y="-220"/>
                    <a:pt x="125038" y="142"/>
                    <a:pt x="125762" y="865"/>
                  </a:cubicBezTo>
                  <a:lnTo>
                    <a:pt x="645357" y="543609"/>
                  </a:lnTo>
                  <a:cubicBezTo>
                    <a:pt x="646080" y="544333"/>
                    <a:pt x="646261" y="545418"/>
                    <a:pt x="645899" y="546503"/>
                  </a:cubicBezTo>
                  <a:cubicBezTo>
                    <a:pt x="645537" y="547408"/>
                    <a:pt x="644633" y="548131"/>
                    <a:pt x="643548" y="548131"/>
                  </a:cubicBezTo>
                  <a:lnTo>
                    <a:pt x="2600" y="588281"/>
                  </a:lnTo>
                  <a:cubicBezTo>
                    <a:pt x="2600" y="588281"/>
                    <a:pt x="2419" y="588281"/>
                    <a:pt x="2419" y="588281"/>
                  </a:cubicBezTo>
                  <a:close/>
                  <a:moveTo>
                    <a:pt x="125038" y="8280"/>
                  </a:moveTo>
                  <a:lnTo>
                    <a:pt x="5855" y="582674"/>
                  </a:lnTo>
                  <a:lnTo>
                    <a:pt x="637037" y="543067"/>
                  </a:lnTo>
                  <a:lnTo>
                    <a:pt x="125038" y="828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3" name="Google Shape;73;p21"/>
            <p:cNvSpPr/>
            <p:nvPr/>
          </p:nvSpPr>
          <p:spPr>
            <a:xfrm>
              <a:off x="12017917" y="5518841"/>
              <a:ext cx="524867" cy="548169"/>
            </a:xfrm>
            <a:custGeom>
              <a:avLst/>
              <a:gdLst/>
              <a:ahLst/>
              <a:cxnLst/>
              <a:rect l="l" t="t" r="r" b="b"/>
              <a:pathLst>
                <a:path w="524867" h="548169" extrusionOk="0">
                  <a:moveTo>
                    <a:pt x="522127" y="548170"/>
                  </a:moveTo>
                  <a:cubicBezTo>
                    <a:pt x="521403" y="548170"/>
                    <a:pt x="520861" y="547808"/>
                    <a:pt x="520318" y="547265"/>
                  </a:cubicBezTo>
                  <a:lnTo>
                    <a:pt x="723" y="4521"/>
                  </a:lnTo>
                  <a:cubicBezTo>
                    <a:pt x="0" y="3798"/>
                    <a:pt x="-181" y="2532"/>
                    <a:pt x="181" y="1447"/>
                  </a:cubicBezTo>
                  <a:cubicBezTo>
                    <a:pt x="723" y="362"/>
                    <a:pt x="1809" y="0"/>
                    <a:pt x="2894" y="0"/>
                  </a:cubicBezTo>
                  <a:lnTo>
                    <a:pt x="457924" y="40511"/>
                  </a:lnTo>
                  <a:cubicBezTo>
                    <a:pt x="459190" y="40692"/>
                    <a:pt x="460275" y="41597"/>
                    <a:pt x="460275" y="42862"/>
                  </a:cubicBezTo>
                  <a:lnTo>
                    <a:pt x="524840" y="545095"/>
                  </a:lnTo>
                  <a:cubicBezTo>
                    <a:pt x="525021" y="546180"/>
                    <a:pt x="524297" y="547446"/>
                    <a:pt x="523393" y="547808"/>
                  </a:cubicBezTo>
                  <a:cubicBezTo>
                    <a:pt x="523031" y="548170"/>
                    <a:pt x="522669" y="548170"/>
                    <a:pt x="522127" y="548170"/>
                  </a:cubicBezTo>
                  <a:close/>
                  <a:moveTo>
                    <a:pt x="9766" y="5968"/>
                  </a:moveTo>
                  <a:lnTo>
                    <a:pt x="518691" y="537680"/>
                  </a:lnTo>
                  <a:lnTo>
                    <a:pt x="455573" y="45756"/>
                  </a:lnTo>
                  <a:lnTo>
                    <a:pt x="9766" y="59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4" name="Google Shape;74;p21"/>
            <p:cNvSpPr/>
            <p:nvPr/>
          </p:nvSpPr>
          <p:spPr>
            <a:xfrm>
              <a:off x="12312147" y="4224077"/>
              <a:ext cx="453714" cy="81954"/>
            </a:xfrm>
            <a:custGeom>
              <a:avLst/>
              <a:gdLst/>
              <a:ahLst/>
              <a:cxnLst/>
              <a:rect l="l" t="t" r="r" b="b"/>
              <a:pathLst>
                <a:path w="453714" h="81954" extrusionOk="0">
                  <a:moveTo>
                    <a:pt x="2552" y="79603"/>
                  </a:moveTo>
                  <a:cubicBezTo>
                    <a:pt x="1286" y="79603"/>
                    <a:pt x="201" y="78518"/>
                    <a:pt x="20" y="77071"/>
                  </a:cubicBezTo>
                  <a:cubicBezTo>
                    <a:pt x="-161" y="75625"/>
                    <a:pt x="924" y="74359"/>
                    <a:pt x="2190" y="74178"/>
                  </a:cubicBezTo>
                  <a:lnTo>
                    <a:pt x="450528" y="28"/>
                  </a:lnTo>
                  <a:cubicBezTo>
                    <a:pt x="451794" y="-153"/>
                    <a:pt x="453061" y="570"/>
                    <a:pt x="453603" y="1836"/>
                  </a:cubicBezTo>
                  <a:cubicBezTo>
                    <a:pt x="453965" y="3102"/>
                    <a:pt x="453422" y="4549"/>
                    <a:pt x="452337" y="5091"/>
                  </a:cubicBezTo>
                  <a:lnTo>
                    <a:pt x="304217" y="81593"/>
                  </a:lnTo>
                  <a:cubicBezTo>
                    <a:pt x="303856" y="81774"/>
                    <a:pt x="303313" y="81955"/>
                    <a:pt x="302951" y="81955"/>
                  </a:cubicBezTo>
                  <a:lnTo>
                    <a:pt x="2552" y="79603"/>
                  </a:lnTo>
                  <a:cubicBezTo>
                    <a:pt x="2733" y="79603"/>
                    <a:pt x="2733" y="79603"/>
                    <a:pt x="2552" y="79603"/>
                  </a:cubicBezTo>
                  <a:close/>
                  <a:moveTo>
                    <a:pt x="434613" y="8166"/>
                  </a:moveTo>
                  <a:lnTo>
                    <a:pt x="34020" y="74539"/>
                  </a:lnTo>
                  <a:lnTo>
                    <a:pt x="302408" y="76710"/>
                  </a:lnTo>
                  <a:lnTo>
                    <a:pt x="434613" y="816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5" name="Google Shape;75;p21"/>
            <p:cNvSpPr/>
            <p:nvPr/>
          </p:nvSpPr>
          <p:spPr>
            <a:xfrm>
              <a:off x="12312209" y="4298254"/>
              <a:ext cx="496708" cy="367380"/>
            </a:xfrm>
            <a:custGeom>
              <a:avLst/>
              <a:gdLst/>
              <a:ahLst/>
              <a:cxnLst/>
              <a:rect l="l" t="t" r="r" b="b"/>
              <a:pathLst>
                <a:path w="496708" h="367380" extrusionOk="0">
                  <a:moveTo>
                    <a:pt x="493871" y="367315"/>
                  </a:moveTo>
                  <a:cubicBezTo>
                    <a:pt x="493329" y="367315"/>
                    <a:pt x="492786" y="367135"/>
                    <a:pt x="492425" y="366773"/>
                  </a:cubicBezTo>
                  <a:lnTo>
                    <a:pt x="1043" y="4883"/>
                  </a:lnTo>
                  <a:cubicBezTo>
                    <a:pt x="139" y="4160"/>
                    <a:pt x="-223" y="2894"/>
                    <a:pt x="139" y="1809"/>
                  </a:cubicBezTo>
                  <a:cubicBezTo>
                    <a:pt x="500" y="724"/>
                    <a:pt x="1585" y="0"/>
                    <a:pt x="2671" y="0"/>
                  </a:cubicBezTo>
                  <a:lnTo>
                    <a:pt x="302889" y="2351"/>
                  </a:lnTo>
                  <a:cubicBezTo>
                    <a:pt x="303974" y="2351"/>
                    <a:pt x="304697" y="2894"/>
                    <a:pt x="305240" y="3798"/>
                  </a:cubicBezTo>
                  <a:lnTo>
                    <a:pt x="496403" y="363337"/>
                  </a:lnTo>
                  <a:cubicBezTo>
                    <a:pt x="496946" y="364422"/>
                    <a:pt x="496765" y="365869"/>
                    <a:pt x="495861" y="366592"/>
                  </a:cubicBezTo>
                  <a:cubicBezTo>
                    <a:pt x="495137" y="367315"/>
                    <a:pt x="494595" y="367496"/>
                    <a:pt x="493871" y="367315"/>
                  </a:cubicBezTo>
                  <a:close/>
                  <a:moveTo>
                    <a:pt x="10990" y="5606"/>
                  </a:moveTo>
                  <a:lnTo>
                    <a:pt x="486094" y="355560"/>
                  </a:lnTo>
                  <a:lnTo>
                    <a:pt x="301261" y="7777"/>
                  </a:lnTo>
                  <a:lnTo>
                    <a:pt x="10990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6" name="Google Shape;76;p21"/>
            <p:cNvSpPr/>
            <p:nvPr/>
          </p:nvSpPr>
          <p:spPr>
            <a:xfrm>
              <a:off x="10225106" y="3577622"/>
              <a:ext cx="898800" cy="781941"/>
            </a:xfrm>
            <a:custGeom>
              <a:avLst/>
              <a:gdLst/>
              <a:ahLst/>
              <a:cxnLst/>
              <a:rect l="l" t="t" r="r" b="b"/>
              <a:pathLst>
                <a:path w="898800" h="781941" extrusionOk="0">
                  <a:moveTo>
                    <a:pt x="895953" y="781942"/>
                  </a:moveTo>
                  <a:cubicBezTo>
                    <a:pt x="895592" y="781942"/>
                    <a:pt x="895230" y="781761"/>
                    <a:pt x="895049" y="781761"/>
                  </a:cubicBezTo>
                  <a:lnTo>
                    <a:pt x="1447" y="359104"/>
                  </a:lnTo>
                  <a:cubicBezTo>
                    <a:pt x="543" y="358743"/>
                    <a:pt x="0" y="357838"/>
                    <a:pt x="0" y="356934"/>
                  </a:cubicBezTo>
                  <a:cubicBezTo>
                    <a:pt x="0" y="356030"/>
                    <a:pt x="362" y="355125"/>
                    <a:pt x="1085" y="354583"/>
                  </a:cubicBezTo>
                  <a:lnTo>
                    <a:pt x="487584" y="470"/>
                  </a:lnTo>
                  <a:cubicBezTo>
                    <a:pt x="488307" y="-73"/>
                    <a:pt x="489031" y="-73"/>
                    <a:pt x="489754" y="108"/>
                  </a:cubicBezTo>
                  <a:cubicBezTo>
                    <a:pt x="490478" y="289"/>
                    <a:pt x="491201" y="832"/>
                    <a:pt x="491563" y="1555"/>
                  </a:cubicBezTo>
                  <a:lnTo>
                    <a:pt x="898485" y="778506"/>
                  </a:lnTo>
                  <a:cubicBezTo>
                    <a:pt x="899028" y="779591"/>
                    <a:pt x="898847" y="780857"/>
                    <a:pt x="898124" y="781580"/>
                  </a:cubicBezTo>
                  <a:cubicBezTo>
                    <a:pt x="897581" y="781580"/>
                    <a:pt x="896858" y="781942"/>
                    <a:pt x="895953" y="781942"/>
                  </a:cubicBezTo>
                  <a:close/>
                  <a:moveTo>
                    <a:pt x="7958" y="356030"/>
                  </a:moveTo>
                  <a:lnTo>
                    <a:pt x="890166" y="773261"/>
                  </a:lnTo>
                  <a:lnTo>
                    <a:pt x="488307" y="6257"/>
                  </a:lnTo>
                  <a:lnTo>
                    <a:pt x="7958" y="3560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7" name="Google Shape;77;p21"/>
            <p:cNvSpPr/>
            <p:nvPr/>
          </p:nvSpPr>
          <p:spPr>
            <a:xfrm>
              <a:off x="10711667" y="3430146"/>
              <a:ext cx="412647" cy="929418"/>
            </a:xfrm>
            <a:custGeom>
              <a:avLst/>
              <a:gdLst/>
              <a:ahLst/>
              <a:cxnLst/>
              <a:rect l="l" t="t" r="r" b="b"/>
              <a:pathLst>
                <a:path w="412647" h="929418" extrusionOk="0">
                  <a:moveTo>
                    <a:pt x="409393" y="929418"/>
                  </a:moveTo>
                  <a:cubicBezTo>
                    <a:pt x="408488" y="929418"/>
                    <a:pt x="407584" y="928876"/>
                    <a:pt x="407222" y="927971"/>
                  </a:cubicBezTo>
                  <a:lnTo>
                    <a:pt x="299" y="151021"/>
                  </a:lnTo>
                  <a:cubicBezTo>
                    <a:pt x="-62" y="150297"/>
                    <a:pt x="-62" y="149574"/>
                    <a:pt x="119" y="148850"/>
                  </a:cubicBezTo>
                  <a:cubicBezTo>
                    <a:pt x="481" y="148127"/>
                    <a:pt x="1023" y="147585"/>
                    <a:pt x="1746" y="147223"/>
                  </a:cubicBezTo>
                  <a:lnTo>
                    <a:pt x="391850" y="188"/>
                  </a:lnTo>
                  <a:cubicBezTo>
                    <a:pt x="392754" y="-174"/>
                    <a:pt x="393658" y="7"/>
                    <a:pt x="394382" y="550"/>
                  </a:cubicBezTo>
                  <a:cubicBezTo>
                    <a:pt x="395105" y="1092"/>
                    <a:pt x="395467" y="1816"/>
                    <a:pt x="395647" y="2720"/>
                  </a:cubicBezTo>
                  <a:lnTo>
                    <a:pt x="412648" y="926705"/>
                  </a:lnTo>
                  <a:cubicBezTo>
                    <a:pt x="412648" y="927971"/>
                    <a:pt x="411743" y="929057"/>
                    <a:pt x="410658" y="929418"/>
                  </a:cubicBezTo>
                  <a:cubicBezTo>
                    <a:pt x="409935" y="929418"/>
                    <a:pt x="409754" y="929418"/>
                    <a:pt x="409393" y="929418"/>
                  </a:cubicBezTo>
                  <a:close/>
                  <a:moveTo>
                    <a:pt x="6449" y="151202"/>
                  </a:moveTo>
                  <a:lnTo>
                    <a:pt x="406680" y="915312"/>
                  </a:lnTo>
                  <a:lnTo>
                    <a:pt x="390041" y="6699"/>
                  </a:lnTo>
                  <a:lnTo>
                    <a:pt x="6449" y="15120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8" name="Google Shape;78;p21"/>
            <p:cNvSpPr/>
            <p:nvPr/>
          </p:nvSpPr>
          <p:spPr>
            <a:xfrm>
              <a:off x="11101527" y="3430334"/>
              <a:ext cx="321667" cy="929230"/>
            </a:xfrm>
            <a:custGeom>
              <a:avLst/>
              <a:gdLst/>
              <a:ahLst/>
              <a:cxnLst/>
              <a:rect l="l" t="t" r="r" b="b"/>
              <a:pathLst>
                <a:path w="321667" h="929230" extrusionOk="0">
                  <a:moveTo>
                    <a:pt x="19532" y="929230"/>
                  </a:moveTo>
                  <a:cubicBezTo>
                    <a:pt x="19532" y="929230"/>
                    <a:pt x="19351" y="929230"/>
                    <a:pt x="19351" y="929230"/>
                  </a:cubicBezTo>
                  <a:cubicBezTo>
                    <a:pt x="18085" y="929049"/>
                    <a:pt x="17000" y="927964"/>
                    <a:pt x="17000" y="926698"/>
                  </a:cubicBezTo>
                  <a:lnTo>
                    <a:pt x="0" y="2713"/>
                  </a:lnTo>
                  <a:cubicBezTo>
                    <a:pt x="0" y="1989"/>
                    <a:pt x="362" y="1266"/>
                    <a:pt x="723" y="723"/>
                  </a:cubicBezTo>
                  <a:cubicBezTo>
                    <a:pt x="1266" y="181"/>
                    <a:pt x="1989" y="0"/>
                    <a:pt x="2713" y="0"/>
                  </a:cubicBezTo>
                  <a:lnTo>
                    <a:pt x="319208" y="16277"/>
                  </a:lnTo>
                  <a:cubicBezTo>
                    <a:pt x="320293" y="16458"/>
                    <a:pt x="320836" y="16819"/>
                    <a:pt x="321198" y="17362"/>
                  </a:cubicBezTo>
                  <a:cubicBezTo>
                    <a:pt x="321740" y="18085"/>
                    <a:pt x="321740" y="18990"/>
                    <a:pt x="321559" y="19713"/>
                  </a:cubicBezTo>
                  <a:lnTo>
                    <a:pt x="22064" y="927241"/>
                  </a:lnTo>
                  <a:cubicBezTo>
                    <a:pt x="21883" y="928507"/>
                    <a:pt x="20798" y="929230"/>
                    <a:pt x="19532" y="929230"/>
                  </a:cubicBezTo>
                  <a:close/>
                  <a:moveTo>
                    <a:pt x="5606" y="5426"/>
                  </a:moveTo>
                  <a:lnTo>
                    <a:pt x="22245" y="910602"/>
                  </a:lnTo>
                  <a:lnTo>
                    <a:pt x="315772" y="21341"/>
                  </a:lnTo>
                  <a:lnTo>
                    <a:pt x="5606" y="542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79" name="Google Shape;79;p21"/>
            <p:cNvSpPr/>
            <p:nvPr/>
          </p:nvSpPr>
          <p:spPr>
            <a:xfrm>
              <a:off x="11118534" y="4298254"/>
              <a:ext cx="1198905" cy="296676"/>
            </a:xfrm>
            <a:custGeom>
              <a:avLst/>
              <a:gdLst/>
              <a:ahLst/>
              <a:cxnLst/>
              <a:rect l="l" t="t" r="r" b="b"/>
              <a:pathLst>
                <a:path w="1198905" h="296676" extrusionOk="0">
                  <a:moveTo>
                    <a:pt x="273265" y="296601"/>
                  </a:moveTo>
                  <a:cubicBezTo>
                    <a:pt x="272723" y="296601"/>
                    <a:pt x="272180" y="296420"/>
                    <a:pt x="271637" y="295878"/>
                  </a:cubicBezTo>
                  <a:lnTo>
                    <a:pt x="898" y="60406"/>
                  </a:lnTo>
                  <a:cubicBezTo>
                    <a:pt x="-6" y="59682"/>
                    <a:pt x="-187" y="58597"/>
                    <a:pt x="175" y="57512"/>
                  </a:cubicBezTo>
                  <a:cubicBezTo>
                    <a:pt x="536" y="56427"/>
                    <a:pt x="1441" y="55703"/>
                    <a:pt x="2526" y="55703"/>
                  </a:cubicBezTo>
                  <a:lnTo>
                    <a:pt x="1196166" y="0"/>
                  </a:lnTo>
                  <a:cubicBezTo>
                    <a:pt x="1197612" y="0"/>
                    <a:pt x="1198697" y="904"/>
                    <a:pt x="1198878" y="2170"/>
                  </a:cubicBezTo>
                  <a:cubicBezTo>
                    <a:pt x="1199059" y="3436"/>
                    <a:pt x="1198336" y="4883"/>
                    <a:pt x="1197070" y="5245"/>
                  </a:cubicBezTo>
                  <a:lnTo>
                    <a:pt x="274169" y="296420"/>
                  </a:lnTo>
                  <a:cubicBezTo>
                    <a:pt x="273988" y="296601"/>
                    <a:pt x="273627" y="296782"/>
                    <a:pt x="273265" y="296601"/>
                  </a:cubicBezTo>
                  <a:close/>
                  <a:moveTo>
                    <a:pt x="9579" y="60948"/>
                  </a:moveTo>
                  <a:lnTo>
                    <a:pt x="273988" y="290995"/>
                  </a:lnTo>
                  <a:lnTo>
                    <a:pt x="1175729" y="6511"/>
                  </a:lnTo>
                  <a:lnTo>
                    <a:pt x="9579" y="609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0" name="Google Shape;80;p21"/>
            <p:cNvSpPr/>
            <p:nvPr/>
          </p:nvSpPr>
          <p:spPr>
            <a:xfrm>
              <a:off x="11101747" y="3147886"/>
              <a:ext cx="338367" cy="303970"/>
            </a:xfrm>
            <a:custGeom>
              <a:avLst/>
              <a:gdLst/>
              <a:ahLst/>
              <a:cxnLst/>
              <a:rect l="l" t="t" r="r" b="b"/>
              <a:pathLst>
                <a:path w="338367" h="303970" extrusionOk="0">
                  <a:moveTo>
                    <a:pt x="2493" y="287693"/>
                  </a:moveTo>
                  <a:cubicBezTo>
                    <a:pt x="1408" y="287693"/>
                    <a:pt x="503" y="286970"/>
                    <a:pt x="142" y="285885"/>
                  </a:cubicBezTo>
                  <a:cubicBezTo>
                    <a:pt x="-220" y="284800"/>
                    <a:pt x="142" y="283714"/>
                    <a:pt x="865" y="282991"/>
                  </a:cubicBezTo>
                  <a:lnTo>
                    <a:pt x="333999" y="677"/>
                  </a:lnTo>
                  <a:cubicBezTo>
                    <a:pt x="334904" y="-46"/>
                    <a:pt x="335989" y="-227"/>
                    <a:pt x="336893" y="315"/>
                  </a:cubicBezTo>
                  <a:cubicBezTo>
                    <a:pt x="337797" y="858"/>
                    <a:pt x="338521" y="1762"/>
                    <a:pt x="338340" y="2847"/>
                  </a:cubicBezTo>
                  <a:lnTo>
                    <a:pt x="321701" y="301438"/>
                  </a:lnTo>
                  <a:cubicBezTo>
                    <a:pt x="321701" y="302885"/>
                    <a:pt x="320435" y="303970"/>
                    <a:pt x="318807" y="303970"/>
                  </a:cubicBezTo>
                  <a:lnTo>
                    <a:pt x="2493" y="287693"/>
                  </a:lnTo>
                  <a:cubicBezTo>
                    <a:pt x="2493" y="287693"/>
                    <a:pt x="2493" y="287693"/>
                    <a:pt x="2493" y="287693"/>
                  </a:cubicBezTo>
                  <a:close/>
                  <a:moveTo>
                    <a:pt x="332552" y="8816"/>
                  </a:moveTo>
                  <a:lnTo>
                    <a:pt x="9546" y="282629"/>
                  </a:lnTo>
                  <a:lnTo>
                    <a:pt x="316637" y="298544"/>
                  </a:lnTo>
                  <a:lnTo>
                    <a:pt x="332552" y="881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1" name="Google Shape;81;p21"/>
            <p:cNvSpPr/>
            <p:nvPr/>
          </p:nvSpPr>
          <p:spPr>
            <a:xfrm>
              <a:off x="11434661" y="1766902"/>
              <a:ext cx="796011" cy="1386362"/>
            </a:xfrm>
            <a:custGeom>
              <a:avLst/>
              <a:gdLst/>
              <a:ahLst/>
              <a:cxnLst/>
              <a:rect l="l" t="t" r="r" b="b"/>
              <a:pathLst>
                <a:path w="796011" h="1386362" extrusionOk="0">
                  <a:moveTo>
                    <a:pt x="2532" y="1386363"/>
                  </a:moveTo>
                  <a:cubicBezTo>
                    <a:pt x="1989" y="1386363"/>
                    <a:pt x="1628" y="1386182"/>
                    <a:pt x="1085" y="1385820"/>
                  </a:cubicBezTo>
                  <a:cubicBezTo>
                    <a:pt x="362" y="1385277"/>
                    <a:pt x="0" y="1384373"/>
                    <a:pt x="0" y="1383469"/>
                  </a:cubicBezTo>
                  <a:lnTo>
                    <a:pt x="81565" y="2464"/>
                  </a:lnTo>
                  <a:cubicBezTo>
                    <a:pt x="81565" y="1379"/>
                    <a:pt x="82470" y="294"/>
                    <a:pt x="83555" y="113"/>
                  </a:cubicBezTo>
                  <a:cubicBezTo>
                    <a:pt x="84640" y="-248"/>
                    <a:pt x="85906" y="294"/>
                    <a:pt x="86448" y="1198"/>
                  </a:cubicBezTo>
                  <a:lnTo>
                    <a:pt x="795579" y="1056484"/>
                  </a:lnTo>
                  <a:cubicBezTo>
                    <a:pt x="795941" y="1057208"/>
                    <a:pt x="796121" y="1057931"/>
                    <a:pt x="795941" y="1058835"/>
                  </a:cubicBezTo>
                  <a:cubicBezTo>
                    <a:pt x="795760" y="1059559"/>
                    <a:pt x="795217" y="1060282"/>
                    <a:pt x="794313" y="1060463"/>
                  </a:cubicBezTo>
                  <a:lnTo>
                    <a:pt x="3617" y="1386182"/>
                  </a:lnTo>
                  <a:cubicBezTo>
                    <a:pt x="3436" y="1386363"/>
                    <a:pt x="2894" y="1386363"/>
                    <a:pt x="2532" y="1386363"/>
                  </a:cubicBezTo>
                  <a:close/>
                  <a:moveTo>
                    <a:pt x="86448" y="10784"/>
                  </a:moveTo>
                  <a:lnTo>
                    <a:pt x="5606" y="1379490"/>
                  </a:lnTo>
                  <a:lnTo>
                    <a:pt x="789430" y="1056665"/>
                  </a:lnTo>
                  <a:lnTo>
                    <a:pt x="86448" y="107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2" name="Google Shape;82;p21"/>
            <p:cNvSpPr/>
            <p:nvPr/>
          </p:nvSpPr>
          <p:spPr>
            <a:xfrm>
              <a:off x="11418023" y="3147952"/>
              <a:ext cx="434989" cy="303974"/>
            </a:xfrm>
            <a:custGeom>
              <a:avLst/>
              <a:gdLst/>
              <a:ahLst/>
              <a:cxnLst/>
              <a:rect l="l" t="t" r="r" b="b"/>
              <a:pathLst>
                <a:path w="434989" h="303974" extrusionOk="0">
                  <a:moveTo>
                    <a:pt x="2532" y="303903"/>
                  </a:moveTo>
                  <a:cubicBezTo>
                    <a:pt x="2170" y="303903"/>
                    <a:pt x="1628" y="303722"/>
                    <a:pt x="1266" y="303542"/>
                  </a:cubicBezTo>
                  <a:cubicBezTo>
                    <a:pt x="362" y="302999"/>
                    <a:pt x="0" y="302095"/>
                    <a:pt x="0" y="301190"/>
                  </a:cubicBezTo>
                  <a:lnTo>
                    <a:pt x="16639" y="2600"/>
                  </a:lnTo>
                  <a:cubicBezTo>
                    <a:pt x="16639" y="1876"/>
                    <a:pt x="17000" y="1153"/>
                    <a:pt x="17724" y="610"/>
                  </a:cubicBezTo>
                  <a:cubicBezTo>
                    <a:pt x="18266" y="68"/>
                    <a:pt x="18990" y="-113"/>
                    <a:pt x="19894" y="68"/>
                  </a:cubicBezTo>
                  <a:lnTo>
                    <a:pt x="432785" y="72229"/>
                  </a:lnTo>
                  <a:cubicBezTo>
                    <a:pt x="433870" y="72410"/>
                    <a:pt x="434774" y="73314"/>
                    <a:pt x="434955" y="74399"/>
                  </a:cubicBezTo>
                  <a:cubicBezTo>
                    <a:pt x="435136" y="75484"/>
                    <a:pt x="434593" y="76750"/>
                    <a:pt x="433508" y="77112"/>
                  </a:cubicBezTo>
                  <a:lnTo>
                    <a:pt x="3979" y="303542"/>
                  </a:lnTo>
                  <a:cubicBezTo>
                    <a:pt x="3617" y="303903"/>
                    <a:pt x="3074" y="304084"/>
                    <a:pt x="2532" y="303903"/>
                  </a:cubicBezTo>
                  <a:close/>
                  <a:moveTo>
                    <a:pt x="21883" y="5855"/>
                  </a:moveTo>
                  <a:lnTo>
                    <a:pt x="5606" y="296669"/>
                  </a:lnTo>
                  <a:lnTo>
                    <a:pt x="423923" y="76207"/>
                  </a:lnTo>
                  <a:lnTo>
                    <a:pt x="21883" y="58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3" name="Google Shape;83;p21"/>
            <p:cNvSpPr/>
            <p:nvPr/>
          </p:nvSpPr>
          <p:spPr>
            <a:xfrm>
              <a:off x="11434814" y="2822414"/>
              <a:ext cx="796067" cy="403192"/>
            </a:xfrm>
            <a:custGeom>
              <a:avLst/>
              <a:gdLst/>
              <a:ahLst/>
              <a:cxnLst/>
              <a:rect l="l" t="t" r="r" b="b"/>
              <a:pathLst>
                <a:path w="796067" h="403192" extrusionOk="0">
                  <a:moveTo>
                    <a:pt x="415450" y="403193"/>
                  </a:moveTo>
                  <a:cubicBezTo>
                    <a:pt x="415270" y="403193"/>
                    <a:pt x="415270" y="403193"/>
                    <a:pt x="415089" y="403193"/>
                  </a:cubicBezTo>
                  <a:lnTo>
                    <a:pt x="2198" y="331032"/>
                  </a:lnTo>
                  <a:cubicBezTo>
                    <a:pt x="932" y="330851"/>
                    <a:pt x="209" y="329947"/>
                    <a:pt x="28" y="328681"/>
                  </a:cubicBezTo>
                  <a:cubicBezTo>
                    <a:pt x="-153" y="327415"/>
                    <a:pt x="570" y="326330"/>
                    <a:pt x="1656" y="325968"/>
                  </a:cubicBezTo>
                  <a:lnTo>
                    <a:pt x="792351" y="249"/>
                  </a:lnTo>
                  <a:cubicBezTo>
                    <a:pt x="793437" y="-293"/>
                    <a:pt x="794883" y="68"/>
                    <a:pt x="795607" y="1154"/>
                  </a:cubicBezTo>
                  <a:cubicBezTo>
                    <a:pt x="796330" y="2239"/>
                    <a:pt x="796149" y="3686"/>
                    <a:pt x="795426" y="4590"/>
                  </a:cubicBezTo>
                  <a:lnTo>
                    <a:pt x="417621" y="402469"/>
                  </a:lnTo>
                  <a:cubicBezTo>
                    <a:pt x="416897" y="402831"/>
                    <a:pt x="416174" y="403193"/>
                    <a:pt x="415450" y="403193"/>
                  </a:cubicBezTo>
                  <a:close/>
                  <a:moveTo>
                    <a:pt x="12145" y="327234"/>
                  </a:moveTo>
                  <a:lnTo>
                    <a:pt x="414546" y="397586"/>
                  </a:lnTo>
                  <a:lnTo>
                    <a:pt x="782766" y="9835"/>
                  </a:lnTo>
                  <a:lnTo>
                    <a:pt x="12145" y="32723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4" name="Google Shape;84;p21"/>
            <p:cNvSpPr/>
            <p:nvPr/>
          </p:nvSpPr>
          <p:spPr>
            <a:xfrm>
              <a:off x="11847867" y="2822159"/>
              <a:ext cx="424512" cy="644164"/>
            </a:xfrm>
            <a:custGeom>
              <a:avLst/>
              <a:gdLst/>
              <a:ahLst/>
              <a:cxnLst/>
              <a:rect l="l" t="t" r="r" b="b"/>
              <a:pathLst>
                <a:path w="424512" h="644164" extrusionOk="0">
                  <a:moveTo>
                    <a:pt x="421438" y="644165"/>
                  </a:moveTo>
                  <a:cubicBezTo>
                    <a:pt x="421076" y="644165"/>
                    <a:pt x="420714" y="643984"/>
                    <a:pt x="420353" y="643803"/>
                  </a:cubicBezTo>
                  <a:lnTo>
                    <a:pt x="1313" y="402905"/>
                  </a:lnTo>
                  <a:cubicBezTo>
                    <a:pt x="590" y="402543"/>
                    <a:pt x="47" y="401820"/>
                    <a:pt x="47" y="400915"/>
                  </a:cubicBezTo>
                  <a:cubicBezTo>
                    <a:pt x="-134" y="400192"/>
                    <a:pt x="228" y="399288"/>
                    <a:pt x="770" y="398745"/>
                  </a:cubicBezTo>
                  <a:lnTo>
                    <a:pt x="378575" y="865"/>
                  </a:lnTo>
                  <a:cubicBezTo>
                    <a:pt x="379299" y="142"/>
                    <a:pt x="380384" y="-220"/>
                    <a:pt x="381469" y="142"/>
                  </a:cubicBezTo>
                  <a:cubicBezTo>
                    <a:pt x="382554" y="504"/>
                    <a:pt x="383097" y="1408"/>
                    <a:pt x="383278" y="2493"/>
                  </a:cubicBezTo>
                  <a:lnTo>
                    <a:pt x="424513" y="641271"/>
                  </a:lnTo>
                  <a:cubicBezTo>
                    <a:pt x="424513" y="642175"/>
                    <a:pt x="424151" y="643260"/>
                    <a:pt x="423247" y="643803"/>
                  </a:cubicBezTo>
                  <a:cubicBezTo>
                    <a:pt x="422523" y="644165"/>
                    <a:pt x="421980" y="644165"/>
                    <a:pt x="421438" y="644165"/>
                  </a:cubicBezTo>
                  <a:close/>
                  <a:moveTo>
                    <a:pt x="6739" y="400011"/>
                  </a:moveTo>
                  <a:lnTo>
                    <a:pt x="418544" y="636569"/>
                  </a:lnTo>
                  <a:lnTo>
                    <a:pt x="378033" y="9004"/>
                  </a:lnTo>
                  <a:lnTo>
                    <a:pt x="6739" y="40001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5" name="Google Shape;85;p21"/>
            <p:cNvSpPr/>
            <p:nvPr/>
          </p:nvSpPr>
          <p:spPr>
            <a:xfrm>
              <a:off x="11847696" y="3220166"/>
              <a:ext cx="424572" cy="326818"/>
            </a:xfrm>
            <a:custGeom>
              <a:avLst/>
              <a:gdLst/>
              <a:ahLst/>
              <a:cxnLst/>
              <a:rect l="l" t="t" r="r" b="b"/>
              <a:pathLst>
                <a:path w="424572" h="326818" extrusionOk="0">
                  <a:moveTo>
                    <a:pt x="367714" y="326819"/>
                  </a:moveTo>
                  <a:cubicBezTo>
                    <a:pt x="367171" y="326819"/>
                    <a:pt x="366628" y="326638"/>
                    <a:pt x="366086" y="326095"/>
                  </a:cubicBezTo>
                  <a:lnTo>
                    <a:pt x="941" y="4717"/>
                  </a:lnTo>
                  <a:cubicBezTo>
                    <a:pt x="-144" y="3813"/>
                    <a:pt x="-325" y="2185"/>
                    <a:pt x="579" y="1100"/>
                  </a:cubicBezTo>
                  <a:cubicBezTo>
                    <a:pt x="1302" y="15"/>
                    <a:pt x="2930" y="-347"/>
                    <a:pt x="4196" y="376"/>
                  </a:cubicBezTo>
                  <a:lnTo>
                    <a:pt x="423236" y="241274"/>
                  </a:lnTo>
                  <a:cubicBezTo>
                    <a:pt x="423959" y="241636"/>
                    <a:pt x="424321" y="242360"/>
                    <a:pt x="424502" y="243083"/>
                  </a:cubicBezTo>
                  <a:cubicBezTo>
                    <a:pt x="424683" y="243806"/>
                    <a:pt x="424502" y="244530"/>
                    <a:pt x="424140" y="245253"/>
                  </a:cubicBezTo>
                  <a:lnTo>
                    <a:pt x="370245" y="325733"/>
                  </a:lnTo>
                  <a:cubicBezTo>
                    <a:pt x="369884" y="326457"/>
                    <a:pt x="369160" y="326819"/>
                    <a:pt x="368437" y="326819"/>
                  </a:cubicBezTo>
                  <a:cubicBezTo>
                    <a:pt x="368075" y="326819"/>
                    <a:pt x="367894" y="326819"/>
                    <a:pt x="367714" y="326819"/>
                  </a:cubicBezTo>
                  <a:close/>
                  <a:moveTo>
                    <a:pt x="24633" y="18462"/>
                  </a:moveTo>
                  <a:lnTo>
                    <a:pt x="367352" y="320127"/>
                  </a:lnTo>
                  <a:lnTo>
                    <a:pt x="417991" y="244530"/>
                  </a:lnTo>
                  <a:lnTo>
                    <a:pt x="24633" y="1846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6" name="Google Shape;86;p21"/>
            <p:cNvSpPr/>
            <p:nvPr/>
          </p:nvSpPr>
          <p:spPr>
            <a:xfrm>
              <a:off x="12225538" y="2820096"/>
              <a:ext cx="271650" cy="646255"/>
            </a:xfrm>
            <a:custGeom>
              <a:avLst/>
              <a:gdLst/>
              <a:ahLst/>
              <a:cxnLst/>
              <a:rect l="l" t="t" r="r" b="b"/>
              <a:pathLst>
                <a:path w="271650" h="646255" extrusionOk="0">
                  <a:moveTo>
                    <a:pt x="43766" y="646228"/>
                  </a:moveTo>
                  <a:cubicBezTo>
                    <a:pt x="43766" y="646228"/>
                    <a:pt x="43586" y="646228"/>
                    <a:pt x="43586" y="646228"/>
                  </a:cubicBezTo>
                  <a:cubicBezTo>
                    <a:pt x="42320" y="646047"/>
                    <a:pt x="41415" y="644962"/>
                    <a:pt x="41235" y="643696"/>
                  </a:cubicBezTo>
                  <a:lnTo>
                    <a:pt x="0" y="4918"/>
                  </a:lnTo>
                  <a:cubicBezTo>
                    <a:pt x="0" y="4195"/>
                    <a:pt x="180" y="3471"/>
                    <a:pt x="723" y="2929"/>
                  </a:cubicBezTo>
                  <a:cubicBezTo>
                    <a:pt x="1266" y="2386"/>
                    <a:pt x="1989" y="2024"/>
                    <a:pt x="2713" y="2024"/>
                  </a:cubicBezTo>
                  <a:lnTo>
                    <a:pt x="268931" y="35"/>
                  </a:lnTo>
                  <a:cubicBezTo>
                    <a:pt x="270016" y="-146"/>
                    <a:pt x="270558" y="397"/>
                    <a:pt x="271101" y="1120"/>
                  </a:cubicBezTo>
                  <a:cubicBezTo>
                    <a:pt x="271643" y="1844"/>
                    <a:pt x="271824" y="2748"/>
                    <a:pt x="271462" y="3652"/>
                  </a:cubicBezTo>
                  <a:lnTo>
                    <a:pt x="46479" y="644419"/>
                  </a:lnTo>
                  <a:cubicBezTo>
                    <a:pt x="46118" y="645685"/>
                    <a:pt x="44852" y="646409"/>
                    <a:pt x="43766" y="646228"/>
                  </a:cubicBezTo>
                  <a:close/>
                  <a:moveTo>
                    <a:pt x="5425" y="7450"/>
                  </a:moveTo>
                  <a:lnTo>
                    <a:pt x="45575" y="630132"/>
                  </a:lnTo>
                  <a:lnTo>
                    <a:pt x="264771" y="5461"/>
                  </a:lnTo>
                  <a:lnTo>
                    <a:pt x="5425" y="745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7" name="Google Shape;87;p21"/>
            <p:cNvSpPr/>
            <p:nvPr/>
          </p:nvSpPr>
          <p:spPr>
            <a:xfrm>
              <a:off x="12212988" y="3461119"/>
              <a:ext cx="580801" cy="341086"/>
            </a:xfrm>
            <a:custGeom>
              <a:avLst/>
              <a:gdLst/>
              <a:ahLst/>
              <a:cxnLst/>
              <a:rect l="l" t="t" r="r" b="b"/>
              <a:pathLst>
                <a:path w="580801" h="341086" extrusionOk="0">
                  <a:moveTo>
                    <a:pt x="577901" y="341051"/>
                  </a:moveTo>
                  <a:cubicBezTo>
                    <a:pt x="577539" y="341051"/>
                    <a:pt x="577358" y="340870"/>
                    <a:pt x="576997" y="340870"/>
                  </a:cubicBezTo>
                  <a:lnTo>
                    <a:pt x="1518" y="85504"/>
                  </a:lnTo>
                  <a:cubicBezTo>
                    <a:pt x="794" y="85142"/>
                    <a:pt x="252" y="84600"/>
                    <a:pt x="71" y="83876"/>
                  </a:cubicBezTo>
                  <a:cubicBezTo>
                    <a:pt x="-110" y="83153"/>
                    <a:pt x="71" y="82248"/>
                    <a:pt x="433" y="81706"/>
                  </a:cubicBezTo>
                  <a:lnTo>
                    <a:pt x="54327" y="1226"/>
                  </a:lnTo>
                  <a:cubicBezTo>
                    <a:pt x="55231" y="-40"/>
                    <a:pt x="56859" y="-402"/>
                    <a:pt x="57944" y="502"/>
                  </a:cubicBezTo>
                  <a:lnTo>
                    <a:pt x="579528" y="336349"/>
                  </a:lnTo>
                  <a:cubicBezTo>
                    <a:pt x="580795" y="337072"/>
                    <a:pt x="581157" y="338700"/>
                    <a:pt x="580433" y="339966"/>
                  </a:cubicBezTo>
                  <a:cubicBezTo>
                    <a:pt x="579891" y="340689"/>
                    <a:pt x="578986" y="341232"/>
                    <a:pt x="577901" y="341051"/>
                  </a:cubicBezTo>
                  <a:close/>
                  <a:moveTo>
                    <a:pt x="6582" y="81887"/>
                  </a:moveTo>
                  <a:lnTo>
                    <a:pt x="547336" y="321881"/>
                  </a:lnTo>
                  <a:lnTo>
                    <a:pt x="57221" y="6290"/>
                  </a:lnTo>
                  <a:lnTo>
                    <a:pt x="6582" y="8188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8" name="Google Shape;88;p21"/>
            <p:cNvSpPr/>
            <p:nvPr/>
          </p:nvSpPr>
          <p:spPr>
            <a:xfrm>
              <a:off x="12266818" y="2820312"/>
              <a:ext cx="527103" cy="981929"/>
            </a:xfrm>
            <a:custGeom>
              <a:avLst/>
              <a:gdLst/>
              <a:ahLst/>
              <a:cxnLst/>
              <a:rect l="l" t="t" r="r" b="b"/>
              <a:pathLst>
                <a:path w="527103" h="981929" extrusionOk="0">
                  <a:moveTo>
                    <a:pt x="524071" y="981859"/>
                  </a:moveTo>
                  <a:cubicBezTo>
                    <a:pt x="523710" y="981859"/>
                    <a:pt x="523167" y="981678"/>
                    <a:pt x="522806" y="981497"/>
                  </a:cubicBezTo>
                  <a:lnTo>
                    <a:pt x="1221" y="645650"/>
                  </a:lnTo>
                  <a:cubicBezTo>
                    <a:pt x="136" y="644927"/>
                    <a:pt x="-226" y="643661"/>
                    <a:pt x="136" y="642576"/>
                  </a:cubicBezTo>
                  <a:lnTo>
                    <a:pt x="225119" y="1809"/>
                  </a:lnTo>
                  <a:cubicBezTo>
                    <a:pt x="225481" y="723"/>
                    <a:pt x="226566" y="0"/>
                    <a:pt x="227651" y="0"/>
                  </a:cubicBezTo>
                  <a:cubicBezTo>
                    <a:pt x="228917" y="181"/>
                    <a:pt x="229821" y="723"/>
                    <a:pt x="230183" y="1989"/>
                  </a:cubicBezTo>
                  <a:lnTo>
                    <a:pt x="526965" y="978603"/>
                  </a:lnTo>
                  <a:cubicBezTo>
                    <a:pt x="527327" y="979688"/>
                    <a:pt x="526965" y="980774"/>
                    <a:pt x="526061" y="981497"/>
                  </a:cubicBezTo>
                  <a:cubicBezTo>
                    <a:pt x="525337" y="981859"/>
                    <a:pt x="524614" y="982040"/>
                    <a:pt x="524071" y="981859"/>
                  </a:cubicBezTo>
                  <a:close/>
                  <a:moveTo>
                    <a:pt x="5923" y="642214"/>
                  </a:moveTo>
                  <a:lnTo>
                    <a:pt x="519550" y="972997"/>
                  </a:lnTo>
                  <a:lnTo>
                    <a:pt x="227289" y="11213"/>
                  </a:lnTo>
                  <a:lnTo>
                    <a:pt x="5923" y="64221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89" name="Google Shape;89;p21"/>
            <p:cNvSpPr/>
            <p:nvPr/>
          </p:nvSpPr>
          <p:spPr>
            <a:xfrm>
              <a:off x="8942124" y="4957027"/>
              <a:ext cx="912491" cy="634698"/>
            </a:xfrm>
            <a:custGeom>
              <a:avLst/>
              <a:gdLst/>
              <a:ahLst/>
              <a:cxnLst/>
              <a:rect l="l" t="t" r="r" b="b"/>
              <a:pathLst>
                <a:path w="912491" h="634698" extrusionOk="0">
                  <a:moveTo>
                    <a:pt x="642576" y="634699"/>
                  </a:moveTo>
                  <a:cubicBezTo>
                    <a:pt x="642395" y="634699"/>
                    <a:pt x="642033" y="634699"/>
                    <a:pt x="641853" y="634518"/>
                  </a:cubicBezTo>
                  <a:lnTo>
                    <a:pt x="1809" y="405194"/>
                  </a:lnTo>
                  <a:cubicBezTo>
                    <a:pt x="723" y="404832"/>
                    <a:pt x="0" y="403928"/>
                    <a:pt x="0" y="402843"/>
                  </a:cubicBezTo>
                  <a:cubicBezTo>
                    <a:pt x="0" y="401758"/>
                    <a:pt x="543" y="400673"/>
                    <a:pt x="1628" y="400311"/>
                  </a:cubicBezTo>
                  <a:lnTo>
                    <a:pt x="908794" y="261"/>
                  </a:lnTo>
                  <a:cubicBezTo>
                    <a:pt x="909879" y="-281"/>
                    <a:pt x="910964" y="80"/>
                    <a:pt x="911687" y="804"/>
                  </a:cubicBezTo>
                  <a:cubicBezTo>
                    <a:pt x="912411" y="1527"/>
                    <a:pt x="912773" y="2793"/>
                    <a:pt x="912230" y="3697"/>
                  </a:cubicBezTo>
                  <a:lnTo>
                    <a:pt x="645108" y="633071"/>
                  </a:lnTo>
                  <a:cubicBezTo>
                    <a:pt x="644746" y="634156"/>
                    <a:pt x="643661" y="634699"/>
                    <a:pt x="642576" y="634699"/>
                  </a:cubicBezTo>
                  <a:close/>
                  <a:moveTo>
                    <a:pt x="9766" y="402301"/>
                  </a:moveTo>
                  <a:lnTo>
                    <a:pt x="641129" y="628550"/>
                  </a:lnTo>
                  <a:lnTo>
                    <a:pt x="904634" y="7676"/>
                  </a:lnTo>
                  <a:lnTo>
                    <a:pt x="9766" y="40230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0" name="Google Shape;90;p21"/>
            <p:cNvSpPr/>
            <p:nvPr/>
          </p:nvSpPr>
          <p:spPr>
            <a:xfrm>
              <a:off x="9582169" y="4956988"/>
              <a:ext cx="832654" cy="634737"/>
            </a:xfrm>
            <a:custGeom>
              <a:avLst/>
              <a:gdLst/>
              <a:ahLst/>
              <a:cxnLst/>
              <a:rect l="l" t="t" r="r" b="b"/>
              <a:pathLst>
                <a:path w="832654" h="634737" extrusionOk="0">
                  <a:moveTo>
                    <a:pt x="2532" y="634737"/>
                  </a:moveTo>
                  <a:cubicBezTo>
                    <a:pt x="1809" y="634737"/>
                    <a:pt x="1266" y="634375"/>
                    <a:pt x="723" y="633833"/>
                  </a:cubicBezTo>
                  <a:cubicBezTo>
                    <a:pt x="0" y="633109"/>
                    <a:pt x="-181" y="631843"/>
                    <a:pt x="181" y="630939"/>
                  </a:cubicBezTo>
                  <a:lnTo>
                    <a:pt x="267303" y="1566"/>
                  </a:lnTo>
                  <a:cubicBezTo>
                    <a:pt x="267665" y="842"/>
                    <a:pt x="268207" y="300"/>
                    <a:pt x="268931" y="119"/>
                  </a:cubicBezTo>
                  <a:cubicBezTo>
                    <a:pt x="269654" y="-62"/>
                    <a:pt x="270378" y="-62"/>
                    <a:pt x="271101" y="300"/>
                  </a:cubicBezTo>
                  <a:lnTo>
                    <a:pt x="831207" y="314987"/>
                  </a:lnTo>
                  <a:cubicBezTo>
                    <a:pt x="832112" y="315529"/>
                    <a:pt x="832654" y="316433"/>
                    <a:pt x="832654" y="317519"/>
                  </a:cubicBezTo>
                  <a:cubicBezTo>
                    <a:pt x="832654" y="318604"/>
                    <a:pt x="831931" y="319508"/>
                    <a:pt x="830846" y="319869"/>
                  </a:cubicBezTo>
                  <a:lnTo>
                    <a:pt x="3617" y="634556"/>
                  </a:lnTo>
                  <a:cubicBezTo>
                    <a:pt x="3255" y="634737"/>
                    <a:pt x="2894" y="634737"/>
                    <a:pt x="2532" y="634737"/>
                  </a:cubicBezTo>
                  <a:close/>
                  <a:moveTo>
                    <a:pt x="270920" y="6449"/>
                  </a:moveTo>
                  <a:lnTo>
                    <a:pt x="7415" y="627322"/>
                  </a:lnTo>
                  <a:lnTo>
                    <a:pt x="823431" y="316976"/>
                  </a:lnTo>
                  <a:lnTo>
                    <a:pt x="270920" y="64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1" name="Google Shape;91;p21"/>
            <p:cNvSpPr/>
            <p:nvPr/>
          </p:nvSpPr>
          <p:spPr>
            <a:xfrm>
              <a:off x="11896931" y="6101781"/>
              <a:ext cx="757350" cy="1017260"/>
            </a:xfrm>
            <a:custGeom>
              <a:avLst/>
              <a:gdLst/>
              <a:ahLst/>
              <a:cxnLst/>
              <a:rect l="l" t="t" r="r" b="b"/>
              <a:pathLst>
                <a:path w="757350" h="1017260" extrusionOk="0">
                  <a:moveTo>
                    <a:pt x="408544" y="1017260"/>
                  </a:moveTo>
                  <a:lnTo>
                    <a:pt x="408544" y="1017260"/>
                  </a:lnTo>
                  <a:cubicBezTo>
                    <a:pt x="407459" y="1017260"/>
                    <a:pt x="406555" y="1016537"/>
                    <a:pt x="406193" y="1015632"/>
                  </a:cubicBezTo>
                  <a:lnTo>
                    <a:pt x="175" y="3752"/>
                  </a:lnTo>
                  <a:cubicBezTo>
                    <a:pt x="-187" y="2667"/>
                    <a:pt x="-6" y="1581"/>
                    <a:pt x="898" y="677"/>
                  </a:cubicBezTo>
                  <a:cubicBezTo>
                    <a:pt x="1802" y="-46"/>
                    <a:pt x="3068" y="-227"/>
                    <a:pt x="3973" y="315"/>
                  </a:cubicBezTo>
                  <a:lnTo>
                    <a:pt x="755965" y="400908"/>
                  </a:lnTo>
                  <a:cubicBezTo>
                    <a:pt x="756689" y="401270"/>
                    <a:pt x="757051" y="401813"/>
                    <a:pt x="757231" y="402536"/>
                  </a:cubicBezTo>
                  <a:cubicBezTo>
                    <a:pt x="757412" y="403259"/>
                    <a:pt x="757412" y="403983"/>
                    <a:pt x="757051" y="404525"/>
                  </a:cubicBezTo>
                  <a:lnTo>
                    <a:pt x="411076" y="1015813"/>
                  </a:lnTo>
                  <a:cubicBezTo>
                    <a:pt x="410534" y="1016718"/>
                    <a:pt x="409629" y="1017260"/>
                    <a:pt x="408544" y="1017260"/>
                  </a:cubicBezTo>
                  <a:close/>
                  <a:moveTo>
                    <a:pt x="8132" y="8454"/>
                  </a:moveTo>
                  <a:lnTo>
                    <a:pt x="409268" y="1008217"/>
                  </a:lnTo>
                  <a:lnTo>
                    <a:pt x="751082" y="404163"/>
                  </a:lnTo>
                  <a:lnTo>
                    <a:pt x="8132" y="84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2" name="Google Shape;92;p21"/>
            <p:cNvSpPr/>
            <p:nvPr/>
          </p:nvSpPr>
          <p:spPr>
            <a:xfrm>
              <a:off x="9686630" y="4070888"/>
              <a:ext cx="397799" cy="210908"/>
            </a:xfrm>
            <a:custGeom>
              <a:avLst/>
              <a:gdLst/>
              <a:ahLst/>
              <a:cxnLst/>
              <a:rect l="l" t="t" r="r" b="b"/>
              <a:pathLst>
                <a:path w="397799" h="210908" extrusionOk="0">
                  <a:moveTo>
                    <a:pt x="243864" y="210908"/>
                  </a:moveTo>
                  <a:cubicBezTo>
                    <a:pt x="243322" y="210908"/>
                    <a:pt x="242779" y="210727"/>
                    <a:pt x="242237" y="210185"/>
                  </a:cubicBezTo>
                  <a:lnTo>
                    <a:pt x="977" y="4734"/>
                  </a:lnTo>
                  <a:cubicBezTo>
                    <a:pt x="-109" y="3830"/>
                    <a:pt x="-289" y="2383"/>
                    <a:pt x="434" y="1298"/>
                  </a:cubicBezTo>
                  <a:cubicBezTo>
                    <a:pt x="1158" y="213"/>
                    <a:pt x="2604" y="-330"/>
                    <a:pt x="3870" y="213"/>
                  </a:cubicBezTo>
                  <a:lnTo>
                    <a:pt x="396144" y="170216"/>
                  </a:lnTo>
                  <a:cubicBezTo>
                    <a:pt x="397229" y="170759"/>
                    <a:pt x="397952" y="171844"/>
                    <a:pt x="397771" y="172929"/>
                  </a:cubicBezTo>
                  <a:cubicBezTo>
                    <a:pt x="397591" y="174014"/>
                    <a:pt x="396867" y="175099"/>
                    <a:pt x="395782" y="175280"/>
                  </a:cubicBezTo>
                  <a:lnTo>
                    <a:pt x="244769" y="210727"/>
                  </a:lnTo>
                  <a:cubicBezTo>
                    <a:pt x="244407" y="210908"/>
                    <a:pt x="244045" y="210908"/>
                    <a:pt x="243864" y="210908"/>
                  </a:cubicBezTo>
                  <a:close/>
                  <a:moveTo>
                    <a:pt x="18339" y="12330"/>
                  </a:moveTo>
                  <a:lnTo>
                    <a:pt x="244769" y="205302"/>
                  </a:lnTo>
                  <a:lnTo>
                    <a:pt x="386558" y="172025"/>
                  </a:lnTo>
                  <a:lnTo>
                    <a:pt x="18339" y="123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3" name="Google Shape;93;p21"/>
            <p:cNvSpPr/>
            <p:nvPr/>
          </p:nvSpPr>
          <p:spPr>
            <a:xfrm>
              <a:off x="9686702" y="3931524"/>
              <a:ext cx="543705" cy="314853"/>
            </a:xfrm>
            <a:custGeom>
              <a:avLst/>
              <a:gdLst/>
              <a:ahLst/>
              <a:cxnLst/>
              <a:rect l="l" t="t" r="r" b="b"/>
              <a:pathLst>
                <a:path w="543705" h="314853" extrusionOk="0">
                  <a:moveTo>
                    <a:pt x="394805" y="314825"/>
                  </a:moveTo>
                  <a:cubicBezTo>
                    <a:pt x="394444" y="314825"/>
                    <a:pt x="394263" y="314645"/>
                    <a:pt x="393901" y="314645"/>
                  </a:cubicBezTo>
                  <a:lnTo>
                    <a:pt x="1628" y="144641"/>
                  </a:lnTo>
                  <a:cubicBezTo>
                    <a:pt x="543" y="144099"/>
                    <a:pt x="0" y="143194"/>
                    <a:pt x="0" y="141929"/>
                  </a:cubicBezTo>
                  <a:cubicBezTo>
                    <a:pt x="0" y="140662"/>
                    <a:pt x="904" y="139758"/>
                    <a:pt x="1989" y="139577"/>
                  </a:cubicBezTo>
                  <a:lnTo>
                    <a:pt x="540393" y="139"/>
                  </a:lnTo>
                  <a:cubicBezTo>
                    <a:pt x="541298" y="-223"/>
                    <a:pt x="542564" y="139"/>
                    <a:pt x="543106" y="1043"/>
                  </a:cubicBezTo>
                  <a:cubicBezTo>
                    <a:pt x="543829" y="1766"/>
                    <a:pt x="543829" y="3032"/>
                    <a:pt x="543468" y="3937"/>
                  </a:cubicBezTo>
                  <a:lnTo>
                    <a:pt x="397338" y="313559"/>
                  </a:lnTo>
                  <a:cubicBezTo>
                    <a:pt x="396976" y="314283"/>
                    <a:pt x="395891" y="315006"/>
                    <a:pt x="394805" y="314825"/>
                  </a:cubicBezTo>
                  <a:close/>
                  <a:moveTo>
                    <a:pt x="11032" y="142833"/>
                  </a:moveTo>
                  <a:lnTo>
                    <a:pt x="393720" y="308676"/>
                  </a:lnTo>
                  <a:lnTo>
                    <a:pt x="536234" y="6649"/>
                  </a:lnTo>
                  <a:lnTo>
                    <a:pt x="11032" y="14283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4" name="Google Shape;94;p21"/>
            <p:cNvSpPr/>
            <p:nvPr/>
          </p:nvSpPr>
          <p:spPr>
            <a:xfrm>
              <a:off x="9849110" y="4241057"/>
              <a:ext cx="234929" cy="721294"/>
            </a:xfrm>
            <a:custGeom>
              <a:avLst/>
              <a:gdLst/>
              <a:ahLst/>
              <a:cxnLst/>
              <a:rect l="l" t="t" r="r" b="b"/>
              <a:pathLst>
                <a:path w="234929" h="721294" extrusionOk="0">
                  <a:moveTo>
                    <a:pt x="2532" y="721294"/>
                  </a:moveTo>
                  <a:cubicBezTo>
                    <a:pt x="2351" y="721294"/>
                    <a:pt x="2351" y="721294"/>
                    <a:pt x="2170" y="721294"/>
                  </a:cubicBezTo>
                  <a:cubicBezTo>
                    <a:pt x="904" y="720933"/>
                    <a:pt x="0" y="719667"/>
                    <a:pt x="0" y="718401"/>
                  </a:cubicBezTo>
                  <a:lnTo>
                    <a:pt x="78672" y="37846"/>
                  </a:lnTo>
                  <a:cubicBezTo>
                    <a:pt x="78853" y="36761"/>
                    <a:pt x="79576" y="35856"/>
                    <a:pt x="80661" y="35494"/>
                  </a:cubicBezTo>
                  <a:lnTo>
                    <a:pt x="231675" y="47"/>
                  </a:lnTo>
                  <a:cubicBezTo>
                    <a:pt x="232579" y="-134"/>
                    <a:pt x="233664" y="228"/>
                    <a:pt x="234207" y="770"/>
                  </a:cubicBezTo>
                  <a:cubicBezTo>
                    <a:pt x="234930" y="1494"/>
                    <a:pt x="235111" y="2579"/>
                    <a:pt x="234749" y="3483"/>
                  </a:cubicBezTo>
                  <a:lnTo>
                    <a:pt x="4883" y="719486"/>
                  </a:lnTo>
                  <a:cubicBezTo>
                    <a:pt x="4883" y="720571"/>
                    <a:pt x="3798" y="721294"/>
                    <a:pt x="2532" y="721294"/>
                  </a:cubicBezTo>
                  <a:close/>
                  <a:moveTo>
                    <a:pt x="83916" y="40197"/>
                  </a:moveTo>
                  <a:lnTo>
                    <a:pt x="8500" y="691454"/>
                  </a:lnTo>
                  <a:lnTo>
                    <a:pt x="228419" y="6196"/>
                  </a:lnTo>
                  <a:lnTo>
                    <a:pt x="83916" y="401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5" name="Google Shape;95;p21"/>
            <p:cNvSpPr/>
            <p:nvPr/>
          </p:nvSpPr>
          <p:spPr>
            <a:xfrm>
              <a:off x="10078995" y="3931182"/>
              <a:ext cx="1045068" cy="428381"/>
            </a:xfrm>
            <a:custGeom>
              <a:avLst/>
              <a:gdLst/>
              <a:ahLst/>
              <a:cxnLst/>
              <a:rect l="l" t="t" r="r" b="b"/>
              <a:pathLst>
                <a:path w="1045068" h="428381" extrusionOk="0">
                  <a:moveTo>
                    <a:pt x="1042064" y="428382"/>
                  </a:moveTo>
                  <a:cubicBezTo>
                    <a:pt x="1042064" y="428382"/>
                    <a:pt x="1042064" y="428382"/>
                    <a:pt x="1042064" y="428382"/>
                  </a:cubicBezTo>
                  <a:lnTo>
                    <a:pt x="2332" y="315167"/>
                  </a:lnTo>
                  <a:cubicBezTo>
                    <a:pt x="1428" y="314986"/>
                    <a:pt x="704" y="314625"/>
                    <a:pt x="342" y="313720"/>
                  </a:cubicBezTo>
                  <a:cubicBezTo>
                    <a:pt x="-19" y="312997"/>
                    <a:pt x="-200" y="312093"/>
                    <a:pt x="342" y="311188"/>
                  </a:cubicBezTo>
                  <a:lnTo>
                    <a:pt x="146473" y="1566"/>
                  </a:lnTo>
                  <a:cubicBezTo>
                    <a:pt x="146835" y="842"/>
                    <a:pt x="147377" y="480"/>
                    <a:pt x="147920" y="119"/>
                  </a:cubicBezTo>
                  <a:cubicBezTo>
                    <a:pt x="148643" y="-62"/>
                    <a:pt x="149367" y="-62"/>
                    <a:pt x="149909" y="300"/>
                  </a:cubicBezTo>
                  <a:lnTo>
                    <a:pt x="1043511" y="422957"/>
                  </a:lnTo>
                  <a:cubicBezTo>
                    <a:pt x="1044777" y="423499"/>
                    <a:pt x="1045320" y="424765"/>
                    <a:pt x="1044958" y="426031"/>
                  </a:cubicBezTo>
                  <a:cubicBezTo>
                    <a:pt x="1044596" y="427659"/>
                    <a:pt x="1043330" y="428382"/>
                    <a:pt x="1042064" y="428382"/>
                  </a:cubicBezTo>
                  <a:close/>
                  <a:moveTo>
                    <a:pt x="6672" y="310284"/>
                  </a:moveTo>
                  <a:lnTo>
                    <a:pt x="1026692" y="421329"/>
                  </a:lnTo>
                  <a:lnTo>
                    <a:pt x="150090" y="6630"/>
                  </a:lnTo>
                  <a:lnTo>
                    <a:pt x="6672" y="3102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6" name="Google Shape;96;p21"/>
            <p:cNvSpPr/>
            <p:nvPr/>
          </p:nvSpPr>
          <p:spPr>
            <a:xfrm>
              <a:off x="10167956" y="3097608"/>
              <a:ext cx="548893" cy="839186"/>
            </a:xfrm>
            <a:custGeom>
              <a:avLst/>
              <a:gdLst/>
              <a:ahLst/>
              <a:cxnLst/>
              <a:rect l="l" t="t" r="r" b="b"/>
              <a:pathLst>
                <a:path w="548893" h="839186" extrusionOk="0">
                  <a:moveTo>
                    <a:pt x="59682" y="839118"/>
                  </a:moveTo>
                  <a:cubicBezTo>
                    <a:pt x="59320" y="839118"/>
                    <a:pt x="58958" y="838938"/>
                    <a:pt x="58778" y="838938"/>
                  </a:cubicBezTo>
                  <a:cubicBezTo>
                    <a:pt x="57873" y="838576"/>
                    <a:pt x="57331" y="837672"/>
                    <a:pt x="57150" y="836586"/>
                  </a:cubicBezTo>
                  <a:lnTo>
                    <a:pt x="0" y="2847"/>
                  </a:lnTo>
                  <a:cubicBezTo>
                    <a:pt x="0" y="1762"/>
                    <a:pt x="543" y="677"/>
                    <a:pt x="1447" y="315"/>
                  </a:cubicBezTo>
                  <a:cubicBezTo>
                    <a:pt x="2351" y="-227"/>
                    <a:pt x="3617" y="-46"/>
                    <a:pt x="4340" y="677"/>
                  </a:cubicBezTo>
                  <a:lnTo>
                    <a:pt x="547989" y="480303"/>
                  </a:lnTo>
                  <a:cubicBezTo>
                    <a:pt x="548531" y="480846"/>
                    <a:pt x="548893" y="481569"/>
                    <a:pt x="548893" y="482473"/>
                  </a:cubicBezTo>
                  <a:cubicBezTo>
                    <a:pt x="548893" y="483378"/>
                    <a:pt x="548531" y="484101"/>
                    <a:pt x="547808" y="484463"/>
                  </a:cubicBezTo>
                  <a:lnTo>
                    <a:pt x="61310" y="838576"/>
                  </a:lnTo>
                  <a:cubicBezTo>
                    <a:pt x="60767" y="839118"/>
                    <a:pt x="60224" y="839299"/>
                    <a:pt x="59682" y="839118"/>
                  </a:cubicBezTo>
                  <a:close/>
                  <a:moveTo>
                    <a:pt x="5787" y="8996"/>
                  </a:moveTo>
                  <a:lnTo>
                    <a:pt x="62214" y="831342"/>
                  </a:lnTo>
                  <a:lnTo>
                    <a:pt x="542021" y="481931"/>
                  </a:lnTo>
                  <a:lnTo>
                    <a:pt x="5787" y="89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7" name="Google Shape;97;p21"/>
            <p:cNvSpPr/>
            <p:nvPr/>
          </p:nvSpPr>
          <p:spPr>
            <a:xfrm>
              <a:off x="10167910" y="2904393"/>
              <a:ext cx="548939" cy="678220"/>
            </a:xfrm>
            <a:custGeom>
              <a:avLst/>
              <a:gdLst/>
              <a:ahLst/>
              <a:cxnLst/>
              <a:rect l="l" t="t" r="r" b="b"/>
              <a:pathLst>
                <a:path w="548939" h="678220" extrusionOk="0">
                  <a:moveTo>
                    <a:pt x="546227" y="678220"/>
                  </a:moveTo>
                  <a:cubicBezTo>
                    <a:pt x="545684" y="678220"/>
                    <a:pt x="545142" y="678040"/>
                    <a:pt x="544599" y="677497"/>
                  </a:cubicBezTo>
                  <a:lnTo>
                    <a:pt x="950" y="197871"/>
                  </a:lnTo>
                  <a:cubicBezTo>
                    <a:pt x="227" y="197328"/>
                    <a:pt x="-135" y="196243"/>
                    <a:pt x="46" y="195339"/>
                  </a:cubicBezTo>
                  <a:cubicBezTo>
                    <a:pt x="227" y="194435"/>
                    <a:pt x="769" y="193711"/>
                    <a:pt x="1674" y="193350"/>
                  </a:cubicBezTo>
                  <a:lnTo>
                    <a:pt x="512045" y="197"/>
                  </a:lnTo>
                  <a:cubicBezTo>
                    <a:pt x="512769" y="-165"/>
                    <a:pt x="513673" y="16"/>
                    <a:pt x="514396" y="378"/>
                  </a:cubicBezTo>
                  <a:cubicBezTo>
                    <a:pt x="515120" y="921"/>
                    <a:pt x="515481" y="1644"/>
                    <a:pt x="515662" y="2548"/>
                  </a:cubicBezTo>
                  <a:lnTo>
                    <a:pt x="548939" y="675327"/>
                  </a:lnTo>
                  <a:cubicBezTo>
                    <a:pt x="548939" y="676412"/>
                    <a:pt x="548397" y="677497"/>
                    <a:pt x="547493" y="677859"/>
                  </a:cubicBezTo>
                  <a:cubicBezTo>
                    <a:pt x="547131" y="678220"/>
                    <a:pt x="546588" y="678220"/>
                    <a:pt x="546227" y="678220"/>
                  </a:cubicBezTo>
                  <a:close/>
                  <a:moveTo>
                    <a:pt x="7823" y="196786"/>
                  </a:moveTo>
                  <a:lnTo>
                    <a:pt x="543333" y="669178"/>
                  </a:lnTo>
                  <a:lnTo>
                    <a:pt x="510417" y="6527"/>
                  </a:lnTo>
                  <a:lnTo>
                    <a:pt x="7823" y="19678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8" name="Google Shape;98;p21"/>
            <p:cNvSpPr/>
            <p:nvPr/>
          </p:nvSpPr>
          <p:spPr>
            <a:xfrm>
              <a:off x="10500480" y="1766981"/>
              <a:ext cx="1021558" cy="1142888"/>
            </a:xfrm>
            <a:custGeom>
              <a:avLst/>
              <a:gdLst/>
              <a:ahLst/>
              <a:cxnLst/>
              <a:rect l="l" t="t" r="r" b="b"/>
              <a:pathLst>
                <a:path w="1021558" h="1142888" extrusionOk="0">
                  <a:moveTo>
                    <a:pt x="180380" y="1142854"/>
                  </a:moveTo>
                  <a:cubicBezTo>
                    <a:pt x="180199" y="1142854"/>
                    <a:pt x="180018" y="1142854"/>
                    <a:pt x="180018" y="1142854"/>
                  </a:cubicBezTo>
                  <a:cubicBezTo>
                    <a:pt x="178933" y="1142673"/>
                    <a:pt x="178209" y="1141769"/>
                    <a:pt x="178029" y="1140684"/>
                  </a:cubicBezTo>
                  <a:lnTo>
                    <a:pt x="68" y="141644"/>
                  </a:lnTo>
                  <a:cubicBezTo>
                    <a:pt x="-113" y="140920"/>
                    <a:pt x="68" y="140197"/>
                    <a:pt x="610" y="139654"/>
                  </a:cubicBezTo>
                  <a:cubicBezTo>
                    <a:pt x="972" y="139112"/>
                    <a:pt x="1696" y="138750"/>
                    <a:pt x="2419" y="138569"/>
                  </a:cubicBezTo>
                  <a:lnTo>
                    <a:pt x="1018460" y="35"/>
                  </a:lnTo>
                  <a:cubicBezTo>
                    <a:pt x="1019545" y="-146"/>
                    <a:pt x="1020630" y="396"/>
                    <a:pt x="1021172" y="1301"/>
                  </a:cubicBezTo>
                  <a:cubicBezTo>
                    <a:pt x="1021715" y="2205"/>
                    <a:pt x="1021715" y="3471"/>
                    <a:pt x="1020992" y="4194"/>
                  </a:cubicBezTo>
                  <a:lnTo>
                    <a:pt x="182912" y="1141769"/>
                  </a:lnTo>
                  <a:cubicBezTo>
                    <a:pt x="182007" y="1142492"/>
                    <a:pt x="181103" y="1143035"/>
                    <a:pt x="180380" y="1142854"/>
                  </a:cubicBezTo>
                  <a:close/>
                  <a:moveTo>
                    <a:pt x="5674" y="143452"/>
                  </a:moveTo>
                  <a:lnTo>
                    <a:pt x="182007" y="1133630"/>
                  </a:lnTo>
                  <a:lnTo>
                    <a:pt x="1012491" y="6184"/>
                  </a:lnTo>
                  <a:lnTo>
                    <a:pt x="5674" y="1434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9" name="Google Shape;99;p21"/>
            <p:cNvSpPr/>
            <p:nvPr/>
          </p:nvSpPr>
          <p:spPr>
            <a:xfrm>
              <a:off x="10678328" y="2904421"/>
              <a:ext cx="428873" cy="678192"/>
            </a:xfrm>
            <a:custGeom>
              <a:avLst/>
              <a:gdLst/>
              <a:ahLst/>
              <a:cxnLst/>
              <a:rect l="l" t="t" r="r" b="b"/>
              <a:pathLst>
                <a:path w="428873" h="678192" extrusionOk="0">
                  <a:moveTo>
                    <a:pt x="35809" y="678193"/>
                  </a:moveTo>
                  <a:cubicBezTo>
                    <a:pt x="35267" y="678193"/>
                    <a:pt x="34905" y="678012"/>
                    <a:pt x="34543" y="677831"/>
                  </a:cubicBezTo>
                  <a:cubicBezTo>
                    <a:pt x="33820" y="677288"/>
                    <a:pt x="33458" y="676565"/>
                    <a:pt x="33277" y="675661"/>
                  </a:cubicBezTo>
                  <a:lnTo>
                    <a:pt x="0" y="2882"/>
                  </a:lnTo>
                  <a:cubicBezTo>
                    <a:pt x="0" y="1797"/>
                    <a:pt x="724" y="712"/>
                    <a:pt x="1809" y="169"/>
                  </a:cubicBezTo>
                  <a:cubicBezTo>
                    <a:pt x="2894" y="-192"/>
                    <a:pt x="4160" y="-12"/>
                    <a:pt x="4883" y="1074"/>
                  </a:cubicBezTo>
                  <a:lnTo>
                    <a:pt x="428264" y="526817"/>
                  </a:lnTo>
                  <a:cubicBezTo>
                    <a:pt x="428806" y="527541"/>
                    <a:pt x="428987" y="528445"/>
                    <a:pt x="428806" y="529168"/>
                  </a:cubicBezTo>
                  <a:cubicBezTo>
                    <a:pt x="428625" y="530073"/>
                    <a:pt x="427902" y="530615"/>
                    <a:pt x="427179" y="530977"/>
                  </a:cubicBezTo>
                  <a:lnTo>
                    <a:pt x="37075" y="678012"/>
                  </a:lnTo>
                  <a:cubicBezTo>
                    <a:pt x="36533" y="678193"/>
                    <a:pt x="36171" y="678193"/>
                    <a:pt x="35809" y="678193"/>
                  </a:cubicBezTo>
                  <a:close/>
                  <a:moveTo>
                    <a:pt x="5787" y="11020"/>
                  </a:moveTo>
                  <a:lnTo>
                    <a:pt x="38522" y="671863"/>
                  </a:lnTo>
                  <a:lnTo>
                    <a:pt x="421572" y="527360"/>
                  </a:lnTo>
                  <a:lnTo>
                    <a:pt x="5787" y="110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0" name="Google Shape;100;p21"/>
            <p:cNvSpPr/>
            <p:nvPr/>
          </p:nvSpPr>
          <p:spPr>
            <a:xfrm>
              <a:off x="10678303" y="2904296"/>
              <a:ext cx="761830" cy="531282"/>
            </a:xfrm>
            <a:custGeom>
              <a:avLst/>
              <a:gdLst/>
              <a:ahLst/>
              <a:cxnLst/>
              <a:rect l="l" t="t" r="r" b="b"/>
              <a:pathLst>
                <a:path w="761830" h="531282" extrusionOk="0">
                  <a:moveTo>
                    <a:pt x="425937" y="531283"/>
                  </a:moveTo>
                  <a:cubicBezTo>
                    <a:pt x="425214" y="531102"/>
                    <a:pt x="424490" y="530921"/>
                    <a:pt x="423948" y="530198"/>
                  </a:cubicBezTo>
                  <a:lnTo>
                    <a:pt x="568" y="4454"/>
                  </a:lnTo>
                  <a:cubicBezTo>
                    <a:pt x="-156" y="3549"/>
                    <a:pt x="-156" y="2284"/>
                    <a:pt x="387" y="1198"/>
                  </a:cubicBezTo>
                  <a:cubicBezTo>
                    <a:pt x="1110" y="294"/>
                    <a:pt x="2376" y="-248"/>
                    <a:pt x="3461" y="113"/>
                  </a:cubicBezTo>
                  <a:lnTo>
                    <a:pt x="759976" y="243543"/>
                  </a:lnTo>
                  <a:cubicBezTo>
                    <a:pt x="760880" y="243905"/>
                    <a:pt x="761603" y="244628"/>
                    <a:pt x="761784" y="245533"/>
                  </a:cubicBezTo>
                  <a:cubicBezTo>
                    <a:pt x="761965" y="246437"/>
                    <a:pt x="761603" y="247522"/>
                    <a:pt x="760880" y="248065"/>
                  </a:cubicBezTo>
                  <a:lnTo>
                    <a:pt x="427746" y="530379"/>
                  </a:lnTo>
                  <a:cubicBezTo>
                    <a:pt x="427203" y="531102"/>
                    <a:pt x="426480" y="531283"/>
                    <a:pt x="425937" y="531283"/>
                  </a:cubicBezTo>
                  <a:close/>
                  <a:moveTo>
                    <a:pt x="10334" y="8252"/>
                  </a:moveTo>
                  <a:lnTo>
                    <a:pt x="426299" y="524772"/>
                  </a:lnTo>
                  <a:lnTo>
                    <a:pt x="753646" y="247341"/>
                  </a:lnTo>
                  <a:lnTo>
                    <a:pt x="10334" y="82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1" name="Google Shape;101;p21"/>
            <p:cNvSpPr/>
            <p:nvPr/>
          </p:nvSpPr>
          <p:spPr>
            <a:xfrm>
              <a:off x="10678039" y="1766877"/>
              <a:ext cx="843432" cy="1386455"/>
            </a:xfrm>
            <a:custGeom>
              <a:avLst/>
              <a:gdLst/>
              <a:ahLst/>
              <a:cxnLst/>
              <a:rect l="l" t="t" r="r" b="b"/>
              <a:pathLst>
                <a:path w="843432" h="1386455" extrusionOk="0">
                  <a:moveTo>
                    <a:pt x="759154" y="1386388"/>
                  </a:moveTo>
                  <a:cubicBezTo>
                    <a:pt x="758974" y="1386388"/>
                    <a:pt x="758793" y="1386388"/>
                    <a:pt x="758431" y="1386207"/>
                  </a:cubicBezTo>
                  <a:lnTo>
                    <a:pt x="1917" y="1142777"/>
                  </a:lnTo>
                  <a:cubicBezTo>
                    <a:pt x="1012" y="1142596"/>
                    <a:pt x="470" y="1141873"/>
                    <a:pt x="108" y="1140968"/>
                  </a:cubicBezTo>
                  <a:cubicBezTo>
                    <a:pt x="-73" y="1140064"/>
                    <a:pt x="-73" y="1139160"/>
                    <a:pt x="470" y="1138617"/>
                  </a:cubicBezTo>
                  <a:lnTo>
                    <a:pt x="838550" y="1043"/>
                  </a:lnTo>
                  <a:cubicBezTo>
                    <a:pt x="839273" y="139"/>
                    <a:pt x="840539" y="-223"/>
                    <a:pt x="841624" y="139"/>
                  </a:cubicBezTo>
                  <a:cubicBezTo>
                    <a:pt x="842709" y="500"/>
                    <a:pt x="843433" y="1585"/>
                    <a:pt x="843433" y="2851"/>
                  </a:cubicBezTo>
                  <a:lnTo>
                    <a:pt x="761867" y="1383856"/>
                  </a:lnTo>
                  <a:cubicBezTo>
                    <a:pt x="761867" y="1384760"/>
                    <a:pt x="761325" y="1385484"/>
                    <a:pt x="760782" y="1385845"/>
                  </a:cubicBezTo>
                  <a:cubicBezTo>
                    <a:pt x="760421" y="1386388"/>
                    <a:pt x="759878" y="1386569"/>
                    <a:pt x="759154" y="1386388"/>
                  </a:cubicBezTo>
                  <a:close/>
                  <a:moveTo>
                    <a:pt x="7342" y="1138979"/>
                  </a:moveTo>
                  <a:lnTo>
                    <a:pt x="756984" y="1380239"/>
                  </a:lnTo>
                  <a:lnTo>
                    <a:pt x="837826" y="11713"/>
                  </a:lnTo>
                  <a:lnTo>
                    <a:pt x="7342" y="113897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2" name="Google Shape;102;p21"/>
            <p:cNvSpPr/>
            <p:nvPr/>
          </p:nvSpPr>
          <p:spPr>
            <a:xfrm>
              <a:off x="9849223" y="4241004"/>
              <a:ext cx="991831" cy="721347"/>
            </a:xfrm>
            <a:custGeom>
              <a:avLst/>
              <a:gdLst/>
              <a:ahLst/>
              <a:cxnLst/>
              <a:rect l="l" t="t" r="r" b="b"/>
              <a:pathLst>
                <a:path w="991831" h="721347" extrusionOk="0">
                  <a:moveTo>
                    <a:pt x="2419" y="721348"/>
                  </a:moveTo>
                  <a:cubicBezTo>
                    <a:pt x="1695" y="721348"/>
                    <a:pt x="972" y="720986"/>
                    <a:pt x="610" y="720444"/>
                  </a:cubicBezTo>
                  <a:cubicBezTo>
                    <a:pt x="68" y="719720"/>
                    <a:pt x="-113" y="718816"/>
                    <a:pt x="68" y="717912"/>
                  </a:cubicBezTo>
                  <a:lnTo>
                    <a:pt x="229934" y="1909"/>
                  </a:lnTo>
                  <a:cubicBezTo>
                    <a:pt x="230115" y="1005"/>
                    <a:pt x="230838" y="462"/>
                    <a:pt x="231742" y="101"/>
                  </a:cubicBezTo>
                  <a:cubicBezTo>
                    <a:pt x="232647" y="-80"/>
                    <a:pt x="233551" y="-80"/>
                    <a:pt x="234274" y="643"/>
                  </a:cubicBezTo>
                  <a:lnTo>
                    <a:pt x="990789" y="593303"/>
                  </a:lnTo>
                  <a:cubicBezTo>
                    <a:pt x="991693" y="594027"/>
                    <a:pt x="992055" y="595112"/>
                    <a:pt x="991693" y="596197"/>
                  </a:cubicBezTo>
                  <a:cubicBezTo>
                    <a:pt x="991331" y="597282"/>
                    <a:pt x="990427" y="598005"/>
                    <a:pt x="989342" y="598186"/>
                  </a:cubicBezTo>
                  <a:lnTo>
                    <a:pt x="2962" y="721348"/>
                  </a:lnTo>
                  <a:cubicBezTo>
                    <a:pt x="2781" y="721348"/>
                    <a:pt x="2600" y="721348"/>
                    <a:pt x="2419" y="721348"/>
                  </a:cubicBezTo>
                  <a:close/>
                  <a:moveTo>
                    <a:pt x="233913" y="7154"/>
                  </a:moveTo>
                  <a:lnTo>
                    <a:pt x="6579" y="715380"/>
                  </a:lnTo>
                  <a:lnTo>
                    <a:pt x="982289" y="593484"/>
                  </a:lnTo>
                  <a:lnTo>
                    <a:pt x="233913" y="71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3" name="Google Shape;103;p21"/>
            <p:cNvSpPr/>
            <p:nvPr/>
          </p:nvSpPr>
          <p:spPr>
            <a:xfrm>
              <a:off x="9849360" y="4833736"/>
              <a:ext cx="991861" cy="443302"/>
            </a:xfrm>
            <a:custGeom>
              <a:avLst/>
              <a:gdLst/>
              <a:ahLst/>
              <a:cxnLst/>
              <a:rect l="l" t="t" r="r" b="b"/>
              <a:pathLst>
                <a:path w="991861" h="443302" extrusionOk="0">
                  <a:moveTo>
                    <a:pt x="562569" y="443302"/>
                  </a:moveTo>
                  <a:cubicBezTo>
                    <a:pt x="562207" y="443302"/>
                    <a:pt x="561846" y="443121"/>
                    <a:pt x="561484" y="442940"/>
                  </a:cubicBezTo>
                  <a:lnTo>
                    <a:pt x="1377" y="128254"/>
                  </a:lnTo>
                  <a:cubicBezTo>
                    <a:pt x="292" y="127711"/>
                    <a:pt x="-250" y="126445"/>
                    <a:pt x="112" y="125360"/>
                  </a:cubicBezTo>
                  <a:cubicBezTo>
                    <a:pt x="292" y="124275"/>
                    <a:pt x="1197" y="123371"/>
                    <a:pt x="2463" y="123190"/>
                  </a:cubicBezTo>
                  <a:lnTo>
                    <a:pt x="988843" y="28"/>
                  </a:lnTo>
                  <a:cubicBezTo>
                    <a:pt x="989928" y="-153"/>
                    <a:pt x="991013" y="570"/>
                    <a:pt x="991556" y="1475"/>
                  </a:cubicBezTo>
                  <a:cubicBezTo>
                    <a:pt x="992098" y="2560"/>
                    <a:pt x="991918" y="3826"/>
                    <a:pt x="991013" y="4549"/>
                  </a:cubicBezTo>
                  <a:lnTo>
                    <a:pt x="564739" y="442398"/>
                  </a:lnTo>
                  <a:cubicBezTo>
                    <a:pt x="564016" y="442940"/>
                    <a:pt x="563293" y="443302"/>
                    <a:pt x="562569" y="443302"/>
                  </a:cubicBezTo>
                  <a:close/>
                  <a:moveTo>
                    <a:pt x="10963" y="127530"/>
                  </a:moveTo>
                  <a:lnTo>
                    <a:pt x="562207" y="437153"/>
                  </a:lnTo>
                  <a:lnTo>
                    <a:pt x="981609" y="6177"/>
                  </a:lnTo>
                  <a:lnTo>
                    <a:pt x="10963" y="1275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4" name="Google Shape;104;p21"/>
            <p:cNvSpPr/>
            <p:nvPr/>
          </p:nvSpPr>
          <p:spPr>
            <a:xfrm>
              <a:off x="10079018" y="4241104"/>
              <a:ext cx="1044825" cy="597904"/>
            </a:xfrm>
            <a:custGeom>
              <a:avLst/>
              <a:gdLst/>
              <a:ahLst/>
              <a:cxnLst/>
              <a:rect l="l" t="t" r="r" b="b"/>
              <a:pathLst>
                <a:path w="1044825" h="597904" extrusionOk="0">
                  <a:moveTo>
                    <a:pt x="759004" y="597905"/>
                  </a:moveTo>
                  <a:cubicBezTo>
                    <a:pt x="758461" y="597905"/>
                    <a:pt x="757919" y="597724"/>
                    <a:pt x="757557" y="597362"/>
                  </a:cubicBezTo>
                  <a:lnTo>
                    <a:pt x="1043" y="4702"/>
                  </a:lnTo>
                  <a:cubicBezTo>
                    <a:pt x="139" y="3979"/>
                    <a:pt x="-223" y="2713"/>
                    <a:pt x="139" y="1628"/>
                  </a:cubicBezTo>
                  <a:cubicBezTo>
                    <a:pt x="500" y="543"/>
                    <a:pt x="1766" y="0"/>
                    <a:pt x="2851" y="0"/>
                  </a:cubicBezTo>
                  <a:lnTo>
                    <a:pt x="1042403" y="113034"/>
                  </a:lnTo>
                  <a:cubicBezTo>
                    <a:pt x="1043307" y="113215"/>
                    <a:pt x="1044031" y="113757"/>
                    <a:pt x="1044573" y="114481"/>
                  </a:cubicBezTo>
                  <a:cubicBezTo>
                    <a:pt x="1044935" y="115385"/>
                    <a:pt x="1044935" y="116289"/>
                    <a:pt x="1044392" y="117013"/>
                  </a:cubicBezTo>
                  <a:lnTo>
                    <a:pt x="761355" y="596639"/>
                  </a:lnTo>
                  <a:cubicBezTo>
                    <a:pt x="760993" y="597362"/>
                    <a:pt x="760270" y="597724"/>
                    <a:pt x="759547" y="597905"/>
                  </a:cubicBezTo>
                  <a:cubicBezTo>
                    <a:pt x="759547" y="597905"/>
                    <a:pt x="759185" y="597905"/>
                    <a:pt x="759004" y="597905"/>
                  </a:cubicBezTo>
                  <a:close/>
                  <a:moveTo>
                    <a:pt x="11713" y="6330"/>
                  </a:moveTo>
                  <a:lnTo>
                    <a:pt x="758461" y="591394"/>
                  </a:lnTo>
                  <a:lnTo>
                    <a:pt x="1037882" y="118098"/>
                  </a:lnTo>
                  <a:lnTo>
                    <a:pt x="11713" y="63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5" name="Google Shape;105;p21"/>
            <p:cNvSpPr/>
            <p:nvPr/>
          </p:nvSpPr>
          <p:spPr>
            <a:xfrm>
              <a:off x="10409332" y="4833860"/>
              <a:ext cx="431695" cy="555307"/>
            </a:xfrm>
            <a:custGeom>
              <a:avLst/>
              <a:gdLst/>
              <a:ahLst/>
              <a:cxnLst/>
              <a:rect l="l" t="t" r="r" b="b"/>
              <a:pathLst>
                <a:path w="431695" h="555307" extrusionOk="0">
                  <a:moveTo>
                    <a:pt x="267007" y="555308"/>
                  </a:moveTo>
                  <a:cubicBezTo>
                    <a:pt x="266645" y="555308"/>
                    <a:pt x="266464" y="555127"/>
                    <a:pt x="266102" y="555127"/>
                  </a:cubicBezTo>
                  <a:lnTo>
                    <a:pt x="1693" y="442997"/>
                  </a:lnTo>
                  <a:cubicBezTo>
                    <a:pt x="789" y="442636"/>
                    <a:pt x="246" y="441912"/>
                    <a:pt x="65" y="441008"/>
                  </a:cubicBezTo>
                  <a:cubicBezTo>
                    <a:pt x="-116" y="440103"/>
                    <a:pt x="65" y="439199"/>
                    <a:pt x="789" y="438657"/>
                  </a:cubicBezTo>
                  <a:lnTo>
                    <a:pt x="427063" y="808"/>
                  </a:lnTo>
                  <a:cubicBezTo>
                    <a:pt x="427967" y="-96"/>
                    <a:pt x="429233" y="-277"/>
                    <a:pt x="430318" y="446"/>
                  </a:cubicBezTo>
                  <a:cubicBezTo>
                    <a:pt x="431403" y="989"/>
                    <a:pt x="431946" y="2255"/>
                    <a:pt x="431584" y="3521"/>
                  </a:cubicBezTo>
                  <a:lnTo>
                    <a:pt x="269900" y="553499"/>
                  </a:lnTo>
                  <a:cubicBezTo>
                    <a:pt x="269719" y="554223"/>
                    <a:pt x="269177" y="554765"/>
                    <a:pt x="268453" y="555127"/>
                  </a:cubicBezTo>
                  <a:cubicBezTo>
                    <a:pt x="267911" y="555127"/>
                    <a:pt x="267368" y="555308"/>
                    <a:pt x="267007" y="555308"/>
                  </a:cubicBezTo>
                  <a:close/>
                  <a:moveTo>
                    <a:pt x="7300" y="439561"/>
                  </a:moveTo>
                  <a:lnTo>
                    <a:pt x="265379" y="548978"/>
                  </a:lnTo>
                  <a:lnTo>
                    <a:pt x="423265" y="12202"/>
                  </a:lnTo>
                  <a:lnTo>
                    <a:pt x="7300" y="43956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6" name="Google Shape;106;p21"/>
            <p:cNvSpPr/>
            <p:nvPr/>
          </p:nvSpPr>
          <p:spPr>
            <a:xfrm>
              <a:off x="10673738" y="4833898"/>
              <a:ext cx="655846" cy="555270"/>
            </a:xfrm>
            <a:custGeom>
              <a:avLst/>
              <a:gdLst/>
              <a:ahLst/>
              <a:cxnLst/>
              <a:rect l="l" t="t" r="r" b="b"/>
              <a:pathLst>
                <a:path w="655846" h="555270" extrusionOk="0">
                  <a:moveTo>
                    <a:pt x="2600" y="555270"/>
                  </a:moveTo>
                  <a:cubicBezTo>
                    <a:pt x="1876" y="555270"/>
                    <a:pt x="1153" y="554908"/>
                    <a:pt x="611" y="554185"/>
                  </a:cubicBezTo>
                  <a:cubicBezTo>
                    <a:pt x="68" y="553462"/>
                    <a:pt x="-113" y="552557"/>
                    <a:pt x="68" y="551834"/>
                  </a:cubicBezTo>
                  <a:lnTo>
                    <a:pt x="161752" y="1855"/>
                  </a:lnTo>
                  <a:cubicBezTo>
                    <a:pt x="161933" y="951"/>
                    <a:pt x="162837" y="228"/>
                    <a:pt x="163741" y="47"/>
                  </a:cubicBezTo>
                  <a:cubicBezTo>
                    <a:pt x="164645" y="-134"/>
                    <a:pt x="165731" y="228"/>
                    <a:pt x="166273" y="770"/>
                  </a:cubicBezTo>
                  <a:lnTo>
                    <a:pt x="655123" y="532844"/>
                  </a:lnTo>
                  <a:cubicBezTo>
                    <a:pt x="655846" y="533568"/>
                    <a:pt x="656027" y="534653"/>
                    <a:pt x="655665" y="535738"/>
                  </a:cubicBezTo>
                  <a:cubicBezTo>
                    <a:pt x="655304" y="536642"/>
                    <a:pt x="654400" y="537366"/>
                    <a:pt x="653314" y="537366"/>
                  </a:cubicBezTo>
                  <a:lnTo>
                    <a:pt x="2781" y="555270"/>
                  </a:lnTo>
                  <a:cubicBezTo>
                    <a:pt x="2781" y="555270"/>
                    <a:pt x="2600" y="555270"/>
                    <a:pt x="2600" y="555270"/>
                  </a:cubicBezTo>
                  <a:close/>
                  <a:moveTo>
                    <a:pt x="165731" y="7824"/>
                  </a:moveTo>
                  <a:lnTo>
                    <a:pt x="6398" y="549664"/>
                  </a:lnTo>
                  <a:lnTo>
                    <a:pt x="647346" y="531940"/>
                  </a:lnTo>
                  <a:lnTo>
                    <a:pt x="165731" y="782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7" name="Google Shape;107;p21"/>
            <p:cNvSpPr/>
            <p:nvPr/>
          </p:nvSpPr>
          <p:spPr>
            <a:xfrm>
              <a:off x="10835536" y="4354090"/>
              <a:ext cx="559021" cy="484989"/>
            </a:xfrm>
            <a:custGeom>
              <a:avLst/>
              <a:gdLst/>
              <a:ahLst/>
              <a:cxnLst/>
              <a:rect l="l" t="t" r="r" b="b"/>
              <a:pathLst>
                <a:path w="559021" h="484989" extrusionOk="0">
                  <a:moveTo>
                    <a:pt x="2486" y="484919"/>
                  </a:moveTo>
                  <a:cubicBezTo>
                    <a:pt x="1762" y="484919"/>
                    <a:pt x="1039" y="484557"/>
                    <a:pt x="677" y="484015"/>
                  </a:cubicBezTo>
                  <a:cubicBezTo>
                    <a:pt x="-46" y="483110"/>
                    <a:pt x="-227" y="481844"/>
                    <a:pt x="315" y="480940"/>
                  </a:cubicBezTo>
                  <a:lnTo>
                    <a:pt x="283353" y="1314"/>
                  </a:lnTo>
                  <a:cubicBezTo>
                    <a:pt x="283714" y="591"/>
                    <a:pt x="284438" y="229"/>
                    <a:pt x="285161" y="48"/>
                  </a:cubicBezTo>
                  <a:cubicBezTo>
                    <a:pt x="285885" y="-133"/>
                    <a:pt x="286789" y="229"/>
                    <a:pt x="287331" y="591"/>
                  </a:cubicBezTo>
                  <a:lnTo>
                    <a:pt x="558071" y="236063"/>
                  </a:lnTo>
                  <a:cubicBezTo>
                    <a:pt x="558794" y="236606"/>
                    <a:pt x="559156" y="237510"/>
                    <a:pt x="558975" y="238414"/>
                  </a:cubicBezTo>
                  <a:cubicBezTo>
                    <a:pt x="558794" y="239319"/>
                    <a:pt x="558252" y="240042"/>
                    <a:pt x="557347" y="240404"/>
                  </a:cubicBezTo>
                  <a:lnTo>
                    <a:pt x="3571" y="484557"/>
                  </a:lnTo>
                  <a:cubicBezTo>
                    <a:pt x="3390" y="484919"/>
                    <a:pt x="3028" y="485100"/>
                    <a:pt x="2486" y="484919"/>
                  </a:cubicBezTo>
                  <a:close/>
                  <a:moveTo>
                    <a:pt x="286427" y="6920"/>
                  </a:moveTo>
                  <a:lnTo>
                    <a:pt x="9358" y="476599"/>
                  </a:lnTo>
                  <a:lnTo>
                    <a:pt x="551560" y="237510"/>
                  </a:lnTo>
                  <a:lnTo>
                    <a:pt x="286427" y="69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8" name="Google Shape;108;p21"/>
            <p:cNvSpPr/>
            <p:nvPr/>
          </p:nvSpPr>
          <p:spPr>
            <a:xfrm>
              <a:off x="10835490" y="4656662"/>
              <a:ext cx="760854" cy="714601"/>
            </a:xfrm>
            <a:custGeom>
              <a:avLst/>
              <a:gdLst/>
              <a:ahLst/>
              <a:cxnLst/>
              <a:rect l="l" t="t" r="r" b="b"/>
              <a:pathLst>
                <a:path w="760854" h="714601" extrusionOk="0">
                  <a:moveTo>
                    <a:pt x="491382" y="714602"/>
                  </a:moveTo>
                  <a:cubicBezTo>
                    <a:pt x="490658" y="714602"/>
                    <a:pt x="490116" y="714240"/>
                    <a:pt x="489573" y="713698"/>
                  </a:cubicBezTo>
                  <a:lnTo>
                    <a:pt x="723" y="181624"/>
                  </a:lnTo>
                  <a:cubicBezTo>
                    <a:pt x="0" y="180901"/>
                    <a:pt x="-181" y="179996"/>
                    <a:pt x="181" y="179092"/>
                  </a:cubicBezTo>
                  <a:cubicBezTo>
                    <a:pt x="542" y="178188"/>
                    <a:pt x="1266" y="177464"/>
                    <a:pt x="2170" y="177284"/>
                  </a:cubicBezTo>
                  <a:lnTo>
                    <a:pt x="757419" y="46"/>
                  </a:lnTo>
                  <a:cubicBezTo>
                    <a:pt x="758323" y="-135"/>
                    <a:pt x="759408" y="227"/>
                    <a:pt x="760131" y="950"/>
                  </a:cubicBezTo>
                  <a:cubicBezTo>
                    <a:pt x="760855" y="1674"/>
                    <a:pt x="761036" y="2759"/>
                    <a:pt x="760674" y="3663"/>
                  </a:cubicBezTo>
                  <a:lnTo>
                    <a:pt x="494095" y="712794"/>
                  </a:lnTo>
                  <a:cubicBezTo>
                    <a:pt x="493733" y="713698"/>
                    <a:pt x="493009" y="714240"/>
                    <a:pt x="492105" y="714421"/>
                  </a:cubicBezTo>
                  <a:cubicBezTo>
                    <a:pt x="491743" y="714602"/>
                    <a:pt x="491563" y="714602"/>
                    <a:pt x="491382" y="714602"/>
                  </a:cubicBezTo>
                  <a:close/>
                  <a:moveTo>
                    <a:pt x="7777" y="181262"/>
                  </a:moveTo>
                  <a:lnTo>
                    <a:pt x="490477" y="706825"/>
                  </a:lnTo>
                  <a:lnTo>
                    <a:pt x="753802" y="6376"/>
                  </a:lnTo>
                  <a:lnTo>
                    <a:pt x="7777" y="18126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9" name="Google Shape;109;p21"/>
            <p:cNvSpPr/>
            <p:nvPr/>
          </p:nvSpPr>
          <p:spPr>
            <a:xfrm>
              <a:off x="10835561" y="4589492"/>
              <a:ext cx="760784" cy="249597"/>
            </a:xfrm>
            <a:custGeom>
              <a:avLst/>
              <a:gdLst/>
              <a:ahLst/>
              <a:cxnLst/>
              <a:rect l="l" t="t" r="r" b="b"/>
              <a:pathLst>
                <a:path w="760784" h="249597" extrusionOk="0">
                  <a:moveTo>
                    <a:pt x="2461" y="249517"/>
                  </a:moveTo>
                  <a:cubicBezTo>
                    <a:pt x="1376" y="249517"/>
                    <a:pt x="472" y="248794"/>
                    <a:pt x="110" y="247708"/>
                  </a:cubicBezTo>
                  <a:cubicBezTo>
                    <a:pt x="-252" y="246443"/>
                    <a:pt x="291" y="244996"/>
                    <a:pt x="1557" y="244453"/>
                  </a:cubicBezTo>
                  <a:lnTo>
                    <a:pt x="555333" y="300"/>
                  </a:lnTo>
                  <a:cubicBezTo>
                    <a:pt x="555876" y="-62"/>
                    <a:pt x="556599" y="-62"/>
                    <a:pt x="557323" y="119"/>
                  </a:cubicBezTo>
                  <a:lnTo>
                    <a:pt x="758975" y="67216"/>
                  </a:lnTo>
                  <a:cubicBezTo>
                    <a:pt x="760060" y="67578"/>
                    <a:pt x="760784" y="68663"/>
                    <a:pt x="760784" y="69929"/>
                  </a:cubicBezTo>
                  <a:cubicBezTo>
                    <a:pt x="760784" y="71195"/>
                    <a:pt x="759880" y="72099"/>
                    <a:pt x="758795" y="72460"/>
                  </a:cubicBezTo>
                  <a:lnTo>
                    <a:pt x="3546" y="249517"/>
                  </a:lnTo>
                  <a:cubicBezTo>
                    <a:pt x="3004" y="249517"/>
                    <a:pt x="2823" y="249698"/>
                    <a:pt x="2461" y="249517"/>
                  </a:cubicBezTo>
                  <a:close/>
                  <a:moveTo>
                    <a:pt x="556599" y="5725"/>
                  </a:moveTo>
                  <a:lnTo>
                    <a:pt x="30313" y="237761"/>
                  </a:lnTo>
                  <a:lnTo>
                    <a:pt x="748124" y="69386"/>
                  </a:lnTo>
                  <a:lnTo>
                    <a:pt x="556599" y="57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0" name="Google Shape;110;p21"/>
            <p:cNvSpPr/>
            <p:nvPr/>
          </p:nvSpPr>
          <p:spPr>
            <a:xfrm>
              <a:off x="11896925" y="6061766"/>
              <a:ext cx="646006" cy="120991"/>
            </a:xfrm>
            <a:custGeom>
              <a:avLst/>
              <a:gdLst/>
              <a:ahLst/>
              <a:cxnLst/>
              <a:rect l="l" t="t" r="r" b="b"/>
              <a:pathLst>
                <a:path w="646006" h="120991" extrusionOk="0">
                  <a:moveTo>
                    <a:pt x="501148" y="120991"/>
                  </a:moveTo>
                  <a:cubicBezTo>
                    <a:pt x="501148" y="120991"/>
                    <a:pt x="500967" y="120991"/>
                    <a:pt x="500967" y="120991"/>
                  </a:cubicBezTo>
                  <a:lnTo>
                    <a:pt x="2351" y="45394"/>
                  </a:lnTo>
                  <a:cubicBezTo>
                    <a:pt x="1085" y="45214"/>
                    <a:pt x="0" y="43947"/>
                    <a:pt x="0" y="42682"/>
                  </a:cubicBezTo>
                  <a:cubicBezTo>
                    <a:pt x="0" y="41235"/>
                    <a:pt x="1085" y="40150"/>
                    <a:pt x="2532" y="40150"/>
                  </a:cubicBezTo>
                  <a:lnTo>
                    <a:pt x="643119" y="0"/>
                  </a:lnTo>
                  <a:cubicBezTo>
                    <a:pt x="644385" y="0"/>
                    <a:pt x="645289" y="543"/>
                    <a:pt x="645831" y="1628"/>
                  </a:cubicBezTo>
                  <a:cubicBezTo>
                    <a:pt x="646193" y="2713"/>
                    <a:pt x="646012" y="3979"/>
                    <a:pt x="645108" y="4702"/>
                  </a:cubicBezTo>
                  <a:lnTo>
                    <a:pt x="503137" y="120449"/>
                  </a:lnTo>
                  <a:cubicBezTo>
                    <a:pt x="502595" y="120811"/>
                    <a:pt x="501871" y="120991"/>
                    <a:pt x="501148" y="120991"/>
                  </a:cubicBezTo>
                  <a:close/>
                  <a:moveTo>
                    <a:pt x="28033" y="43767"/>
                  </a:moveTo>
                  <a:lnTo>
                    <a:pt x="500605" y="115385"/>
                  </a:lnTo>
                  <a:lnTo>
                    <a:pt x="635161" y="5606"/>
                  </a:lnTo>
                  <a:lnTo>
                    <a:pt x="28033" y="437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1" name="Google Shape;111;p21"/>
            <p:cNvSpPr/>
            <p:nvPr/>
          </p:nvSpPr>
          <p:spPr>
            <a:xfrm>
              <a:off x="11896995" y="6101526"/>
              <a:ext cx="757168" cy="406091"/>
            </a:xfrm>
            <a:custGeom>
              <a:avLst/>
              <a:gdLst/>
              <a:ahLst/>
              <a:cxnLst/>
              <a:rect l="l" t="t" r="r" b="b"/>
              <a:pathLst>
                <a:path w="757168" h="406091" extrusionOk="0">
                  <a:moveTo>
                    <a:pt x="754456" y="406046"/>
                  </a:moveTo>
                  <a:cubicBezTo>
                    <a:pt x="754094" y="406046"/>
                    <a:pt x="753732" y="405865"/>
                    <a:pt x="753371" y="405684"/>
                  </a:cubicBezTo>
                  <a:lnTo>
                    <a:pt x="1377" y="5091"/>
                  </a:lnTo>
                  <a:cubicBezTo>
                    <a:pt x="292" y="4549"/>
                    <a:pt x="-250" y="3102"/>
                    <a:pt x="112" y="1836"/>
                  </a:cubicBezTo>
                  <a:cubicBezTo>
                    <a:pt x="473" y="570"/>
                    <a:pt x="1558" y="-153"/>
                    <a:pt x="3005" y="28"/>
                  </a:cubicBezTo>
                  <a:lnTo>
                    <a:pt x="501621" y="75625"/>
                  </a:lnTo>
                  <a:cubicBezTo>
                    <a:pt x="502344" y="75806"/>
                    <a:pt x="502887" y="76167"/>
                    <a:pt x="503249" y="76710"/>
                  </a:cubicBezTo>
                  <a:lnTo>
                    <a:pt x="756626" y="401525"/>
                  </a:lnTo>
                  <a:cubicBezTo>
                    <a:pt x="757349" y="402610"/>
                    <a:pt x="757349" y="403875"/>
                    <a:pt x="756626" y="404960"/>
                  </a:cubicBezTo>
                  <a:cubicBezTo>
                    <a:pt x="756264" y="405865"/>
                    <a:pt x="755360" y="406226"/>
                    <a:pt x="754456" y="406046"/>
                  </a:cubicBezTo>
                  <a:close/>
                  <a:moveTo>
                    <a:pt x="17835" y="7985"/>
                  </a:moveTo>
                  <a:lnTo>
                    <a:pt x="744689" y="395195"/>
                  </a:lnTo>
                  <a:lnTo>
                    <a:pt x="499813" y="81231"/>
                  </a:lnTo>
                  <a:lnTo>
                    <a:pt x="17835" y="79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2" name="Google Shape;112;p21"/>
            <p:cNvSpPr/>
            <p:nvPr/>
          </p:nvSpPr>
          <p:spPr>
            <a:xfrm>
              <a:off x="7614904" y="4593833"/>
              <a:ext cx="754906" cy="328550"/>
            </a:xfrm>
            <a:custGeom>
              <a:avLst/>
              <a:gdLst/>
              <a:ahLst/>
              <a:cxnLst/>
              <a:rect l="l" t="t" r="r" b="b"/>
              <a:pathLst>
                <a:path w="754906" h="328550" extrusionOk="0">
                  <a:moveTo>
                    <a:pt x="2461" y="328369"/>
                  </a:moveTo>
                  <a:cubicBezTo>
                    <a:pt x="1376" y="328369"/>
                    <a:pt x="472" y="327465"/>
                    <a:pt x="110" y="326380"/>
                  </a:cubicBezTo>
                  <a:cubicBezTo>
                    <a:pt x="-252" y="325114"/>
                    <a:pt x="291" y="323848"/>
                    <a:pt x="1557" y="323125"/>
                  </a:cubicBezTo>
                  <a:lnTo>
                    <a:pt x="637622" y="299"/>
                  </a:lnTo>
                  <a:cubicBezTo>
                    <a:pt x="638165" y="-62"/>
                    <a:pt x="639069" y="-62"/>
                    <a:pt x="639612" y="119"/>
                  </a:cubicBezTo>
                  <a:cubicBezTo>
                    <a:pt x="640335" y="299"/>
                    <a:pt x="640878" y="842"/>
                    <a:pt x="641239" y="1566"/>
                  </a:cubicBezTo>
                  <a:lnTo>
                    <a:pt x="754635" y="235410"/>
                  </a:lnTo>
                  <a:cubicBezTo>
                    <a:pt x="754997" y="236134"/>
                    <a:pt x="754997" y="237038"/>
                    <a:pt x="754635" y="237942"/>
                  </a:cubicBezTo>
                  <a:cubicBezTo>
                    <a:pt x="754273" y="238666"/>
                    <a:pt x="753369" y="239208"/>
                    <a:pt x="752646" y="239389"/>
                  </a:cubicBezTo>
                  <a:lnTo>
                    <a:pt x="3004" y="328550"/>
                  </a:lnTo>
                  <a:cubicBezTo>
                    <a:pt x="2823" y="328369"/>
                    <a:pt x="2642" y="328369"/>
                    <a:pt x="2461" y="328369"/>
                  </a:cubicBezTo>
                  <a:close/>
                  <a:moveTo>
                    <a:pt x="637441" y="6448"/>
                  </a:moveTo>
                  <a:lnTo>
                    <a:pt x="17291" y="321135"/>
                  </a:lnTo>
                  <a:lnTo>
                    <a:pt x="748124" y="234325"/>
                  </a:lnTo>
                  <a:lnTo>
                    <a:pt x="637441" y="64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3" name="Google Shape;113;p21"/>
            <p:cNvSpPr/>
            <p:nvPr/>
          </p:nvSpPr>
          <p:spPr>
            <a:xfrm>
              <a:off x="8250989" y="4541142"/>
              <a:ext cx="389243" cy="291899"/>
            </a:xfrm>
            <a:custGeom>
              <a:avLst/>
              <a:gdLst/>
              <a:ahLst/>
              <a:cxnLst/>
              <a:rect l="l" t="t" r="r" b="b"/>
              <a:pathLst>
                <a:path w="389243" h="291899" extrusionOk="0">
                  <a:moveTo>
                    <a:pt x="115837" y="291899"/>
                  </a:moveTo>
                  <a:cubicBezTo>
                    <a:pt x="115837" y="291899"/>
                    <a:pt x="115656" y="291899"/>
                    <a:pt x="115656" y="291899"/>
                  </a:cubicBezTo>
                  <a:cubicBezTo>
                    <a:pt x="114752" y="291718"/>
                    <a:pt x="114029" y="291175"/>
                    <a:pt x="113667" y="290452"/>
                  </a:cubicBezTo>
                  <a:lnTo>
                    <a:pt x="271" y="56607"/>
                  </a:lnTo>
                  <a:cubicBezTo>
                    <a:pt x="-90" y="55884"/>
                    <a:pt x="-90" y="54980"/>
                    <a:pt x="271" y="54075"/>
                  </a:cubicBezTo>
                  <a:cubicBezTo>
                    <a:pt x="633" y="53352"/>
                    <a:pt x="1356" y="52809"/>
                    <a:pt x="2261" y="52629"/>
                  </a:cubicBezTo>
                  <a:lnTo>
                    <a:pt x="386215" y="0"/>
                  </a:lnTo>
                  <a:cubicBezTo>
                    <a:pt x="387300" y="0"/>
                    <a:pt x="388385" y="362"/>
                    <a:pt x="388928" y="1447"/>
                  </a:cubicBezTo>
                  <a:cubicBezTo>
                    <a:pt x="389470" y="2532"/>
                    <a:pt x="389289" y="3617"/>
                    <a:pt x="388566" y="4521"/>
                  </a:cubicBezTo>
                  <a:lnTo>
                    <a:pt x="118008" y="290995"/>
                  </a:lnTo>
                  <a:cubicBezTo>
                    <a:pt x="117465" y="291718"/>
                    <a:pt x="116742" y="291899"/>
                    <a:pt x="115837" y="291899"/>
                  </a:cubicBezTo>
                  <a:close/>
                  <a:moveTo>
                    <a:pt x="6601" y="57512"/>
                  </a:moveTo>
                  <a:lnTo>
                    <a:pt x="116742" y="284484"/>
                  </a:lnTo>
                  <a:lnTo>
                    <a:pt x="379342" y="6511"/>
                  </a:lnTo>
                  <a:lnTo>
                    <a:pt x="6601" y="5751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4" name="Google Shape;114;p21"/>
            <p:cNvSpPr/>
            <p:nvPr/>
          </p:nvSpPr>
          <p:spPr>
            <a:xfrm>
              <a:off x="9529267" y="2916615"/>
              <a:ext cx="152282" cy="457319"/>
            </a:xfrm>
            <a:custGeom>
              <a:avLst/>
              <a:gdLst/>
              <a:ahLst/>
              <a:cxnLst/>
              <a:rect l="l" t="t" r="r" b="b"/>
              <a:pathLst>
                <a:path w="152282" h="457319" extrusionOk="0">
                  <a:moveTo>
                    <a:pt x="2624" y="457292"/>
                  </a:moveTo>
                  <a:cubicBezTo>
                    <a:pt x="2443" y="457292"/>
                    <a:pt x="2262" y="457292"/>
                    <a:pt x="1901" y="457111"/>
                  </a:cubicBezTo>
                  <a:cubicBezTo>
                    <a:pt x="454" y="456569"/>
                    <a:pt x="-270" y="455122"/>
                    <a:pt x="92" y="453675"/>
                  </a:cubicBezTo>
                  <a:lnTo>
                    <a:pt x="146946" y="1901"/>
                  </a:lnTo>
                  <a:cubicBezTo>
                    <a:pt x="147489" y="454"/>
                    <a:pt x="148935" y="-270"/>
                    <a:pt x="150382" y="92"/>
                  </a:cubicBezTo>
                  <a:cubicBezTo>
                    <a:pt x="151829" y="635"/>
                    <a:pt x="152553" y="2082"/>
                    <a:pt x="152191" y="3528"/>
                  </a:cubicBezTo>
                  <a:lnTo>
                    <a:pt x="5337" y="455303"/>
                  </a:lnTo>
                  <a:cubicBezTo>
                    <a:pt x="4975" y="456750"/>
                    <a:pt x="3890" y="457473"/>
                    <a:pt x="2624" y="457292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5" name="Google Shape;115;p21"/>
            <p:cNvSpPr/>
            <p:nvPr/>
          </p:nvSpPr>
          <p:spPr>
            <a:xfrm>
              <a:off x="9529398" y="2916589"/>
              <a:ext cx="644164" cy="457318"/>
            </a:xfrm>
            <a:custGeom>
              <a:avLst/>
              <a:gdLst/>
              <a:ahLst/>
              <a:cxnLst/>
              <a:rect l="l" t="t" r="r" b="b"/>
              <a:pathLst>
                <a:path w="644164" h="457318" extrusionOk="0">
                  <a:moveTo>
                    <a:pt x="2493" y="457319"/>
                  </a:moveTo>
                  <a:cubicBezTo>
                    <a:pt x="1950" y="457319"/>
                    <a:pt x="1227" y="456957"/>
                    <a:pt x="865" y="456595"/>
                  </a:cubicBezTo>
                  <a:cubicBezTo>
                    <a:pt x="142" y="455872"/>
                    <a:pt x="-220" y="454787"/>
                    <a:pt x="142" y="453702"/>
                  </a:cubicBezTo>
                  <a:lnTo>
                    <a:pt x="146996" y="1927"/>
                  </a:lnTo>
                  <a:cubicBezTo>
                    <a:pt x="147177" y="1204"/>
                    <a:pt x="147719" y="661"/>
                    <a:pt x="148443" y="300"/>
                  </a:cubicBezTo>
                  <a:cubicBezTo>
                    <a:pt x="149166" y="-62"/>
                    <a:pt x="149889" y="-62"/>
                    <a:pt x="150613" y="119"/>
                  </a:cubicBezTo>
                  <a:lnTo>
                    <a:pt x="642356" y="180973"/>
                  </a:lnTo>
                  <a:cubicBezTo>
                    <a:pt x="643441" y="181335"/>
                    <a:pt x="644165" y="182420"/>
                    <a:pt x="644165" y="183505"/>
                  </a:cubicBezTo>
                  <a:cubicBezTo>
                    <a:pt x="644165" y="184590"/>
                    <a:pt x="643622" y="185675"/>
                    <a:pt x="642537" y="186037"/>
                  </a:cubicBezTo>
                  <a:lnTo>
                    <a:pt x="4121" y="456957"/>
                  </a:lnTo>
                  <a:cubicBezTo>
                    <a:pt x="3397" y="457319"/>
                    <a:pt x="3036" y="457319"/>
                    <a:pt x="2493" y="457319"/>
                  </a:cubicBezTo>
                  <a:close/>
                  <a:moveTo>
                    <a:pt x="151155" y="6268"/>
                  </a:moveTo>
                  <a:lnTo>
                    <a:pt x="7014" y="449904"/>
                  </a:lnTo>
                  <a:lnTo>
                    <a:pt x="633675" y="183867"/>
                  </a:lnTo>
                  <a:lnTo>
                    <a:pt x="151155" y="62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6" name="Google Shape;116;p21"/>
            <p:cNvSpPr/>
            <p:nvPr/>
          </p:nvSpPr>
          <p:spPr>
            <a:xfrm>
              <a:off x="9529496" y="3368638"/>
              <a:ext cx="700994" cy="598834"/>
            </a:xfrm>
            <a:custGeom>
              <a:avLst/>
              <a:gdLst/>
              <a:ahLst/>
              <a:cxnLst/>
              <a:rect l="l" t="t" r="r" b="b"/>
              <a:pathLst>
                <a:path w="700994" h="598834" extrusionOk="0">
                  <a:moveTo>
                    <a:pt x="144005" y="598834"/>
                  </a:moveTo>
                  <a:cubicBezTo>
                    <a:pt x="142919" y="598834"/>
                    <a:pt x="141834" y="597930"/>
                    <a:pt x="141473" y="596845"/>
                  </a:cubicBezTo>
                  <a:lnTo>
                    <a:pt x="44" y="3280"/>
                  </a:lnTo>
                  <a:cubicBezTo>
                    <a:pt x="-136" y="2195"/>
                    <a:pt x="225" y="929"/>
                    <a:pt x="1310" y="387"/>
                  </a:cubicBezTo>
                  <a:cubicBezTo>
                    <a:pt x="2215" y="-156"/>
                    <a:pt x="3481" y="-156"/>
                    <a:pt x="4385" y="568"/>
                  </a:cubicBezTo>
                  <a:lnTo>
                    <a:pt x="699951" y="563387"/>
                  </a:lnTo>
                  <a:cubicBezTo>
                    <a:pt x="700856" y="564110"/>
                    <a:pt x="701217" y="565195"/>
                    <a:pt x="700856" y="566280"/>
                  </a:cubicBezTo>
                  <a:cubicBezTo>
                    <a:pt x="700494" y="567365"/>
                    <a:pt x="699590" y="568089"/>
                    <a:pt x="698504" y="568089"/>
                  </a:cubicBezTo>
                  <a:lnTo>
                    <a:pt x="144366" y="598834"/>
                  </a:lnTo>
                  <a:cubicBezTo>
                    <a:pt x="144185" y="598834"/>
                    <a:pt x="144005" y="598834"/>
                    <a:pt x="144005" y="598834"/>
                  </a:cubicBezTo>
                  <a:close/>
                  <a:moveTo>
                    <a:pt x="7098" y="9791"/>
                  </a:moveTo>
                  <a:lnTo>
                    <a:pt x="146175" y="593408"/>
                  </a:lnTo>
                  <a:lnTo>
                    <a:pt x="691089" y="563206"/>
                  </a:lnTo>
                  <a:lnTo>
                    <a:pt x="7098" y="979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7" name="Google Shape;117;p21"/>
            <p:cNvSpPr/>
            <p:nvPr/>
          </p:nvSpPr>
          <p:spPr>
            <a:xfrm>
              <a:off x="9529675" y="3097545"/>
              <a:ext cx="701037" cy="839251"/>
            </a:xfrm>
            <a:custGeom>
              <a:avLst/>
              <a:gdLst/>
              <a:ahLst/>
              <a:cxnLst/>
              <a:rect l="l" t="t" r="r" b="b"/>
              <a:pathLst>
                <a:path w="701037" h="839251" extrusionOk="0">
                  <a:moveTo>
                    <a:pt x="697964" y="839181"/>
                  </a:moveTo>
                  <a:cubicBezTo>
                    <a:pt x="697421" y="839181"/>
                    <a:pt x="696878" y="839000"/>
                    <a:pt x="696517" y="838638"/>
                  </a:cubicBezTo>
                  <a:lnTo>
                    <a:pt x="950" y="275819"/>
                  </a:lnTo>
                  <a:cubicBezTo>
                    <a:pt x="227" y="275277"/>
                    <a:pt x="-135" y="274373"/>
                    <a:pt x="46" y="273287"/>
                  </a:cubicBezTo>
                  <a:cubicBezTo>
                    <a:pt x="227" y="272383"/>
                    <a:pt x="769" y="271479"/>
                    <a:pt x="1674" y="271117"/>
                  </a:cubicBezTo>
                  <a:lnTo>
                    <a:pt x="640090" y="197"/>
                  </a:lnTo>
                  <a:cubicBezTo>
                    <a:pt x="640814" y="-165"/>
                    <a:pt x="641899" y="16"/>
                    <a:pt x="642622" y="378"/>
                  </a:cubicBezTo>
                  <a:cubicBezTo>
                    <a:pt x="643346" y="740"/>
                    <a:pt x="643888" y="1644"/>
                    <a:pt x="643888" y="2548"/>
                  </a:cubicBezTo>
                  <a:lnTo>
                    <a:pt x="701038" y="836287"/>
                  </a:lnTo>
                  <a:cubicBezTo>
                    <a:pt x="701038" y="837372"/>
                    <a:pt x="700495" y="838277"/>
                    <a:pt x="699591" y="838819"/>
                  </a:cubicBezTo>
                  <a:cubicBezTo>
                    <a:pt x="698868" y="839181"/>
                    <a:pt x="698325" y="839362"/>
                    <a:pt x="697964" y="839181"/>
                  </a:cubicBezTo>
                  <a:close/>
                  <a:moveTo>
                    <a:pt x="7642" y="274373"/>
                  </a:moveTo>
                  <a:lnTo>
                    <a:pt x="694889" y="830500"/>
                  </a:lnTo>
                  <a:lnTo>
                    <a:pt x="638463" y="6527"/>
                  </a:lnTo>
                  <a:lnTo>
                    <a:pt x="7642" y="27437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8" name="Google Shape;118;p21"/>
            <p:cNvSpPr/>
            <p:nvPr/>
          </p:nvSpPr>
          <p:spPr>
            <a:xfrm>
              <a:off x="9268153" y="3962046"/>
              <a:ext cx="423829" cy="391007"/>
            </a:xfrm>
            <a:custGeom>
              <a:avLst/>
              <a:gdLst/>
              <a:ahLst/>
              <a:cxnLst/>
              <a:rect l="l" t="t" r="r" b="b"/>
              <a:pathLst>
                <a:path w="423829" h="391007" extrusionOk="0">
                  <a:moveTo>
                    <a:pt x="2584" y="391007"/>
                  </a:moveTo>
                  <a:cubicBezTo>
                    <a:pt x="1860" y="391007"/>
                    <a:pt x="1137" y="390646"/>
                    <a:pt x="594" y="389922"/>
                  </a:cubicBezTo>
                  <a:cubicBezTo>
                    <a:pt x="-310" y="388837"/>
                    <a:pt x="-129" y="387209"/>
                    <a:pt x="775" y="386305"/>
                  </a:cubicBezTo>
                  <a:lnTo>
                    <a:pt x="403538" y="723"/>
                  </a:lnTo>
                  <a:cubicBezTo>
                    <a:pt x="404262" y="0"/>
                    <a:pt x="405347" y="-181"/>
                    <a:pt x="406251" y="181"/>
                  </a:cubicBezTo>
                  <a:cubicBezTo>
                    <a:pt x="407155" y="543"/>
                    <a:pt x="407879" y="1266"/>
                    <a:pt x="408060" y="2351"/>
                  </a:cubicBezTo>
                  <a:lnTo>
                    <a:pt x="423794" y="111225"/>
                  </a:lnTo>
                  <a:cubicBezTo>
                    <a:pt x="423975" y="112311"/>
                    <a:pt x="423432" y="113215"/>
                    <a:pt x="422709" y="113938"/>
                  </a:cubicBezTo>
                  <a:lnTo>
                    <a:pt x="4212" y="390646"/>
                  </a:lnTo>
                  <a:cubicBezTo>
                    <a:pt x="3669" y="390826"/>
                    <a:pt x="3126" y="391007"/>
                    <a:pt x="2584" y="391007"/>
                  </a:cubicBezTo>
                  <a:close/>
                  <a:moveTo>
                    <a:pt x="403538" y="8319"/>
                  </a:moveTo>
                  <a:lnTo>
                    <a:pt x="26095" y="369486"/>
                  </a:lnTo>
                  <a:lnTo>
                    <a:pt x="418188" y="110321"/>
                  </a:lnTo>
                  <a:lnTo>
                    <a:pt x="403538" y="831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9" name="Google Shape;119;p21"/>
            <p:cNvSpPr/>
            <p:nvPr/>
          </p:nvSpPr>
          <p:spPr>
            <a:xfrm>
              <a:off x="9268250" y="4071002"/>
              <a:ext cx="665200" cy="282050"/>
            </a:xfrm>
            <a:custGeom>
              <a:avLst/>
              <a:gdLst/>
              <a:ahLst/>
              <a:cxnLst/>
              <a:rect l="l" t="t" r="r" b="b"/>
              <a:pathLst>
                <a:path w="665200" h="282050" extrusionOk="0">
                  <a:moveTo>
                    <a:pt x="2487" y="282051"/>
                  </a:moveTo>
                  <a:cubicBezTo>
                    <a:pt x="1402" y="282051"/>
                    <a:pt x="497" y="281328"/>
                    <a:pt x="136" y="280242"/>
                  </a:cubicBezTo>
                  <a:cubicBezTo>
                    <a:pt x="-226" y="279157"/>
                    <a:pt x="136" y="277710"/>
                    <a:pt x="1221" y="277168"/>
                  </a:cubicBezTo>
                  <a:lnTo>
                    <a:pt x="419718" y="461"/>
                  </a:lnTo>
                  <a:cubicBezTo>
                    <a:pt x="420803" y="-263"/>
                    <a:pt x="422069" y="-82"/>
                    <a:pt x="422973" y="641"/>
                  </a:cubicBezTo>
                  <a:lnTo>
                    <a:pt x="664233" y="206092"/>
                  </a:lnTo>
                  <a:cubicBezTo>
                    <a:pt x="665138" y="206816"/>
                    <a:pt x="665319" y="207901"/>
                    <a:pt x="665138" y="208986"/>
                  </a:cubicBezTo>
                  <a:cubicBezTo>
                    <a:pt x="664776" y="210071"/>
                    <a:pt x="663872" y="210794"/>
                    <a:pt x="662787" y="210794"/>
                  </a:cubicBezTo>
                  <a:lnTo>
                    <a:pt x="3029" y="282051"/>
                  </a:lnTo>
                  <a:cubicBezTo>
                    <a:pt x="2849" y="282051"/>
                    <a:pt x="2668" y="282051"/>
                    <a:pt x="2487" y="282051"/>
                  </a:cubicBezTo>
                  <a:close/>
                  <a:moveTo>
                    <a:pt x="420984" y="6067"/>
                  </a:moveTo>
                  <a:lnTo>
                    <a:pt x="13338" y="275540"/>
                  </a:lnTo>
                  <a:lnTo>
                    <a:pt x="655914" y="206092"/>
                  </a:lnTo>
                  <a:lnTo>
                    <a:pt x="420984" y="60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0" name="Google Shape;120;p21"/>
            <p:cNvSpPr/>
            <p:nvPr/>
          </p:nvSpPr>
          <p:spPr>
            <a:xfrm>
              <a:off x="9268205" y="4276324"/>
              <a:ext cx="665049" cy="686027"/>
            </a:xfrm>
            <a:custGeom>
              <a:avLst/>
              <a:gdLst/>
              <a:ahLst/>
              <a:cxnLst/>
              <a:rect l="l" t="t" r="r" b="b"/>
              <a:pathLst>
                <a:path w="665049" h="686027" extrusionOk="0">
                  <a:moveTo>
                    <a:pt x="583437" y="686028"/>
                  </a:moveTo>
                  <a:cubicBezTo>
                    <a:pt x="582713" y="686028"/>
                    <a:pt x="582171" y="685666"/>
                    <a:pt x="581628" y="685124"/>
                  </a:cubicBezTo>
                  <a:lnTo>
                    <a:pt x="723" y="75825"/>
                  </a:lnTo>
                  <a:cubicBezTo>
                    <a:pt x="0" y="75102"/>
                    <a:pt x="-181" y="74017"/>
                    <a:pt x="181" y="73112"/>
                  </a:cubicBezTo>
                  <a:cubicBezTo>
                    <a:pt x="543" y="72208"/>
                    <a:pt x="1447" y="71485"/>
                    <a:pt x="2351" y="71304"/>
                  </a:cubicBezTo>
                  <a:lnTo>
                    <a:pt x="662108" y="47"/>
                  </a:lnTo>
                  <a:cubicBezTo>
                    <a:pt x="663013" y="-134"/>
                    <a:pt x="663736" y="228"/>
                    <a:pt x="664279" y="770"/>
                  </a:cubicBezTo>
                  <a:cubicBezTo>
                    <a:pt x="664821" y="1313"/>
                    <a:pt x="665183" y="2217"/>
                    <a:pt x="665002" y="2941"/>
                  </a:cubicBezTo>
                  <a:lnTo>
                    <a:pt x="586330" y="683496"/>
                  </a:lnTo>
                  <a:cubicBezTo>
                    <a:pt x="586149" y="684581"/>
                    <a:pt x="585426" y="685485"/>
                    <a:pt x="584522" y="685666"/>
                  </a:cubicBezTo>
                  <a:cubicBezTo>
                    <a:pt x="584160" y="686028"/>
                    <a:pt x="583798" y="686028"/>
                    <a:pt x="583437" y="686028"/>
                  </a:cubicBezTo>
                  <a:close/>
                  <a:moveTo>
                    <a:pt x="8319" y="76187"/>
                  </a:moveTo>
                  <a:lnTo>
                    <a:pt x="581628" y="677347"/>
                  </a:lnTo>
                  <a:lnTo>
                    <a:pt x="659396" y="5834"/>
                  </a:lnTo>
                  <a:lnTo>
                    <a:pt x="8319" y="7618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1" name="Google Shape;121;p21"/>
            <p:cNvSpPr/>
            <p:nvPr/>
          </p:nvSpPr>
          <p:spPr>
            <a:xfrm>
              <a:off x="11118464" y="3446764"/>
              <a:ext cx="1016826" cy="912800"/>
            </a:xfrm>
            <a:custGeom>
              <a:avLst/>
              <a:gdLst/>
              <a:ahLst/>
              <a:cxnLst/>
              <a:rect l="l" t="t" r="r" b="b"/>
              <a:pathLst>
                <a:path w="1016826" h="912800" extrusionOk="0">
                  <a:moveTo>
                    <a:pt x="2595" y="912800"/>
                  </a:moveTo>
                  <a:cubicBezTo>
                    <a:pt x="2053" y="912800"/>
                    <a:pt x="1510" y="912619"/>
                    <a:pt x="967" y="912258"/>
                  </a:cubicBezTo>
                  <a:cubicBezTo>
                    <a:pt x="63" y="911534"/>
                    <a:pt x="-118" y="910449"/>
                    <a:pt x="63" y="909364"/>
                  </a:cubicBezTo>
                  <a:lnTo>
                    <a:pt x="299558" y="1837"/>
                  </a:lnTo>
                  <a:cubicBezTo>
                    <a:pt x="299739" y="1113"/>
                    <a:pt x="300281" y="571"/>
                    <a:pt x="301005" y="209"/>
                  </a:cubicBezTo>
                  <a:cubicBezTo>
                    <a:pt x="301728" y="-153"/>
                    <a:pt x="302452" y="28"/>
                    <a:pt x="303175" y="209"/>
                  </a:cubicBezTo>
                  <a:lnTo>
                    <a:pt x="1015380" y="352875"/>
                  </a:lnTo>
                  <a:cubicBezTo>
                    <a:pt x="1016284" y="353237"/>
                    <a:pt x="1016827" y="354141"/>
                    <a:pt x="1016827" y="355226"/>
                  </a:cubicBezTo>
                  <a:cubicBezTo>
                    <a:pt x="1016827" y="356311"/>
                    <a:pt x="1016284" y="357215"/>
                    <a:pt x="1015380" y="357577"/>
                  </a:cubicBezTo>
                  <a:lnTo>
                    <a:pt x="3680" y="912439"/>
                  </a:lnTo>
                  <a:cubicBezTo>
                    <a:pt x="3680" y="912619"/>
                    <a:pt x="3138" y="912800"/>
                    <a:pt x="2595" y="912800"/>
                  </a:cubicBezTo>
                  <a:close/>
                  <a:moveTo>
                    <a:pt x="303899" y="6358"/>
                  </a:moveTo>
                  <a:lnTo>
                    <a:pt x="7478" y="904481"/>
                  </a:lnTo>
                  <a:lnTo>
                    <a:pt x="1008689" y="355407"/>
                  </a:lnTo>
                  <a:lnTo>
                    <a:pt x="303899" y="635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2" name="Google Shape;122;p21"/>
            <p:cNvSpPr/>
            <p:nvPr/>
          </p:nvSpPr>
          <p:spPr>
            <a:xfrm>
              <a:off x="11118597" y="3799339"/>
              <a:ext cx="1199003" cy="560224"/>
            </a:xfrm>
            <a:custGeom>
              <a:avLst/>
              <a:gdLst/>
              <a:ahLst/>
              <a:cxnLst/>
              <a:rect l="l" t="t" r="r" b="b"/>
              <a:pathLst>
                <a:path w="1199003" h="560224" extrusionOk="0">
                  <a:moveTo>
                    <a:pt x="2463" y="560225"/>
                  </a:moveTo>
                  <a:cubicBezTo>
                    <a:pt x="1378" y="560225"/>
                    <a:pt x="292" y="559321"/>
                    <a:pt x="112" y="558235"/>
                  </a:cubicBezTo>
                  <a:cubicBezTo>
                    <a:pt x="-250" y="556970"/>
                    <a:pt x="292" y="555704"/>
                    <a:pt x="1378" y="555161"/>
                  </a:cubicBezTo>
                  <a:lnTo>
                    <a:pt x="1013078" y="300"/>
                  </a:lnTo>
                  <a:cubicBezTo>
                    <a:pt x="1013801" y="-62"/>
                    <a:pt x="1014524" y="-62"/>
                    <a:pt x="1015248" y="119"/>
                  </a:cubicBezTo>
                  <a:cubicBezTo>
                    <a:pt x="1015972" y="480"/>
                    <a:pt x="1016514" y="1023"/>
                    <a:pt x="1016876" y="1746"/>
                  </a:cubicBezTo>
                  <a:lnTo>
                    <a:pt x="1198815" y="500905"/>
                  </a:lnTo>
                  <a:cubicBezTo>
                    <a:pt x="1199177" y="501628"/>
                    <a:pt x="1198996" y="502532"/>
                    <a:pt x="1198454" y="503256"/>
                  </a:cubicBezTo>
                  <a:cubicBezTo>
                    <a:pt x="1197911" y="503979"/>
                    <a:pt x="1197188" y="504341"/>
                    <a:pt x="1196284" y="504522"/>
                  </a:cubicBezTo>
                  <a:lnTo>
                    <a:pt x="2644" y="560225"/>
                  </a:lnTo>
                  <a:cubicBezTo>
                    <a:pt x="2644" y="560225"/>
                    <a:pt x="2644" y="560225"/>
                    <a:pt x="2463" y="560225"/>
                  </a:cubicBezTo>
                  <a:close/>
                  <a:moveTo>
                    <a:pt x="1012897" y="6449"/>
                  </a:moveTo>
                  <a:lnTo>
                    <a:pt x="14218" y="554257"/>
                  </a:lnTo>
                  <a:lnTo>
                    <a:pt x="1192666" y="499096"/>
                  </a:lnTo>
                  <a:lnTo>
                    <a:pt x="1012897" y="64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" name="Google Shape;123;p21"/>
            <p:cNvSpPr/>
            <p:nvPr/>
          </p:nvSpPr>
          <p:spPr>
            <a:xfrm>
              <a:off x="11417928" y="3446249"/>
              <a:ext cx="800265" cy="358272"/>
            </a:xfrm>
            <a:custGeom>
              <a:avLst/>
              <a:gdLst/>
              <a:ahLst/>
              <a:cxnLst/>
              <a:rect l="l" t="t" r="r" b="b"/>
              <a:pathLst>
                <a:path w="800265" h="358272" extrusionOk="0">
                  <a:moveTo>
                    <a:pt x="714831" y="358273"/>
                  </a:moveTo>
                  <a:cubicBezTo>
                    <a:pt x="714469" y="358273"/>
                    <a:pt x="714108" y="358092"/>
                    <a:pt x="713746" y="357911"/>
                  </a:cubicBezTo>
                  <a:lnTo>
                    <a:pt x="1541" y="5245"/>
                  </a:lnTo>
                  <a:cubicBezTo>
                    <a:pt x="456" y="4702"/>
                    <a:pt x="-268" y="3255"/>
                    <a:pt x="94" y="1989"/>
                  </a:cubicBezTo>
                  <a:cubicBezTo>
                    <a:pt x="456" y="723"/>
                    <a:pt x="1360" y="0"/>
                    <a:pt x="2988" y="0"/>
                  </a:cubicBezTo>
                  <a:lnTo>
                    <a:pt x="797843" y="94949"/>
                  </a:lnTo>
                  <a:cubicBezTo>
                    <a:pt x="798567" y="95129"/>
                    <a:pt x="799290" y="95491"/>
                    <a:pt x="799832" y="96215"/>
                  </a:cubicBezTo>
                  <a:cubicBezTo>
                    <a:pt x="800195" y="96938"/>
                    <a:pt x="800375" y="97661"/>
                    <a:pt x="800195" y="98566"/>
                  </a:cubicBezTo>
                  <a:lnTo>
                    <a:pt x="717544" y="356464"/>
                  </a:lnTo>
                  <a:cubicBezTo>
                    <a:pt x="717363" y="357188"/>
                    <a:pt x="716820" y="357730"/>
                    <a:pt x="716097" y="358092"/>
                  </a:cubicBezTo>
                  <a:cubicBezTo>
                    <a:pt x="715735" y="358273"/>
                    <a:pt x="715193" y="358273"/>
                    <a:pt x="714831" y="358273"/>
                  </a:cubicBezTo>
                  <a:close/>
                  <a:moveTo>
                    <a:pt x="17999" y="7596"/>
                  </a:moveTo>
                  <a:lnTo>
                    <a:pt x="713384" y="351943"/>
                  </a:lnTo>
                  <a:lnTo>
                    <a:pt x="794046" y="100374"/>
                  </a:lnTo>
                  <a:lnTo>
                    <a:pt x="17999" y="75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" name="Google Shape;124;p21"/>
            <p:cNvSpPr/>
            <p:nvPr/>
          </p:nvSpPr>
          <p:spPr>
            <a:xfrm>
              <a:off x="12130220" y="3541469"/>
              <a:ext cx="663590" cy="263233"/>
            </a:xfrm>
            <a:custGeom>
              <a:avLst/>
              <a:gdLst/>
              <a:ahLst/>
              <a:cxnLst/>
              <a:rect l="l" t="t" r="r" b="b"/>
              <a:pathLst>
                <a:path w="663590" h="263233" extrusionOk="0">
                  <a:moveTo>
                    <a:pt x="2539" y="263053"/>
                  </a:moveTo>
                  <a:cubicBezTo>
                    <a:pt x="1816" y="263053"/>
                    <a:pt x="1092" y="262691"/>
                    <a:pt x="550" y="261968"/>
                  </a:cubicBezTo>
                  <a:cubicBezTo>
                    <a:pt x="7" y="261244"/>
                    <a:pt x="-173" y="260340"/>
                    <a:pt x="188" y="259617"/>
                  </a:cubicBezTo>
                  <a:lnTo>
                    <a:pt x="82839" y="1899"/>
                  </a:lnTo>
                  <a:cubicBezTo>
                    <a:pt x="83019" y="1176"/>
                    <a:pt x="83562" y="633"/>
                    <a:pt x="84285" y="271"/>
                  </a:cubicBezTo>
                  <a:cubicBezTo>
                    <a:pt x="85009" y="-90"/>
                    <a:pt x="85733" y="-90"/>
                    <a:pt x="86456" y="271"/>
                  </a:cubicBezTo>
                  <a:lnTo>
                    <a:pt x="661935" y="255638"/>
                  </a:lnTo>
                  <a:cubicBezTo>
                    <a:pt x="663020" y="256180"/>
                    <a:pt x="663743" y="257446"/>
                    <a:pt x="663562" y="258712"/>
                  </a:cubicBezTo>
                  <a:cubicBezTo>
                    <a:pt x="663382" y="259978"/>
                    <a:pt x="662296" y="260883"/>
                    <a:pt x="661031" y="260883"/>
                  </a:cubicBezTo>
                  <a:lnTo>
                    <a:pt x="2901" y="263234"/>
                  </a:lnTo>
                  <a:cubicBezTo>
                    <a:pt x="2720" y="263053"/>
                    <a:pt x="2539" y="263053"/>
                    <a:pt x="2539" y="263053"/>
                  </a:cubicBezTo>
                  <a:close/>
                  <a:moveTo>
                    <a:pt x="86998" y="6420"/>
                  </a:moveTo>
                  <a:lnTo>
                    <a:pt x="6518" y="257627"/>
                  </a:lnTo>
                  <a:lnTo>
                    <a:pt x="648371" y="255276"/>
                  </a:lnTo>
                  <a:lnTo>
                    <a:pt x="86998" y="64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" name="Google Shape;125;p21"/>
            <p:cNvSpPr/>
            <p:nvPr/>
          </p:nvSpPr>
          <p:spPr>
            <a:xfrm>
              <a:off x="12130270" y="3799071"/>
              <a:ext cx="635593" cy="504608"/>
            </a:xfrm>
            <a:custGeom>
              <a:avLst/>
              <a:gdLst/>
              <a:ahLst/>
              <a:cxnLst/>
              <a:rect l="l" t="t" r="r" b="b"/>
              <a:pathLst>
                <a:path w="635593" h="504608" extrusionOk="0">
                  <a:moveTo>
                    <a:pt x="184429" y="504609"/>
                  </a:moveTo>
                  <a:cubicBezTo>
                    <a:pt x="183344" y="504609"/>
                    <a:pt x="182440" y="503886"/>
                    <a:pt x="182078" y="502800"/>
                  </a:cubicBezTo>
                  <a:lnTo>
                    <a:pt x="139" y="3642"/>
                  </a:lnTo>
                  <a:cubicBezTo>
                    <a:pt x="-223" y="2557"/>
                    <a:pt x="139" y="1291"/>
                    <a:pt x="1043" y="568"/>
                  </a:cubicBezTo>
                  <a:cubicBezTo>
                    <a:pt x="1947" y="-156"/>
                    <a:pt x="3213" y="-156"/>
                    <a:pt x="4117" y="387"/>
                  </a:cubicBezTo>
                  <a:lnTo>
                    <a:pt x="634395" y="425214"/>
                  </a:lnTo>
                  <a:cubicBezTo>
                    <a:pt x="635299" y="425756"/>
                    <a:pt x="635842" y="427022"/>
                    <a:pt x="635480" y="428107"/>
                  </a:cubicBezTo>
                  <a:cubicBezTo>
                    <a:pt x="635299" y="429193"/>
                    <a:pt x="634395" y="429916"/>
                    <a:pt x="633310" y="430097"/>
                  </a:cubicBezTo>
                  <a:lnTo>
                    <a:pt x="185153" y="504247"/>
                  </a:lnTo>
                  <a:cubicBezTo>
                    <a:pt x="184972" y="504609"/>
                    <a:pt x="184610" y="504609"/>
                    <a:pt x="184429" y="504609"/>
                  </a:cubicBezTo>
                  <a:close/>
                  <a:moveTo>
                    <a:pt x="8096" y="9610"/>
                  </a:moveTo>
                  <a:lnTo>
                    <a:pt x="186418" y="498822"/>
                  </a:lnTo>
                  <a:lnTo>
                    <a:pt x="625714" y="426118"/>
                  </a:lnTo>
                  <a:lnTo>
                    <a:pt x="8096" y="961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" name="Google Shape;126;p21"/>
            <p:cNvSpPr/>
            <p:nvPr/>
          </p:nvSpPr>
          <p:spPr>
            <a:xfrm>
              <a:off x="12130295" y="3796745"/>
              <a:ext cx="663487" cy="432784"/>
            </a:xfrm>
            <a:custGeom>
              <a:avLst/>
              <a:gdLst/>
              <a:ahLst/>
              <a:cxnLst/>
              <a:rect l="l" t="t" r="r" b="b"/>
              <a:pathLst>
                <a:path w="663487" h="432784" extrusionOk="0">
                  <a:moveTo>
                    <a:pt x="632742" y="432785"/>
                  </a:moveTo>
                  <a:cubicBezTo>
                    <a:pt x="632200" y="432785"/>
                    <a:pt x="631838" y="432604"/>
                    <a:pt x="631476" y="432242"/>
                  </a:cubicBezTo>
                  <a:lnTo>
                    <a:pt x="1198" y="7415"/>
                  </a:lnTo>
                  <a:cubicBezTo>
                    <a:pt x="294" y="6692"/>
                    <a:pt x="-248" y="5606"/>
                    <a:pt x="113" y="4340"/>
                  </a:cubicBezTo>
                  <a:cubicBezTo>
                    <a:pt x="475" y="3255"/>
                    <a:pt x="1560" y="2351"/>
                    <a:pt x="2645" y="2351"/>
                  </a:cubicBezTo>
                  <a:lnTo>
                    <a:pt x="660775" y="0"/>
                  </a:lnTo>
                  <a:cubicBezTo>
                    <a:pt x="661498" y="0"/>
                    <a:pt x="662221" y="362"/>
                    <a:pt x="662764" y="904"/>
                  </a:cubicBezTo>
                  <a:cubicBezTo>
                    <a:pt x="663307" y="1447"/>
                    <a:pt x="663487" y="2170"/>
                    <a:pt x="663487" y="2894"/>
                  </a:cubicBezTo>
                  <a:lnTo>
                    <a:pt x="635636" y="430072"/>
                  </a:lnTo>
                  <a:cubicBezTo>
                    <a:pt x="635636" y="430976"/>
                    <a:pt x="634913" y="431880"/>
                    <a:pt x="634189" y="432242"/>
                  </a:cubicBezTo>
                  <a:cubicBezTo>
                    <a:pt x="633647" y="432604"/>
                    <a:pt x="633104" y="432785"/>
                    <a:pt x="632742" y="432785"/>
                  </a:cubicBezTo>
                  <a:close/>
                  <a:moveTo>
                    <a:pt x="11507" y="7777"/>
                  </a:moveTo>
                  <a:lnTo>
                    <a:pt x="630572" y="425189"/>
                  </a:lnTo>
                  <a:lnTo>
                    <a:pt x="657881" y="5426"/>
                  </a:lnTo>
                  <a:lnTo>
                    <a:pt x="11507" y="777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" name="Google Shape;127;p21"/>
            <p:cNvSpPr/>
            <p:nvPr/>
          </p:nvSpPr>
          <p:spPr>
            <a:xfrm>
              <a:off x="8364210" y="4541323"/>
              <a:ext cx="774711" cy="291718"/>
            </a:xfrm>
            <a:custGeom>
              <a:avLst/>
              <a:gdLst/>
              <a:ahLst/>
              <a:cxnLst/>
              <a:rect l="l" t="t" r="r" b="b"/>
              <a:pathLst>
                <a:path w="774711" h="291718" extrusionOk="0">
                  <a:moveTo>
                    <a:pt x="2617" y="291718"/>
                  </a:moveTo>
                  <a:cubicBezTo>
                    <a:pt x="1712" y="291718"/>
                    <a:pt x="989" y="291176"/>
                    <a:pt x="446" y="290452"/>
                  </a:cubicBezTo>
                  <a:cubicBezTo>
                    <a:pt x="-277" y="289367"/>
                    <a:pt x="-96" y="288101"/>
                    <a:pt x="808" y="287197"/>
                  </a:cubicBezTo>
                  <a:lnTo>
                    <a:pt x="271186" y="904"/>
                  </a:lnTo>
                  <a:cubicBezTo>
                    <a:pt x="271728" y="362"/>
                    <a:pt x="272452" y="0"/>
                    <a:pt x="273356" y="0"/>
                  </a:cubicBezTo>
                  <a:lnTo>
                    <a:pt x="772153" y="28213"/>
                  </a:lnTo>
                  <a:cubicBezTo>
                    <a:pt x="772153" y="28213"/>
                    <a:pt x="772153" y="28213"/>
                    <a:pt x="772153" y="28213"/>
                  </a:cubicBezTo>
                  <a:cubicBezTo>
                    <a:pt x="773418" y="28213"/>
                    <a:pt x="774504" y="29298"/>
                    <a:pt x="774684" y="30564"/>
                  </a:cubicBezTo>
                  <a:cubicBezTo>
                    <a:pt x="774865" y="31830"/>
                    <a:pt x="774142" y="33096"/>
                    <a:pt x="772876" y="33458"/>
                  </a:cubicBezTo>
                  <a:lnTo>
                    <a:pt x="3702" y="291537"/>
                  </a:lnTo>
                  <a:cubicBezTo>
                    <a:pt x="3340" y="291718"/>
                    <a:pt x="2978" y="291718"/>
                    <a:pt x="2617" y="291718"/>
                  </a:cubicBezTo>
                  <a:close/>
                  <a:moveTo>
                    <a:pt x="274441" y="5426"/>
                  </a:moveTo>
                  <a:lnTo>
                    <a:pt x="12202" y="283037"/>
                  </a:lnTo>
                  <a:lnTo>
                    <a:pt x="757865" y="32735"/>
                  </a:lnTo>
                  <a:lnTo>
                    <a:pt x="274441" y="542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" name="Google Shape;128;p21"/>
            <p:cNvSpPr/>
            <p:nvPr/>
          </p:nvSpPr>
          <p:spPr>
            <a:xfrm>
              <a:off x="8364333" y="4569536"/>
              <a:ext cx="774702" cy="792865"/>
            </a:xfrm>
            <a:custGeom>
              <a:avLst/>
              <a:gdLst/>
              <a:ahLst/>
              <a:cxnLst/>
              <a:rect l="l" t="t" r="r" b="b"/>
              <a:pathLst>
                <a:path w="774702" h="792865" extrusionOk="0">
                  <a:moveTo>
                    <a:pt x="580142" y="792866"/>
                  </a:moveTo>
                  <a:cubicBezTo>
                    <a:pt x="579600" y="792866"/>
                    <a:pt x="578876" y="792504"/>
                    <a:pt x="578515" y="792142"/>
                  </a:cubicBezTo>
                  <a:lnTo>
                    <a:pt x="865" y="262781"/>
                  </a:lnTo>
                  <a:cubicBezTo>
                    <a:pt x="142" y="262058"/>
                    <a:pt x="-220" y="261154"/>
                    <a:pt x="142" y="260249"/>
                  </a:cubicBezTo>
                  <a:cubicBezTo>
                    <a:pt x="323" y="259345"/>
                    <a:pt x="1046" y="258622"/>
                    <a:pt x="1950" y="258260"/>
                  </a:cubicBezTo>
                  <a:lnTo>
                    <a:pt x="771125" y="181"/>
                  </a:lnTo>
                  <a:cubicBezTo>
                    <a:pt x="772029" y="-181"/>
                    <a:pt x="773114" y="0"/>
                    <a:pt x="773837" y="723"/>
                  </a:cubicBezTo>
                  <a:cubicBezTo>
                    <a:pt x="774561" y="1447"/>
                    <a:pt x="774923" y="2351"/>
                    <a:pt x="774561" y="3255"/>
                  </a:cubicBezTo>
                  <a:lnTo>
                    <a:pt x="583036" y="790696"/>
                  </a:lnTo>
                  <a:cubicBezTo>
                    <a:pt x="582855" y="791600"/>
                    <a:pt x="582132" y="792323"/>
                    <a:pt x="581227" y="792685"/>
                  </a:cubicBezTo>
                  <a:cubicBezTo>
                    <a:pt x="580866" y="792866"/>
                    <a:pt x="580504" y="792866"/>
                    <a:pt x="580142" y="792866"/>
                  </a:cubicBezTo>
                  <a:close/>
                  <a:moveTo>
                    <a:pt x="7919" y="261877"/>
                  </a:moveTo>
                  <a:lnTo>
                    <a:pt x="578876" y="785089"/>
                  </a:lnTo>
                  <a:lnTo>
                    <a:pt x="768231" y="6872"/>
                  </a:lnTo>
                  <a:lnTo>
                    <a:pt x="7919" y="26187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" name="Google Shape;129;p21"/>
            <p:cNvSpPr/>
            <p:nvPr/>
          </p:nvSpPr>
          <p:spPr>
            <a:xfrm>
              <a:off x="8634830" y="4347670"/>
              <a:ext cx="638645" cy="227291"/>
            </a:xfrm>
            <a:custGeom>
              <a:avLst/>
              <a:gdLst/>
              <a:ahLst/>
              <a:cxnLst/>
              <a:rect l="l" t="t" r="r" b="b"/>
              <a:pathLst>
                <a:path w="638645" h="227291" extrusionOk="0">
                  <a:moveTo>
                    <a:pt x="2555" y="199079"/>
                  </a:moveTo>
                  <a:cubicBezTo>
                    <a:pt x="1289" y="199079"/>
                    <a:pt x="204" y="197993"/>
                    <a:pt x="23" y="196727"/>
                  </a:cubicBezTo>
                  <a:cubicBezTo>
                    <a:pt x="-158" y="195461"/>
                    <a:pt x="747" y="194195"/>
                    <a:pt x="1832" y="193834"/>
                  </a:cubicBezTo>
                  <a:lnTo>
                    <a:pt x="635184" y="139"/>
                  </a:lnTo>
                  <a:cubicBezTo>
                    <a:pt x="636269" y="-223"/>
                    <a:pt x="637354" y="139"/>
                    <a:pt x="638078" y="1043"/>
                  </a:cubicBezTo>
                  <a:cubicBezTo>
                    <a:pt x="638801" y="1947"/>
                    <a:pt x="638801" y="3213"/>
                    <a:pt x="638259" y="4117"/>
                  </a:cubicBezTo>
                  <a:lnTo>
                    <a:pt x="503703" y="226026"/>
                  </a:lnTo>
                  <a:cubicBezTo>
                    <a:pt x="503160" y="226930"/>
                    <a:pt x="502256" y="227292"/>
                    <a:pt x="501171" y="227292"/>
                  </a:cubicBezTo>
                  <a:lnTo>
                    <a:pt x="2555" y="199079"/>
                  </a:lnTo>
                  <a:cubicBezTo>
                    <a:pt x="2555" y="199079"/>
                    <a:pt x="2555" y="199079"/>
                    <a:pt x="2555" y="199079"/>
                  </a:cubicBezTo>
                  <a:close/>
                  <a:moveTo>
                    <a:pt x="630120" y="7373"/>
                  </a:moveTo>
                  <a:lnTo>
                    <a:pt x="17928" y="194557"/>
                  </a:lnTo>
                  <a:lnTo>
                    <a:pt x="500086" y="221866"/>
                  </a:lnTo>
                  <a:lnTo>
                    <a:pt x="630120" y="737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" name="Google Shape;130;p21"/>
            <p:cNvSpPr/>
            <p:nvPr/>
          </p:nvSpPr>
          <p:spPr>
            <a:xfrm>
              <a:off x="8941898" y="4569646"/>
              <a:ext cx="912456" cy="792756"/>
            </a:xfrm>
            <a:custGeom>
              <a:avLst/>
              <a:gdLst/>
              <a:ahLst/>
              <a:cxnLst/>
              <a:rect l="l" t="t" r="r" b="b"/>
              <a:pathLst>
                <a:path w="912456" h="792756" extrusionOk="0">
                  <a:moveTo>
                    <a:pt x="2578" y="792756"/>
                  </a:moveTo>
                  <a:cubicBezTo>
                    <a:pt x="2035" y="792756"/>
                    <a:pt x="1493" y="792575"/>
                    <a:pt x="950" y="792214"/>
                  </a:cubicBezTo>
                  <a:cubicBezTo>
                    <a:pt x="227" y="791490"/>
                    <a:pt x="-135" y="790586"/>
                    <a:pt x="46" y="789501"/>
                  </a:cubicBezTo>
                  <a:lnTo>
                    <a:pt x="191571" y="2061"/>
                  </a:lnTo>
                  <a:cubicBezTo>
                    <a:pt x="191752" y="1337"/>
                    <a:pt x="192294" y="614"/>
                    <a:pt x="193018" y="252"/>
                  </a:cubicBezTo>
                  <a:cubicBezTo>
                    <a:pt x="193741" y="-110"/>
                    <a:pt x="194646" y="-110"/>
                    <a:pt x="195369" y="433"/>
                  </a:cubicBezTo>
                  <a:lnTo>
                    <a:pt x="911010" y="387823"/>
                  </a:lnTo>
                  <a:cubicBezTo>
                    <a:pt x="911914" y="388366"/>
                    <a:pt x="912457" y="389270"/>
                    <a:pt x="912457" y="390355"/>
                  </a:cubicBezTo>
                  <a:cubicBezTo>
                    <a:pt x="912457" y="391440"/>
                    <a:pt x="911734" y="392344"/>
                    <a:pt x="910829" y="392706"/>
                  </a:cubicBezTo>
                  <a:lnTo>
                    <a:pt x="3844" y="792395"/>
                  </a:lnTo>
                  <a:cubicBezTo>
                    <a:pt x="3482" y="792575"/>
                    <a:pt x="3121" y="792756"/>
                    <a:pt x="2578" y="792756"/>
                  </a:cubicBezTo>
                  <a:close/>
                  <a:moveTo>
                    <a:pt x="196092" y="6582"/>
                  </a:moveTo>
                  <a:lnTo>
                    <a:pt x="6738" y="785341"/>
                  </a:lnTo>
                  <a:lnTo>
                    <a:pt x="903957" y="389632"/>
                  </a:lnTo>
                  <a:lnTo>
                    <a:pt x="196092" y="658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" name="Google Shape;131;p21"/>
            <p:cNvSpPr/>
            <p:nvPr/>
          </p:nvSpPr>
          <p:spPr>
            <a:xfrm>
              <a:off x="9133578" y="4347582"/>
              <a:ext cx="720828" cy="614770"/>
            </a:xfrm>
            <a:custGeom>
              <a:avLst/>
              <a:gdLst/>
              <a:ahLst/>
              <a:cxnLst/>
              <a:rect l="l" t="t" r="r" b="b"/>
              <a:pathLst>
                <a:path w="720828" h="614770" extrusionOk="0">
                  <a:moveTo>
                    <a:pt x="718063" y="614770"/>
                  </a:moveTo>
                  <a:cubicBezTo>
                    <a:pt x="717702" y="614770"/>
                    <a:pt x="717340" y="614589"/>
                    <a:pt x="716978" y="614408"/>
                  </a:cubicBezTo>
                  <a:lnTo>
                    <a:pt x="1337" y="227018"/>
                  </a:lnTo>
                  <a:cubicBezTo>
                    <a:pt x="614" y="226657"/>
                    <a:pt x="252" y="226114"/>
                    <a:pt x="71" y="225391"/>
                  </a:cubicBezTo>
                  <a:cubicBezTo>
                    <a:pt x="-110" y="224667"/>
                    <a:pt x="71" y="223944"/>
                    <a:pt x="433" y="223220"/>
                  </a:cubicBezTo>
                  <a:lnTo>
                    <a:pt x="134988" y="1312"/>
                  </a:lnTo>
                  <a:cubicBezTo>
                    <a:pt x="135350" y="589"/>
                    <a:pt x="136074" y="46"/>
                    <a:pt x="136978" y="46"/>
                  </a:cubicBezTo>
                  <a:cubicBezTo>
                    <a:pt x="137882" y="-135"/>
                    <a:pt x="138606" y="227"/>
                    <a:pt x="139148" y="950"/>
                  </a:cubicBezTo>
                  <a:lnTo>
                    <a:pt x="720053" y="610249"/>
                  </a:lnTo>
                  <a:cubicBezTo>
                    <a:pt x="720957" y="611153"/>
                    <a:pt x="721138" y="612600"/>
                    <a:pt x="720234" y="613685"/>
                  </a:cubicBezTo>
                  <a:cubicBezTo>
                    <a:pt x="719872" y="614408"/>
                    <a:pt x="718968" y="614770"/>
                    <a:pt x="718063" y="614770"/>
                  </a:cubicBezTo>
                  <a:close/>
                  <a:moveTo>
                    <a:pt x="6401" y="223582"/>
                  </a:moveTo>
                  <a:lnTo>
                    <a:pt x="704499" y="601387"/>
                  </a:lnTo>
                  <a:lnTo>
                    <a:pt x="137701" y="6918"/>
                  </a:lnTo>
                  <a:lnTo>
                    <a:pt x="6401" y="22358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" name="Google Shape;132;p21"/>
            <p:cNvSpPr/>
            <p:nvPr/>
          </p:nvSpPr>
          <p:spPr>
            <a:xfrm>
              <a:off x="11590919" y="4298301"/>
              <a:ext cx="726848" cy="591347"/>
            </a:xfrm>
            <a:custGeom>
              <a:avLst/>
              <a:gdLst/>
              <a:ahLst/>
              <a:cxnLst/>
              <a:rect l="l" t="t" r="r" b="b"/>
              <a:pathLst>
                <a:path w="726848" h="591347" extrusionOk="0">
                  <a:moveTo>
                    <a:pt x="516882" y="591348"/>
                  </a:moveTo>
                  <a:cubicBezTo>
                    <a:pt x="516521" y="591348"/>
                    <a:pt x="516340" y="591167"/>
                    <a:pt x="515978" y="591167"/>
                  </a:cubicBezTo>
                  <a:lnTo>
                    <a:pt x="1628" y="363471"/>
                  </a:lnTo>
                  <a:cubicBezTo>
                    <a:pt x="723" y="363109"/>
                    <a:pt x="0" y="362024"/>
                    <a:pt x="0" y="361120"/>
                  </a:cubicBezTo>
                  <a:cubicBezTo>
                    <a:pt x="0" y="360035"/>
                    <a:pt x="543" y="359131"/>
                    <a:pt x="1447" y="358588"/>
                  </a:cubicBezTo>
                  <a:lnTo>
                    <a:pt x="722875" y="315"/>
                  </a:lnTo>
                  <a:cubicBezTo>
                    <a:pt x="723780" y="-227"/>
                    <a:pt x="725046" y="-46"/>
                    <a:pt x="725950" y="677"/>
                  </a:cubicBezTo>
                  <a:cubicBezTo>
                    <a:pt x="726854" y="1401"/>
                    <a:pt x="727035" y="2486"/>
                    <a:pt x="726674" y="3571"/>
                  </a:cubicBezTo>
                  <a:lnTo>
                    <a:pt x="519595" y="589539"/>
                  </a:lnTo>
                  <a:cubicBezTo>
                    <a:pt x="519414" y="590263"/>
                    <a:pt x="518871" y="590805"/>
                    <a:pt x="518148" y="591167"/>
                  </a:cubicBezTo>
                  <a:cubicBezTo>
                    <a:pt x="517606" y="591348"/>
                    <a:pt x="517244" y="591348"/>
                    <a:pt x="516882" y="591348"/>
                  </a:cubicBezTo>
                  <a:close/>
                  <a:moveTo>
                    <a:pt x="9043" y="360939"/>
                  </a:moveTo>
                  <a:lnTo>
                    <a:pt x="515436" y="585018"/>
                  </a:lnTo>
                  <a:lnTo>
                    <a:pt x="719258" y="8092"/>
                  </a:lnTo>
                  <a:lnTo>
                    <a:pt x="9043" y="36093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" name="Google Shape;133;p21"/>
            <p:cNvSpPr/>
            <p:nvPr/>
          </p:nvSpPr>
          <p:spPr>
            <a:xfrm>
              <a:off x="12105305" y="4298208"/>
              <a:ext cx="619175" cy="591439"/>
            </a:xfrm>
            <a:custGeom>
              <a:avLst/>
              <a:gdLst/>
              <a:ahLst/>
              <a:cxnLst/>
              <a:rect l="l" t="t" r="r" b="b"/>
              <a:pathLst>
                <a:path w="619175" h="591439" extrusionOk="0">
                  <a:moveTo>
                    <a:pt x="2497" y="591440"/>
                  </a:moveTo>
                  <a:cubicBezTo>
                    <a:pt x="1773" y="591440"/>
                    <a:pt x="1050" y="591078"/>
                    <a:pt x="688" y="590536"/>
                  </a:cubicBezTo>
                  <a:cubicBezTo>
                    <a:pt x="146" y="589812"/>
                    <a:pt x="-216" y="588727"/>
                    <a:pt x="146" y="587823"/>
                  </a:cubicBezTo>
                  <a:lnTo>
                    <a:pt x="207224" y="1855"/>
                  </a:lnTo>
                  <a:cubicBezTo>
                    <a:pt x="207586" y="950"/>
                    <a:pt x="208309" y="227"/>
                    <a:pt x="209213" y="46"/>
                  </a:cubicBezTo>
                  <a:cubicBezTo>
                    <a:pt x="210118" y="-135"/>
                    <a:pt x="211203" y="227"/>
                    <a:pt x="211746" y="950"/>
                  </a:cubicBezTo>
                  <a:lnTo>
                    <a:pt x="618487" y="473885"/>
                  </a:lnTo>
                  <a:cubicBezTo>
                    <a:pt x="619030" y="474608"/>
                    <a:pt x="619391" y="475693"/>
                    <a:pt x="619030" y="476598"/>
                  </a:cubicBezTo>
                  <a:cubicBezTo>
                    <a:pt x="618668" y="477502"/>
                    <a:pt x="617945" y="478225"/>
                    <a:pt x="617041" y="478406"/>
                  </a:cubicBezTo>
                  <a:lnTo>
                    <a:pt x="3220" y="591440"/>
                  </a:lnTo>
                  <a:cubicBezTo>
                    <a:pt x="2858" y="591440"/>
                    <a:pt x="2678" y="591440"/>
                    <a:pt x="2497" y="591440"/>
                  </a:cubicBezTo>
                  <a:close/>
                  <a:moveTo>
                    <a:pt x="210660" y="8184"/>
                  </a:moveTo>
                  <a:lnTo>
                    <a:pt x="6657" y="585291"/>
                  </a:lnTo>
                  <a:lnTo>
                    <a:pt x="611253" y="473885"/>
                  </a:lnTo>
                  <a:lnTo>
                    <a:pt x="210660" y="81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" name="Google Shape;134;p21"/>
            <p:cNvSpPr/>
            <p:nvPr/>
          </p:nvSpPr>
          <p:spPr>
            <a:xfrm>
              <a:off x="12105289" y="4884223"/>
              <a:ext cx="770330" cy="680555"/>
            </a:xfrm>
            <a:custGeom>
              <a:avLst/>
              <a:gdLst/>
              <a:ahLst/>
              <a:cxnLst/>
              <a:rect l="l" t="t" r="r" b="b"/>
              <a:pathLst>
                <a:path w="770330" h="680555" extrusionOk="0">
                  <a:moveTo>
                    <a:pt x="370371" y="680555"/>
                  </a:moveTo>
                  <a:cubicBezTo>
                    <a:pt x="369467" y="680555"/>
                    <a:pt x="368562" y="680013"/>
                    <a:pt x="368201" y="679108"/>
                  </a:cubicBezTo>
                  <a:lnTo>
                    <a:pt x="343" y="3979"/>
                  </a:lnTo>
                  <a:cubicBezTo>
                    <a:pt x="-200" y="3074"/>
                    <a:pt x="-20" y="2170"/>
                    <a:pt x="343" y="1266"/>
                  </a:cubicBezTo>
                  <a:cubicBezTo>
                    <a:pt x="885" y="362"/>
                    <a:pt x="1789" y="0"/>
                    <a:pt x="2694" y="0"/>
                  </a:cubicBezTo>
                  <a:lnTo>
                    <a:pt x="767708" y="24054"/>
                  </a:lnTo>
                  <a:cubicBezTo>
                    <a:pt x="768793" y="24054"/>
                    <a:pt x="769517" y="24596"/>
                    <a:pt x="770059" y="25500"/>
                  </a:cubicBezTo>
                  <a:cubicBezTo>
                    <a:pt x="770421" y="26405"/>
                    <a:pt x="770421" y="27309"/>
                    <a:pt x="770059" y="28213"/>
                  </a:cubicBezTo>
                  <a:lnTo>
                    <a:pt x="372903" y="679289"/>
                  </a:lnTo>
                  <a:cubicBezTo>
                    <a:pt x="372360" y="680013"/>
                    <a:pt x="371456" y="680555"/>
                    <a:pt x="370371" y="680555"/>
                  </a:cubicBezTo>
                  <a:cubicBezTo>
                    <a:pt x="370371" y="680555"/>
                    <a:pt x="370371" y="680555"/>
                    <a:pt x="370371" y="680555"/>
                  </a:cubicBezTo>
                  <a:close/>
                  <a:moveTo>
                    <a:pt x="7215" y="5606"/>
                  </a:moveTo>
                  <a:lnTo>
                    <a:pt x="370552" y="672598"/>
                  </a:lnTo>
                  <a:lnTo>
                    <a:pt x="763006" y="29479"/>
                  </a:lnTo>
                  <a:lnTo>
                    <a:pt x="7215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" name="Google Shape;135;p21"/>
            <p:cNvSpPr/>
            <p:nvPr/>
          </p:nvSpPr>
          <p:spPr>
            <a:xfrm>
              <a:off x="12105250" y="4771123"/>
              <a:ext cx="770453" cy="142578"/>
            </a:xfrm>
            <a:custGeom>
              <a:avLst/>
              <a:gdLst/>
              <a:ahLst/>
              <a:cxnLst/>
              <a:rect l="l" t="t" r="r" b="b"/>
              <a:pathLst>
                <a:path w="770453" h="142578" extrusionOk="0">
                  <a:moveTo>
                    <a:pt x="2552" y="118525"/>
                  </a:moveTo>
                  <a:cubicBezTo>
                    <a:pt x="1286" y="118525"/>
                    <a:pt x="201" y="117440"/>
                    <a:pt x="20" y="115993"/>
                  </a:cubicBezTo>
                  <a:cubicBezTo>
                    <a:pt x="-161" y="114546"/>
                    <a:pt x="924" y="113461"/>
                    <a:pt x="2190" y="113099"/>
                  </a:cubicBezTo>
                  <a:lnTo>
                    <a:pt x="616011" y="65"/>
                  </a:lnTo>
                  <a:cubicBezTo>
                    <a:pt x="616915" y="-116"/>
                    <a:pt x="617638" y="65"/>
                    <a:pt x="618361" y="789"/>
                  </a:cubicBezTo>
                  <a:lnTo>
                    <a:pt x="769556" y="137876"/>
                  </a:lnTo>
                  <a:cubicBezTo>
                    <a:pt x="770460" y="138600"/>
                    <a:pt x="770641" y="139866"/>
                    <a:pt x="770280" y="140951"/>
                  </a:cubicBezTo>
                  <a:cubicBezTo>
                    <a:pt x="769917" y="142036"/>
                    <a:pt x="768832" y="142578"/>
                    <a:pt x="767747" y="142578"/>
                  </a:cubicBezTo>
                  <a:lnTo>
                    <a:pt x="2552" y="118525"/>
                  </a:lnTo>
                  <a:cubicBezTo>
                    <a:pt x="2552" y="118525"/>
                    <a:pt x="2552" y="118525"/>
                    <a:pt x="2552" y="118525"/>
                  </a:cubicBezTo>
                  <a:close/>
                  <a:moveTo>
                    <a:pt x="615649" y="5672"/>
                  </a:moveTo>
                  <a:lnTo>
                    <a:pt x="27871" y="114003"/>
                  </a:lnTo>
                  <a:lnTo>
                    <a:pt x="760513" y="136972"/>
                  </a:lnTo>
                  <a:lnTo>
                    <a:pt x="615649" y="567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" name="Google Shape;136;p21"/>
            <p:cNvSpPr/>
            <p:nvPr/>
          </p:nvSpPr>
          <p:spPr>
            <a:xfrm>
              <a:off x="9676206" y="2612322"/>
              <a:ext cx="525758" cy="309810"/>
            </a:xfrm>
            <a:custGeom>
              <a:avLst/>
              <a:gdLst/>
              <a:ahLst/>
              <a:cxnLst/>
              <a:rect l="l" t="t" r="r" b="b"/>
              <a:pathLst>
                <a:path w="525758" h="309810" extrusionOk="0">
                  <a:moveTo>
                    <a:pt x="2539" y="309811"/>
                  </a:moveTo>
                  <a:cubicBezTo>
                    <a:pt x="1635" y="309811"/>
                    <a:pt x="911" y="309268"/>
                    <a:pt x="369" y="308545"/>
                  </a:cubicBezTo>
                  <a:cubicBezTo>
                    <a:pt x="-355" y="307279"/>
                    <a:pt x="7" y="305651"/>
                    <a:pt x="1273" y="304928"/>
                  </a:cubicBezTo>
                  <a:lnTo>
                    <a:pt x="521772" y="369"/>
                  </a:lnTo>
                  <a:cubicBezTo>
                    <a:pt x="523038" y="-355"/>
                    <a:pt x="524666" y="7"/>
                    <a:pt x="525389" y="1273"/>
                  </a:cubicBezTo>
                  <a:cubicBezTo>
                    <a:pt x="526113" y="2539"/>
                    <a:pt x="525751" y="4167"/>
                    <a:pt x="524485" y="4890"/>
                  </a:cubicBezTo>
                  <a:lnTo>
                    <a:pt x="3986" y="309449"/>
                  </a:lnTo>
                  <a:cubicBezTo>
                    <a:pt x="3624" y="309811"/>
                    <a:pt x="3082" y="309811"/>
                    <a:pt x="2539" y="30981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" name="Google Shape;137;p21"/>
            <p:cNvSpPr/>
            <p:nvPr/>
          </p:nvSpPr>
          <p:spPr>
            <a:xfrm>
              <a:off x="9676213" y="2612103"/>
              <a:ext cx="525744" cy="490884"/>
            </a:xfrm>
            <a:custGeom>
              <a:avLst/>
              <a:gdLst/>
              <a:ahLst/>
              <a:cxnLst/>
              <a:rect l="l" t="t" r="r" b="b"/>
              <a:pathLst>
                <a:path w="525744" h="490884" extrusionOk="0">
                  <a:moveTo>
                    <a:pt x="494276" y="490884"/>
                  </a:moveTo>
                  <a:cubicBezTo>
                    <a:pt x="494094" y="490884"/>
                    <a:pt x="493733" y="490884"/>
                    <a:pt x="493552" y="490703"/>
                  </a:cubicBezTo>
                  <a:lnTo>
                    <a:pt x="1809" y="309849"/>
                  </a:lnTo>
                  <a:cubicBezTo>
                    <a:pt x="904" y="309487"/>
                    <a:pt x="181" y="308583"/>
                    <a:pt x="0" y="307498"/>
                  </a:cubicBezTo>
                  <a:cubicBezTo>
                    <a:pt x="0" y="306413"/>
                    <a:pt x="362" y="305508"/>
                    <a:pt x="1266" y="304966"/>
                  </a:cubicBezTo>
                  <a:lnTo>
                    <a:pt x="521765" y="407"/>
                  </a:lnTo>
                  <a:cubicBezTo>
                    <a:pt x="522670" y="-136"/>
                    <a:pt x="523755" y="-136"/>
                    <a:pt x="524478" y="407"/>
                  </a:cubicBezTo>
                  <a:cubicBezTo>
                    <a:pt x="525383" y="949"/>
                    <a:pt x="525744" y="1854"/>
                    <a:pt x="525744" y="2939"/>
                  </a:cubicBezTo>
                  <a:lnTo>
                    <a:pt x="496988" y="488352"/>
                  </a:lnTo>
                  <a:cubicBezTo>
                    <a:pt x="496988" y="489256"/>
                    <a:pt x="496446" y="489980"/>
                    <a:pt x="495722" y="490522"/>
                  </a:cubicBezTo>
                  <a:cubicBezTo>
                    <a:pt x="495361" y="490703"/>
                    <a:pt x="494818" y="490884"/>
                    <a:pt x="494276" y="490884"/>
                  </a:cubicBezTo>
                  <a:close/>
                  <a:moveTo>
                    <a:pt x="9043" y="306774"/>
                  </a:moveTo>
                  <a:lnTo>
                    <a:pt x="491924" y="484373"/>
                  </a:lnTo>
                  <a:lnTo>
                    <a:pt x="520318" y="7641"/>
                  </a:lnTo>
                  <a:lnTo>
                    <a:pt x="9043" y="30677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" name="Google Shape;138;p21"/>
            <p:cNvSpPr/>
            <p:nvPr/>
          </p:nvSpPr>
          <p:spPr>
            <a:xfrm>
              <a:off x="10167956" y="2612239"/>
              <a:ext cx="515831" cy="490748"/>
            </a:xfrm>
            <a:custGeom>
              <a:avLst/>
              <a:gdLst/>
              <a:ahLst/>
              <a:cxnLst/>
              <a:rect l="l" t="t" r="r" b="b"/>
              <a:pathLst>
                <a:path w="515831" h="490748" extrusionOk="0">
                  <a:moveTo>
                    <a:pt x="2532" y="490748"/>
                  </a:moveTo>
                  <a:cubicBezTo>
                    <a:pt x="1989" y="490748"/>
                    <a:pt x="1447" y="490568"/>
                    <a:pt x="1085" y="490206"/>
                  </a:cubicBezTo>
                  <a:cubicBezTo>
                    <a:pt x="362" y="489663"/>
                    <a:pt x="0" y="488759"/>
                    <a:pt x="0" y="487855"/>
                  </a:cubicBezTo>
                  <a:lnTo>
                    <a:pt x="28756" y="2442"/>
                  </a:lnTo>
                  <a:cubicBezTo>
                    <a:pt x="28756" y="1537"/>
                    <a:pt x="29298" y="633"/>
                    <a:pt x="30203" y="271"/>
                  </a:cubicBezTo>
                  <a:cubicBezTo>
                    <a:pt x="31107" y="-90"/>
                    <a:pt x="32011" y="-90"/>
                    <a:pt x="32915" y="271"/>
                  </a:cubicBezTo>
                  <a:lnTo>
                    <a:pt x="514531" y="292532"/>
                  </a:lnTo>
                  <a:cubicBezTo>
                    <a:pt x="515435" y="293075"/>
                    <a:pt x="515978" y="293979"/>
                    <a:pt x="515797" y="295064"/>
                  </a:cubicBezTo>
                  <a:cubicBezTo>
                    <a:pt x="515616" y="296149"/>
                    <a:pt x="515074" y="297053"/>
                    <a:pt x="513988" y="297415"/>
                  </a:cubicBezTo>
                  <a:lnTo>
                    <a:pt x="3617" y="490568"/>
                  </a:lnTo>
                  <a:cubicBezTo>
                    <a:pt x="3255" y="490748"/>
                    <a:pt x="2893" y="490748"/>
                    <a:pt x="2532" y="490748"/>
                  </a:cubicBezTo>
                  <a:close/>
                  <a:moveTo>
                    <a:pt x="33820" y="7325"/>
                  </a:moveTo>
                  <a:lnTo>
                    <a:pt x="5606" y="484057"/>
                  </a:lnTo>
                  <a:lnTo>
                    <a:pt x="506935" y="294341"/>
                  </a:lnTo>
                  <a:lnTo>
                    <a:pt x="33820" y="73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" name="Google Shape;139;p21"/>
            <p:cNvSpPr/>
            <p:nvPr/>
          </p:nvSpPr>
          <p:spPr>
            <a:xfrm>
              <a:off x="10196689" y="1827586"/>
              <a:ext cx="309012" cy="790016"/>
            </a:xfrm>
            <a:custGeom>
              <a:avLst/>
              <a:gdLst/>
              <a:ahLst/>
              <a:cxnLst/>
              <a:rect l="l" t="t" r="r" b="b"/>
              <a:pathLst>
                <a:path w="309012" h="790016" extrusionOk="0">
                  <a:moveTo>
                    <a:pt x="2555" y="789988"/>
                  </a:moveTo>
                  <a:cubicBezTo>
                    <a:pt x="2374" y="789988"/>
                    <a:pt x="2193" y="789988"/>
                    <a:pt x="2012" y="789988"/>
                  </a:cubicBezTo>
                  <a:cubicBezTo>
                    <a:pt x="746" y="789627"/>
                    <a:pt x="-158" y="788361"/>
                    <a:pt x="23" y="787095"/>
                  </a:cubicBezTo>
                  <a:lnTo>
                    <a:pt x="99855" y="2367"/>
                  </a:lnTo>
                  <a:cubicBezTo>
                    <a:pt x="100036" y="1463"/>
                    <a:pt x="100397" y="740"/>
                    <a:pt x="101121" y="378"/>
                  </a:cubicBezTo>
                  <a:cubicBezTo>
                    <a:pt x="101844" y="16"/>
                    <a:pt x="102748" y="-165"/>
                    <a:pt x="103472" y="197"/>
                  </a:cubicBezTo>
                  <a:lnTo>
                    <a:pt x="307295" y="78145"/>
                  </a:lnTo>
                  <a:cubicBezTo>
                    <a:pt x="308018" y="78326"/>
                    <a:pt x="308561" y="78869"/>
                    <a:pt x="308742" y="79592"/>
                  </a:cubicBezTo>
                  <a:cubicBezTo>
                    <a:pt x="309103" y="80316"/>
                    <a:pt x="309103" y="81039"/>
                    <a:pt x="308742" y="81763"/>
                  </a:cubicBezTo>
                  <a:lnTo>
                    <a:pt x="5087" y="788542"/>
                  </a:lnTo>
                  <a:cubicBezTo>
                    <a:pt x="4725" y="789446"/>
                    <a:pt x="3640" y="790169"/>
                    <a:pt x="2555" y="789988"/>
                  </a:cubicBezTo>
                  <a:close/>
                  <a:moveTo>
                    <a:pt x="104738" y="6346"/>
                  </a:moveTo>
                  <a:lnTo>
                    <a:pt x="7800" y="768648"/>
                  </a:lnTo>
                  <a:lnTo>
                    <a:pt x="302773" y="82124"/>
                  </a:lnTo>
                  <a:lnTo>
                    <a:pt x="104738" y="634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" name="Google Shape;140;p21"/>
            <p:cNvSpPr/>
            <p:nvPr/>
          </p:nvSpPr>
          <p:spPr>
            <a:xfrm>
              <a:off x="10196680" y="1905342"/>
              <a:ext cx="486937" cy="1004561"/>
            </a:xfrm>
            <a:custGeom>
              <a:avLst/>
              <a:gdLst/>
              <a:ahLst/>
              <a:cxnLst/>
              <a:rect l="l" t="t" r="r" b="b"/>
              <a:pathLst>
                <a:path w="486937" h="1004561" extrusionOk="0">
                  <a:moveTo>
                    <a:pt x="484180" y="1004493"/>
                  </a:moveTo>
                  <a:cubicBezTo>
                    <a:pt x="483818" y="1004493"/>
                    <a:pt x="483275" y="1004312"/>
                    <a:pt x="482914" y="1004132"/>
                  </a:cubicBezTo>
                  <a:lnTo>
                    <a:pt x="1298" y="711871"/>
                  </a:lnTo>
                  <a:cubicBezTo>
                    <a:pt x="213" y="711147"/>
                    <a:pt x="-330" y="709701"/>
                    <a:pt x="213" y="708435"/>
                  </a:cubicBezTo>
                  <a:lnTo>
                    <a:pt x="303868" y="1655"/>
                  </a:lnTo>
                  <a:cubicBezTo>
                    <a:pt x="304410" y="570"/>
                    <a:pt x="305314" y="-153"/>
                    <a:pt x="306580" y="28"/>
                  </a:cubicBezTo>
                  <a:cubicBezTo>
                    <a:pt x="307847" y="209"/>
                    <a:pt x="308751" y="1113"/>
                    <a:pt x="308932" y="2198"/>
                  </a:cubicBezTo>
                  <a:lnTo>
                    <a:pt x="486892" y="1001238"/>
                  </a:lnTo>
                  <a:cubicBezTo>
                    <a:pt x="487073" y="1002323"/>
                    <a:pt x="486712" y="1003408"/>
                    <a:pt x="485807" y="1003951"/>
                  </a:cubicBezTo>
                  <a:cubicBezTo>
                    <a:pt x="485265" y="1004493"/>
                    <a:pt x="484722" y="1004674"/>
                    <a:pt x="484180" y="1004493"/>
                  </a:cubicBezTo>
                  <a:close/>
                  <a:moveTo>
                    <a:pt x="6181" y="708435"/>
                  </a:moveTo>
                  <a:lnTo>
                    <a:pt x="480562" y="996355"/>
                  </a:lnTo>
                  <a:lnTo>
                    <a:pt x="305314" y="11964"/>
                  </a:lnTo>
                  <a:lnTo>
                    <a:pt x="6181" y="70843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" name="Google Shape;141;p21"/>
            <p:cNvSpPr/>
            <p:nvPr/>
          </p:nvSpPr>
          <p:spPr>
            <a:xfrm>
              <a:off x="11324266" y="4656673"/>
              <a:ext cx="540899" cy="714590"/>
            </a:xfrm>
            <a:custGeom>
              <a:avLst/>
              <a:gdLst/>
              <a:ahLst/>
              <a:cxnLst/>
              <a:rect l="l" t="t" r="r" b="b"/>
              <a:pathLst>
                <a:path w="540899" h="714590" extrusionOk="0">
                  <a:moveTo>
                    <a:pt x="2606" y="714591"/>
                  </a:moveTo>
                  <a:cubicBezTo>
                    <a:pt x="2063" y="714591"/>
                    <a:pt x="1521" y="714410"/>
                    <a:pt x="978" y="714048"/>
                  </a:cubicBezTo>
                  <a:cubicBezTo>
                    <a:pt x="74" y="713325"/>
                    <a:pt x="-288" y="712059"/>
                    <a:pt x="255" y="710974"/>
                  </a:cubicBezTo>
                  <a:lnTo>
                    <a:pt x="266834" y="1843"/>
                  </a:lnTo>
                  <a:cubicBezTo>
                    <a:pt x="267196" y="939"/>
                    <a:pt x="268100" y="216"/>
                    <a:pt x="269005" y="35"/>
                  </a:cubicBezTo>
                  <a:cubicBezTo>
                    <a:pt x="269909" y="-146"/>
                    <a:pt x="270994" y="397"/>
                    <a:pt x="271537" y="1120"/>
                  </a:cubicBezTo>
                  <a:lnTo>
                    <a:pt x="540467" y="393755"/>
                  </a:lnTo>
                  <a:cubicBezTo>
                    <a:pt x="540829" y="394298"/>
                    <a:pt x="541010" y="395202"/>
                    <a:pt x="540829" y="395925"/>
                  </a:cubicBezTo>
                  <a:cubicBezTo>
                    <a:pt x="540648" y="396649"/>
                    <a:pt x="540287" y="397191"/>
                    <a:pt x="539563" y="397734"/>
                  </a:cubicBezTo>
                  <a:lnTo>
                    <a:pt x="4053" y="714229"/>
                  </a:lnTo>
                  <a:cubicBezTo>
                    <a:pt x="3691" y="714410"/>
                    <a:pt x="3149" y="714591"/>
                    <a:pt x="2606" y="714591"/>
                  </a:cubicBezTo>
                  <a:close/>
                  <a:moveTo>
                    <a:pt x="269909" y="8354"/>
                  </a:moveTo>
                  <a:lnTo>
                    <a:pt x="7851" y="705548"/>
                  </a:lnTo>
                  <a:lnTo>
                    <a:pt x="534318" y="394479"/>
                  </a:lnTo>
                  <a:lnTo>
                    <a:pt x="269909" y="83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" name="Google Shape;142;p21"/>
            <p:cNvSpPr/>
            <p:nvPr/>
          </p:nvSpPr>
          <p:spPr>
            <a:xfrm>
              <a:off x="11324305" y="5049298"/>
              <a:ext cx="540789" cy="482564"/>
            </a:xfrm>
            <a:custGeom>
              <a:avLst/>
              <a:gdLst/>
              <a:ahLst/>
              <a:cxnLst/>
              <a:rect l="l" t="t" r="r" b="b"/>
              <a:pathLst>
                <a:path w="540789" h="482564" extrusionOk="0">
                  <a:moveTo>
                    <a:pt x="515470" y="482565"/>
                  </a:moveTo>
                  <a:cubicBezTo>
                    <a:pt x="515289" y="482565"/>
                    <a:pt x="515108" y="482565"/>
                    <a:pt x="514927" y="482384"/>
                  </a:cubicBezTo>
                  <a:lnTo>
                    <a:pt x="1843" y="321785"/>
                  </a:lnTo>
                  <a:cubicBezTo>
                    <a:pt x="758" y="321424"/>
                    <a:pt x="35" y="320519"/>
                    <a:pt x="35" y="319434"/>
                  </a:cubicBezTo>
                  <a:cubicBezTo>
                    <a:pt x="-146" y="318349"/>
                    <a:pt x="396" y="317264"/>
                    <a:pt x="1301" y="316902"/>
                  </a:cubicBezTo>
                  <a:lnTo>
                    <a:pt x="536811" y="407"/>
                  </a:lnTo>
                  <a:cubicBezTo>
                    <a:pt x="537715" y="-136"/>
                    <a:pt x="538800" y="-136"/>
                    <a:pt x="539524" y="407"/>
                  </a:cubicBezTo>
                  <a:cubicBezTo>
                    <a:pt x="540428" y="949"/>
                    <a:pt x="540790" y="1854"/>
                    <a:pt x="540790" y="2758"/>
                  </a:cubicBezTo>
                  <a:lnTo>
                    <a:pt x="518183" y="479852"/>
                  </a:lnTo>
                  <a:cubicBezTo>
                    <a:pt x="518183" y="480756"/>
                    <a:pt x="517640" y="481480"/>
                    <a:pt x="517098" y="482022"/>
                  </a:cubicBezTo>
                  <a:cubicBezTo>
                    <a:pt x="516736" y="482384"/>
                    <a:pt x="516194" y="482565"/>
                    <a:pt x="515470" y="482565"/>
                  </a:cubicBezTo>
                  <a:close/>
                  <a:moveTo>
                    <a:pt x="9258" y="318530"/>
                  </a:moveTo>
                  <a:lnTo>
                    <a:pt x="513119" y="476416"/>
                  </a:lnTo>
                  <a:lnTo>
                    <a:pt x="535364" y="7641"/>
                  </a:lnTo>
                  <a:lnTo>
                    <a:pt x="9258" y="3185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" name="Google Shape;143;p21"/>
            <p:cNvSpPr/>
            <p:nvPr/>
          </p:nvSpPr>
          <p:spPr>
            <a:xfrm>
              <a:off x="11591001" y="4656815"/>
              <a:ext cx="519693" cy="397953"/>
            </a:xfrm>
            <a:custGeom>
              <a:avLst/>
              <a:gdLst/>
              <a:ahLst/>
              <a:cxnLst/>
              <a:rect l="l" t="t" r="r" b="b"/>
              <a:pathLst>
                <a:path w="519693" h="397953" extrusionOk="0">
                  <a:moveTo>
                    <a:pt x="271380" y="397954"/>
                  </a:moveTo>
                  <a:cubicBezTo>
                    <a:pt x="270657" y="397954"/>
                    <a:pt x="269753" y="397411"/>
                    <a:pt x="269391" y="396869"/>
                  </a:cubicBezTo>
                  <a:lnTo>
                    <a:pt x="460" y="4234"/>
                  </a:lnTo>
                  <a:cubicBezTo>
                    <a:pt x="-263" y="3330"/>
                    <a:pt x="-82" y="1883"/>
                    <a:pt x="641" y="978"/>
                  </a:cubicBezTo>
                  <a:cubicBezTo>
                    <a:pt x="1365" y="74"/>
                    <a:pt x="2812" y="-288"/>
                    <a:pt x="3716" y="255"/>
                  </a:cubicBezTo>
                  <a:lnTo>
                    <a:pt x="518066" y="227951"/>
                  </a:lnTo>
                  <a:cubicBezTo>
                    <a:pt x="518970" y="228312"/>
                    <a:pt x="519513" y="229217"/>
                    <a:pt x="519694" y="230121"/>
                  </a:cubicBezTo>
                  <a:cubicBezTo>
                    <a:pt x="519694" y="231025"/>
                    <a:pt x="519332" y="232110"/>
                    <a:pt x="518428" y="232653"/>
                  </a:cubicBezTo>
                  <a:lnTo>
                    <a:pt x="273008" y="397773"/>
                  </a:lnTo>
                  <a:cubicBezTo>
                    <a:pt x="272647" y="397773"/>
                    <a:pt x="271923" y="397954"/>
                    <a:pt x="271380" y="397954"/>
                  </a:cubicBezTo>
                  <a:close/>
                  <a:moveTo>
                    <a:pt x="10046" y="8755"/>
                  </a:moveTo>
                  <a:lnTo>
                    <a:pt x="272285" y="391443"/>
                  </a:lnTo>
                  <a:lnTo>
                    <a:pt x="511375" y="230483"/>
                  </a:lnTo>
                  <a:lnTo>
                    <a:pt x="10046" y="87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" name="Google Shape;144;p21"/>
            <p:cNvSpPr/>
            <p:nvPr/>
          </p:nvSpPr>
          <p:spPr>
            <a:xfrm>
              <a:off x="11837196" y="5049496"/>
              <a:ext cx="186073" cy="482366"/>
            </a:xfrm>
            <a:custGeom>
              <a:avLst/>
              <a:gdLst/>
              <a:ahLst/>
              <a:cxnLst/>
              <a:rect l="l" t="t" r="r" b="b"/>
              <a:pathLst>
                <a:path w="186073" h="482366" extrusionOk="0">
                  <a:moveTo>
                    <a:pt x="2579" y="482366"/>
                  </a:moveTo>
                  <a:cubicBezTo>
                    <a:pt x="1856" y="482366"/>
                    <a:pt x="1313" y="482005"/>
                    <a:pt x="771" y="481643"/>
                  </a:cubicBezTo>
                  <a:cubicBezTo>
                    <a:pt x="228" y="481100"/>
                    <a:pt x="-134" y="480377"/>
                    <a:pt x="47" y="479653"/>
                  </a:cubicBezTo>
                  <a:lnTo>
                    <a:pt x="22654" y="2559"/>
                  </a:lnTo>
                  <a:cubicBezTo>
                    <a:pt x="22654" y="1293"/>
                    <a:pt x="23739" y="208"/>
                    <a:pt x="25005" y="28"/>
                  </a:cubicBezTo>
                  <a:cubicBezTo>
                    <a:pt x="26271" y="-153"/>
                    <a:pt x="27537" y="570"/>
                    <a:pt x="27899" y="1836"/>
                  </a:cubicBezTo>
                  <a:lnTo>
                    <a:pt x="185965" y="471334"/>
                  </a:lnTo>
                  <a:cubicBezTo>
                    <a:pt x="186146" y="472057"/>
                    <a:pt x="186146" y="472962"/>
                    <a:pt x="185604" y="473685"/>
                  </a:cubicBezTo>
                  <a:cubicBezTo>
                    <a:pt x="185061" y="474409"/>
                    <a:pt x="184338" y="474770"/>
                    <a:pt x="183433" y="474770"/>
                  </a:cubicBezTo>
                  <a:lnTo>
                    <a:pt x="2760" y="482366"/>
                  </a:lnTo>
                  <a:cubicBezTo>
                    <a:pt x="2760" y="482366"/>
                    <a:pt x="2760" y="482366"/>
                    <a:pt x="2579" y="482366"/>
                  </a:cubicBezTo>
                  <a:close/>
                  <a:moveTo>
                    <a:pt x="27356" y="16847"/>
                  </a:moveTo>
                  <a:lnTo>
                    <a:pt x="5654" y="476760"/>
                  </a:lnTo>
                  <a:lnTo>
                    <a:pt x="179816" y="469345"/>
                  </a:lnTo>
                  <a:lnTo>
                    <a:pt x="27356" y="1684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" name="Google Shape;145;p21"/>
            <p:cNvSpPr/>
            <p:nvPr/>
          </p:nvSpPr>
          <p:spPr>
            <a:xfrm>
              <a:off x="11859895" y="5049425"/>
              <a:ext cx="618731" cy="515353"/>
            </a:xfrm>
            <a:custGeom>
              <a:avLst/>
              <a:gdLst/>
              <a:ahLst/>
              <a:cxnLst/>
              <a:rect l="l" t="t" r="r" b="b"/>
              <a:pathLst>
                <a:path w="618731" h="515353" extrusionOk="0">
                  <a:moveTo>
                    <a:pt x="615764" y="515353"/>
                  </a:moveTo>
                  <a:cubicBezTo>
                    <a:pt x="615764" y="515353"/>
                    <a:pt x="615583" y="515353"/>
                    <a:pt x="615764" y="515353"/>
                  </a:cubicBezTo>
                  <a:lnTo>
                    <a:pt x="160554" y="474842"/>
                  </a:lnTo>
                  <a:cubicBezTo>
                    <a:pt x="159468" y="474661"/>
                    <a:pt x="158564" y="474118"/>
                    <a:pt x="158202" y="473033"/>
                  </a:cubicBezTo>
                  <a:lnTo>
                    <a:pt x="136" y="3535"/>
                  </a:lnTo>
                  <a:cubicBezTo>
                    <a:pt x="-226" y="2450"/>
                    <a:pt x="136" y="1184"/>
                    <a:pt x="1221" y="460"/>
                  </a:cubicBezTo>
                  <a:cubicBezTo>
                    <a:pt x="2306" y="-263"/>
                    <a:pt x="3572" y="-82"/>
                    <a:pt x="4476" y="641"/>
                  </a:cubicBezTo>
                  <a:lnTo>
                    <a:pt x="617754" y="510651"/>
                  </a:lnTo>
                  <a:cubicBezTo>
                    <a:pt x="618658" y="511374"/>
                    <a:pt x="619020" y="512640"/>
                    <a:pt x="618477" y="513725"/>
                  </a:cubicBezTo>
                  <a:cubicBezTo>
                    <a:pt x="617934" y="514811"/>
                    <a:pt x="616849" y="515353"/>
                    <a:pt x="615764" y="515353"/>
                  </a:cubicBezTo>
                  <a:close/>
                  <a:moveTo>
                    <a:pt x="162905" y="469597"/>
                  </a:moveTo>
                  <a:lnTo>
                    <a:pt x="607626" y="509204"/>
                  </a:lnTo>
                  <a:lnTo>
                    <a:pt x="8274" y="10769"/>
                  </a:lnTo>
                  <a:lnTo>
                    <a:pt x="162905" y="4695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" name="Google Shape;146;p21"/>
            <p:cNvSpPr/>
            <p:nvPr/>
          </p:nvSpPr>
          <p:spPr>
            <a:xfrm>
              <a:off x="11859804" y="4884333"/>
              <a:ext cx="618864" cy="680445"/>
            </a:xfrm>
            <a:custGeom>
              <a:avLst/>
              <a:gdLst/>
              <a:ahLst/>
              <a:cxnLst/>
              <a:rect l="l" t="t" r="r" b="b"/>
              <a:pathLst>
                <a:path w="618864" h="680445" extrusionOk="0">
                  <a:moveTo>
                    <a:pt x="615856" y="680445"/>
                  </a:moveTo>
                  <a:cubicBezTo>
                    <a:pt x="615313" y="680445"/>
                    <a:pt x="614771" y="680264"/>
                    <a:pt x="614228" y="679903"/>
                  </a:cubicBezTo>
                  <a:lnTo>
                    <a:pt x="950" y="169893"/>
                  </a:lnTo>
                  <a:cubicBezTo>
                    <a:pt x="227" y="169351"/>
                    <a:pt x="-135" y="168446"/>
                    <a:pt x="46" y="167723"/>
                  </a:cubicBezTo>
                  <a:cubicBezTo>
                    <a:pt x="46" y="166819"/>
                    <a:pt x="589" y="166095"/>
                    <a:pt x="1312" y="165553"/>
                  </a:cubicBezTo>
                  <a:lnTo>
                    <a:pt x="246732" y="433"/>
                  </a:lnTo>
                  <a:cubicBezTo>
                    <a:pt x="247274" y="71"/>
                    <a:pt x="248179" y="-110"/>
                    <a:pt x="248902" y="71"/>
                  </a:cubicBezTo>
                  <a:cubicBezTo>
                    <a:pt x="249625" y="252"/>
                    <a:pt x="250349" y="794"/>
                    <a:pt x="250710" y="1337"/>
                  </a:cubicBezTo>
                  <a:lnTo>
                    <a:pt x="618568" y="676466"/>
                  </a:lnTo>
                  <a:cubicBezTo>
                    <a:pt x="619111" y="677552"/>
                    <a:pt x="618930" y="678998"/>
                    <a:pt x="617845" y="679903"/>
                  </a:cubicBezTo>
                  <a:cubicBezTo>
                    <a:pt x="617122" y="680264"/>
                    <a:pt x="616398" y="680445"/>
                    <a:pt x="615856" y="680445"/>
                  </a:cubicBezTo>
                  <a:close/>
                  <a:moveTo>
                    <a:pt x="7280" y="167904"/>
                  </a:moveTo>
                  <a:lnTo>
                    <a:pt x="606994" y="666700"/>
                  </a:lnTo>
                  <a:lnTo>
                    <a:pt x="247274" y="6582"/>
                  </a:lnTo>
                  <a:lnTo>
                    <a:pt x="7280" y="16790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" name="Google Shape;147;p21"/>
            <p:cNvSpPr/>
            <p:nvPr/>
          </p:nvSpPr>
          <p:spPr>
            <a:xfrm>
              <a:off x="8081934" y="5740317"/>
              <a:ext cx="716257" cy="486569"/>
            </a:xfrm>
            <a:custGeom>
              <a:avLst/>
              <a:gdLst/>
              <a:ahLst/>
              <a:cxnLst/>
              <a:rect l="l" t="t" r="r" b="b"/>
              <a:pathLst>
                <a:path w="716257" h="486569" extrusionOk="0">
                  <a:moveTo>
                    <a:pt x="2397" y="486569"/>
                  </a:moveTo>
                  <a:cubicBezTo>
                    <a:pt x="1855" y="486569"/>
                    <a:pt x="1312" y="486388"/>
                    <a:pt x="950" y="486027"/>
                  </a:cubicBezTo>
                  <a:cubicBezTo>
                    <a:pt x="227" y="485484"/>
                    <a:pt x="-135" y="484399"/>
                    <a:pt x="46" y="483314"/>
                  </a:cubicBezTo>
                  <a:lnTo>
                    <a:pt x="94452" y="2241"/>
                  </a:lnTo>
                  <a:cubicBezTo>
                    <a:pt x="94633" y="1518"/>
                    <a:pt x="94995" y="975"/>
                    <a:pt x="95718" y="433"/>
                  </a:cubicBezTo>
                  <a:cubicBezTo>
                    <a:pt x="96261" y="71"/>
                    <a:pt x="97165" y="-110"/>
                    <a:pt x="97888" y="71"/>
                  </a:cubicBezTo>
                  <a:lnTo>
                    <a:pt x="714241" y="154520"/>
                  </a:lnTo>
                  <a:cubicBezTo>
                    <a:pt x="715326" y="154882"/>
                    <a:pt x="716230" y="155787"/>
                    <a:pt x="716230" y="156872"/>
                  </a:cubicBezTo>
                  <a:cubicBezTo>
                    <a:pt x="716411" y="157957"/>
                    <a:pt x="715687" y="159042"/>
                    <a:pt x="714602" y="159584"/>
                  </a:cubicBezTo>
                  <a:lnTo>
                    <a:pt x="3844" y="486208"/>
                  </a:lnTo>
                  <a:cubicBezTo>
                    <a:pt x="3301" y="486569"/>
                    <a:pt x="2759" y="486569"/>
                    <a:pt x="2397" y="486569"/>
                  </a:cubicBezTo>
                  <a:close/>
                  <a:moveTo>
                    <a:pt x="98974" y="6039"/>
                  </a:moveTo>
                  <a:lnTo>
                    <a:pt x="6195" y="479154"/>
                  </a:lnTo>
                  <a:lnTo>
                    <a:pt x="705198" y="157957"/>
                  </a:lnTo>
                  <a:lnTo>
                    <a:pt x="98974" y="603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" name="Google Shape;148;p21"/>
            <p:cNvSpPr/>
            <p:nvPr/>
          </p:nvSpPr>
          <p:spPr>
            <a:xfrm>
              <a:off x="8081800" y="5894938"/>
              <a:ext cx="716137" cy="511536"/>
            </a:xfrm>
            <a:custGeom>
              <a:avLst/>
              <a:gdLst/>
              <a:ahLst/>
              <a:cxnLst/>
              <a:rect l="l" t="t" r="r" b="b"/>
              <a:pathLst>
                <a:path w="716137" h="511536" extrusionOk="0">
                  <a:moveTo>
                    <a:pt x="442732" y="511536"/>
                  </a:moveTo>
                  <a:cubicBezTo>
                    <a:pt x="442370" y="511536"/>
                    <a:pt x="442189" y="511536"/>
                    <a:pt x="441828" y="511356"/>
                  </a:cubicBezTo>
                  <a:lnTo>
                    <a:pt x="1628" y="331767"/>
                  </a:lnTo>
                  <a:cubicBezTo>
                    <a:pt x="543" y="331406"/>
                    <a:pt x="0" y="330321"/>
                    <a:pt x="0" y="329416"/>
                  </a:cubicBezTo>
                  <a:cubicBezTo>
                    <a:pt x="0" y="328331"/>
                    <a:pt x="543" y="327427"/>
                    <a:pt x="1628" y="326884"/>
                  </a:cubicBezTo>
                  <a:lnTo>
                    <a:pt x="712386" y="261"/>
                  </a:lnTo>
                  <a:cubicBezTo>
                    <a:pt x="713471" y="-281"/>
                    <a:pt x="714737" y="80"/>
                    <a:pt x="715460" y="804"/>
                  </a:cubicBezTo>
                  <a:cubicBezTo>
                    <a:pt x="716184" y="1708"/>
                    <a:pt x="716365" y="2974"/>
                    <a:pt x="715822" y="3878"/>
                  </a:cubicBezTo>
                  <a:lnTo>
                    <a:pt x="445264" y="510090"/>
                  </a:lnTo>
                  <a:cubicBezTo>
                    <a:pt x="444721" y="511175"/>
                    <a:pt x="443817" y="511536"/>
                    <a:pt x="442732" y="511536"/>
                  </a:cubicBezTo>
                  <a:close/>
                  <a:moveTo>
                    <a:pt x="9404" y="329055"/>
                  </a:moveTo>
                  <a:lnTo>
                    <a:pt x="441647" y="505388"/>
                  </a:lnTo>
                  <a:lnTo>
                    <a:pt x="707141" y="8400"/>
                  </a:lnTo>
                  <a:lnTo>
                    <a:pt x="9404" y="3290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" name="Google Shape;149;p21"/>
            <p:cNvSpPr/>
            <p:nvPr/>
          </p:nvSpPr>
          <p:spPr>
            <a:xfrm>
              <a:off x="8176171" y="5561769"/>
              <a:ext cx="621729" cy="338494"/>
            </a:xfrm>
            <a:custGeom>
              <a:avLst/>
              <a:gdLst/>
              <a:ahLst/>
              <a:cxnLst/>
              <a:rect l="l" t="t" r="r" b="b"/>
              <a:pathLst>
                <a:path w="621729" h="338494" extrusionOk="0">
                  <a:moveTo>
                    <a:pt x="618918" y="338494"/>
                  </a:moveTo>
                  <a:cubicBezTo>
                    <a:pt x="618738" y="338494"/>
                    <a:pt x="618557" y="338494"/>
                    <a:pt x="618376" y="338494"/>
                  </a:cubicBezTo>
                  <a:lnTo>
                    <a:pt x="2024" y="184044"/>
                  </a:lnTo>
                  <a:cubicBezTo>
                    <a:pt x="939" y="183863"/>
                    <a:pt x="215" y="182778"/>
                    <a:pt x="34" y="181693"/>
                  </a:cubicBezTo>
                  <a:cubicBezTo>
                    <a:pt x="-147" y="180608"/>
                    <a:pt x="396" y="179523"/>
                    <a:pt x="1481" y="178981"/>
                  </a:cubicBezTo>
                  <a:lnTo>
                    <a:pt x="336424" y="296"/>
                  </a:lnTo>
                  <a:cubicBezTo>
                    <a:pt x="337509" y="-246"/>
                    <a:pt x="338956" y="-66"/>
                    <a:pt x="339679" y="1020"/>
                  </a:cubicBezTo>
                  <a:lnTo>
                    <a:pt x="621089" y="334154"/>
                  </a:lnTo>
                  <a:cubicBezTo>
                    <a:pt x="621812" y="335058"/>
                    <a:pt x="621993" y="336324"/>
                    <a:pt x="621269" y="337409"/>
                  </a:cubicBezTo>
                  <a:cubicBezTo>
                    <a:pt x="620727" y="338132"/>
                    <a:pt x="619823" y="338494"/>
                    <a:pt x="618918" y="338494"/>
                  </a:cubicBezTo>
                  <a:close/>
                  <a:moveTo>
                    <a:pt x="9981" y="180427"/>
                  </a:moveTo>
                  <a:lnTo>
                    <a:pt x="611503" y="331260"/>
                  </a:lnTo>
                  <a:lnTo>
                    <a:pt x="336785" y="6083"/>
                  </a:lnTo>
                  <a:lnTo>
                    <a:pt x="9981" y="18042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" name="Google Shape;150;p21"/>
            <p:cNvSpPr/>
            <p:nvPr/>
          </p:nvSpPr>
          <p:spPr>
            <a:xfrm>
              <a:off x="8511230" y="5561816"/>
              <a:ext cx="286847" cy="338446"/>
            </a:xfrm>
            <a:custGeom>
              <a:avLst/>
              <a:gdLst/>
              <a:ahLst/>
              <a:cxnLst/>
              <a:rect l="l" t="t" r="r" b="b"/>
              <a:pathLst>
                <a:path w="286847" h="338446" extrusionOk="0">
                  <a:moveTo>
                    <a:pt x="283860" y="338447"/>
                  </a:moveTo>
                  <a:cubicBezTo>
                    <a:pt x="283136" y="338447"/>
                    <a:pt x="282413" y="338085"/>
                    <a:pt x="282051" y="337543"/>
                  </a:cubicBezTo>
                  <a:lnTo>
                    <a:pt x="641" y="4409"/>
                  </a:lnTo>
                  <a:cubicBezTo>
                    <a:pt x="-82" y="3504"/>
                    <a:pt x="-263" y="2058"/>
                    <a:pt x="461" y="1154"/>
                  </a:cubicBezTo>
                  <a:cubicBezTo>
                    <a:pt x="1184" y="68"/>
                    <a:pt x="2450" y="-293"/>
                    <a:pt x="3716" y="249"/>
                  </a:cubicBezTo>
                  <a:lnTo>
                    <a:pt x="229603" y="88325"/>
                  </a:lnTo>
                  <a:cubicBezTo>
                    <a:pt x="230507" y="88687"/>
                    <a:pt x="231050" y="89410"/>
                    <a:pt x="231231" y="90315"/>
                  </a:cubicBezTo>
                  <a:lnTo>
                    <a:pt x="286753" y="335372"/>
                  </a:lnTo>
                  <a:cubicBezTo>
                    <a:pt x="287115" y="336639"/>
                    <a:pt x="286392" y="337904"/>
                    <a:pt x="285306" y="338447"/>
                  </a:cubicBezTo>
                  <a:cubicBezTo>
                    <a:pt x="284764" y="338266"/>
                    <a:pt x="284221" y="338447"/>
                    <a:pt x="283860" y="338447"/>
                  </a:cubicBezTo>
                  <a:close/>
                  <a:moveTo>
                    <a:pt x="11312" y="8930"/>
                  </a:moveTo>
                  <a:lnTo>
                    <a:pt x="278796" y="325606"/>
                  </a:lnTo>
                  <a:lnTo>
                    <a:pt x="225986" y="92666"/>
                  </a:lnTo>
                  <a:lnTo>
                    <a:pt x="11312" y="89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" name="Google Shape;151;p21"/>
            <p:cNvSpPr/>
            <p:nvPr/>
          </p:nvSpPr>
          <p:spPr>
            <a:xfrm>
              <a:off x="8522056" y="5812887"/>
              <a:ext cx="1036532" cy="593587"/>
            </a:xfrm>
            <a:custGeom>
              <a:avLst/>
              <a:gdLst/>
              <a:ahLst/>
              <a:cxnLst/>
              <a:rect l="l" t="t" r="r" b="b"/>
              <a:pathLst>
                <a:path w="1036532" h="593587" extrusionOk="0">
                  <a:moveTo>
                    <a:pt x="2475" y="593587"/>
                  </a:moveTo>
                  <a:cubicBezTo>
                    <a:pt x="1933" y="593587"/>
                    <a:pt x="1209" y="593226"/>
                    <a:pt x="848" y="592864"/>
                  </a:cubicBezTo>
                  <a:cubicBezTo>
                    <a:pt x="-57" y="591960"/>
                    <a:pt x="-237" y="590694"/>
                    <a:pt x="305" y="589608"/>
                  </a:cubicBezTo>
                  <a:lnTo>
                    <a:pt x="270864" y="83397"/>
                  </a:lnTo>
                  <a:cubicBezTo>
                    <a:pt x="271225" y="82674"/>
                    <a:pt x="272130" y="82131"/>
                    <a:pt x="273034" y="81950"/>
                  </a:cubicBezTo>
                  <a:lnTo>
                    <a:pt x="1033527" y="23"/>
                  </a:lnTo>
                  <a:cubicBezTo>
                    <a:pt x="1034793" y="-158"/>
                    <a:pt x="1036059" y="747"/>
                    <a:pt x="1036421" y="1832"/>
                  </a:cubicBezTo>
                  <a:cubicBezTo>
                    <a:pt x="1036782" y="3098"/>
                    <a:pt x="1036240" y="4364"/>
                    <a:pt x="1035155" y="5087"/>
                  </a:cubicBezTo>
                  <a:lnTo>
                    <a:pt x="4103" y="593226"/>
                  </a:lnTo>
                  <a:cubicBezTo>
                    <a:pt x="3561" y="593587"/>
                    <a:pt x="3018" y="593587"/>
                    <a:pt x="2475" y="593587"/>
                  </a:cubicBezTo>
                  <a:close/>
                  <a:moveTo>
                    <a:pt x="274842" y="87195"/>
                  </a:moveTo>
                  <a:lnTo>
                    <a:pt x="9348" y="584002"/>
                  </a:lnTo>
                  <a:lnTo>
                    <a:pt x="1021048" y="6896"/>
                  </a:lnTo>
                  <a:lnTo>
                    <a:pt x="274842" y="8719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" name="Google Shape;152;p21"/>
            <p:cNvSpPr/>
            <p:nvPr/>
          </p:nvSpPr>
          <p:spPr>
            <a:xfrm>
              <a:off x="8736970" y="5649714"/>
              <a:ext cx="821506" cy="250548"/>
            </a:xfrm>
            <a:custGeom>
              <a:avLst/>
              <a:gdLst/>
              <a:ahLst/>
              <a:cxnLst/>
              <a:rect l="l" t="t" r="r" b="b"/>
              <a:pathLst>
                <a:path w="821506" h="250548" extrusionOk="0">
                  <a:moveTo>
                    <a:pt x="58120" y="250549"/>
                  </a:moveTo>
                  <a:cubicBezTo>
                    <a:pt x="56854" y="250549"/>
                    <a:pt x="55949" y="249644"/>
                    <a:pt x="55588" y="248378"/>
                  </a:cubicBezTo>
                  <a:lnTo>
                    <a:pt x="65" y="3321"/>
                  </a:lnTo>
                  <a:cubicBezTo>
                    <a:pt x="-116" y="2416"/>
                    <a:pt x="65" y="1512"/>
                    <a:pt x="789" y="789"/>
                  </a:cubicBezTo>
                  <a:cubicBezTo>
                    <a:pt x="1512" y="65"/>
                    <a:pt x="2235" y="-116"/>
                    <a:pt x="3321" y="65"/>
                  </a:cubicBezTo>
                  <a:lnTo>
                    <a:pt x="819336" y="163196"/>
                  </a:lnTo>
                  <a:cubicBezTo>
                    <a:pt x="820602" y="163377"/>
                    <a:pt x="821506" y="164643"/>
                    <a:pt x="821506" y="165909"/>
                  </a:cubicBezTo>
                  <a:cubicBezTo>
                    <a:pt x="821506" y="167175"/>
                    <a:pt x="820421" y="168260"/>
                    <a:pt x="819155" y="168441"/>
                  </a:cubicBezTo>
                  <a:lnTo>
                    <a:pt x="58662" y="250368"/>
                  </a:lnTo>
                  <a:cubicBezTo>
                    <a:pt x="58300" y="250549"/>
                    <a:pt x="58120" y="250549"/>
                    <a:pt x="58120" y="250549"/>
                  </a:cubicBezTo>
                  <a:close/>
                  <a:moveTo>
                    <a:pt x="6214" y="6214"/>
                  </a:moveTo>
                  <a:lnTo>
                    <a:pt x="60290" y="244942"/>
                  </a:lnTo>
                  <a:lnTo>
                    <a:pt x="801070" y="165185"/>
                  </a:lnTo>
                  <a:lnTo>
                    <a:pt x="6214" y="621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grpSp>
          <p:nvGrpSpPr>
            <p:cNvPr id="153" name="Google Shape;153;p21"/>
            <p:cNvGrpSpPr/>
            <p:nvPr/>
          </p:nvGrpSpPr>
          <p:grpSpPr>
            <a:xfrm>
              <a:off x="7397166" y="1622082"/>
              <a:ext cx="5364974" cy="5709390"/>
              <a:chOff x="7397166" y="1244711"/>
              <a:chExt cx="5364974" cy="5709390"/>
            </a:xfrm>
          </p:grpSpPr>
          <p:sp>
            <p:nvSpPr>
              <p:cNvPr id="154" name="Google Shape;154;p21"/>
              <p:cNvSpPr/>
              <p:nvPr/>
            </p:nvSpPr>
            <p:spPr>
              <a:xfrm>
                <a:off x="7569239" y="4550419"/>
                <a:ext cx="23729" cy="23729"/>
              </a:xfrm>
              <a:custGeom>
                <a:avLst/>
                <a:gdLst/>
                <a:ahLst/>
                <a:cxnLst/>
                <a:rect l="l" t="t" r="r" b="b"/>
                <a:pathLst>
                  <a:path w="23729" h="23729" extrusionOk="0">
                    <a:moveTo>
                      <a:pt x="23711" y="12679"/>
                    </a:moveTo>
                    <a:cubicBezTo>
                      <a:pt x="24073" y="6168"/>
                      <a:pt x="19189" y="562"/>
                      <a:pt x="12679" y="19"/>
                    </a:cubicBezTo>
                    <a:cubicBezTo>
                      <a:pt x="6168" y="-343"/>
                      <a:pt x="561" y="4540"/>
                      <a:pt x="19" y="11051"/>
                    </a:cubicBezTo>
                    <a:cubicBezTo>
                      <a:pt x="-343" y="17562"/>
                      <a:pt x="4540" y="23168"/>
                      <a:pt x="11051" y="23711"/>
                    </a:cubicBezTo>
                    <a:cubicBezTo>
                      <a:pt x="17743" y="24073"/>
                      <a:pt x="23349" y="19190"/>
                      <a:pt x="23711" y="126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" name="Google Shape;155;p21"/>
              <p:cNvSpPr/>
              <p:nvPr/>
            </p:nvSpPr>
            <p:spPr>
              <a:xfrm>
                <a:off x="10938181" y="5497719"/>
                <a:ext cx="28824" cy="28824"/>
              </a:xfrm>
              <a:custGeom>
                <a:avLst/>
                <a:gdLst/>
                <a:ahLst/>
                <a:cxnLst/>
                <a:rect l="l" t="t" r="r" b="b"/>
                <a:pathLst>
                  <a:path w="28824" h="28824" extrusionOk="0">
                    <a:moveTo>
                      <a:pt x="28790" y="15407"/>
                    </a:moveTo>
                    <a:cubicBezTo>
                      <a:pt x="29333" y="7449"/>
                      <a:pt x="23364" y="577"/>
                      <a:pt x="15407" y="34"/>
                    </a:cubicBezTo>
                    <a:cubicBezTo>
                      <a:pt x="7449" y="-508"/>
                      <a:pt x="577" y="5460"/>
                      <a:pt x="34" y="13418"/>
                    </a:cubicBezTo>
                    <a:cubicBezTo>
                      <a:pt x="-508" y="21375"/>
                      <a:pt x="5460" y="28247"/>
                      <a:pt x="13417" y="28790"/>
                    </a:cubicBezTo>
                    <a:cubicBezTo>
                      <a:pt x="21375" y="29333"/>
                      <a:pt x="28248" y="23365"/>
                      <a:pt x="28790" y="154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" name="Google Shape;156;p21"/>
              <p:cNvSpPr/>
              <p:nvPr/>
            </p:nvSpPr>
            <p:spPr>
              <a:xfrm>
                <a:off x="10741924" y="5956697"/>
                <a:ext cx="61980" cy="62001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2001" extrusionOk="0">
                    <a:moveTo>
                      <a:pt x="61916" y="32980"/>
                    </a:moveTo>
                    <a:cubicBezTo>
                      <a:pt x="63001" y="15799"/>
                      <a:pt x="50161" y="1149"/>
                      <a:pt x="32980" y="64"/>
                    </a:cubicBezTo>
                    <a:cubicBezTo>
                      <a:pt x="15799" y="-1021"/>
                      <a:pt x="1149" y="11820"/>
                      <a:pt x="64" y="29001"/>
                    </a:cubicBezTo>
                    <a:cubicBezTo>
                      <a:pt x="-1021" y="46182"/>
                      <a:pt x="11820" y="60831"/>
                      <a:pt x="29001" y="61916"/>
                    </a:cubicBezTo>
                    <a:cubicBezTo>
                      <a:pt x="46001" y="63183"/>
                      <a:pt x="60650" y="50161"/>
                      <a:pt x="61916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" name="Google Shape;157;p21"/>
              <p:cNvSpPr/>
              <p:nvPr/>
            </p:nvSpPr>
            <p:spPr>
              <a:xfrm>
                <a:off x="10468879" y="5332071"/>
                <a:ext cx="22826" cy="22826"/>
              </a:xfrm>
              <a:custGeom>
                <a:avLst/>
                <a:gdLst/>
                <a:ahLst/>
                <a:cxnLst/>
                <a:rect l="l" t="t" r="r" b="b"/>
                <a:pathLst>
                  <a:path w="22826" h="22826" extrusionOk="0">
                    <a:moveTo>
                      <a:pt x="22807" y="12137"/>
                    </a:moveTo>
                    <a:cubicBezTo>
                      <a:pt x="23169" y="5807"/>
                      <a:pt x="18467" y="381"/>
                      <a:pt x="12137" y="20"/>
                    </a:cubicBezTo>
                    <a:cubicBezTo>
                      <a:pt x="5807" y="-342"/>
                      <a:pt x="381" y="4360"/>
                      <a:pt x="20" y="10690"/>
                    </a:cubicBezTo>
                    <a:cubicBezTo>
                      <a:pt x="-342" y="17020"/>
                      <a:pt x="4360" y="22446"/>
                      <a:pt x="10690" y="22807"/>
                    </a:cubicBezTo>
                    <a:cubicBezTo>
                      <a:pt x="16839" y="23169"/>
                      <a:pt x="22265" y="18286"/>
                      <a:pt x="22807" y="121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" name="Google Shape;158;p21"/>
              <p:cNvSpPr/>
              <p:nvPr/>
            </p:nvSpPr>
            <p:spPr>
              <a:xfrm>
                <a:off x="12213387" y="2432780"/>
                <a:ext cx="29727" cy="29708"/>
              </a:xfrm>
              <a:custGeom>
                <a:avLst/>
                <a:gdLst/>
                <a:ahLst/>
                <a:cxnLst/>
                <a:rect l="l" t="t" r="r" b="b"/>
                <a:pathLst>
                  <a:path w="29727" h="29708" extrusionOk="0">
                    <a:moveTo>
                      <a:pt x="29694" y="15768"/>
                    </a:moveTo>
                    <a:cubicBezTo>
                      <a:pt x="30236" y="7629"/>
                      <a:pt x="24087" y="576"/>
                      <a:pt x="15768" y="33"/>
                    </a:cubicBezTo>
                    <a:cubicBezTo>
                      <a:pt x="7629" y="-509"/>
                      <a:pt x="576" y="5640"/>
                      <a:pt x="33" y="13959"/>
                    </a:cubicBezTo>
                    <a:cubicBezTo>
                      <a:pt x="-509" y="22098"/>
                      <a:pt x="5640" y="29151"/>
                      <a:pt x="13959" y="29693"/>
                    </a:cubicBezTo>
                    <a:cubicBezTo>
                      <a:pt x="22098" y="30055"/>
                      <a:pt x="29151" y="23906"/>
                      <a:pt x="29694" y="157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9" name="Google Shape;159;p21"/>
              <p:cNvSpPr/>
              <p:nvPr/>
            </p:nvSpPr>
            <p:spPr>
              <a:xfrm>
                <a:off x="12486304" y="2437489"/>
                <a:ext cx="15967" cy="15768"/>
              </a:xfrm>
              <a:custGeom>
                <a:avLst/>
                <a:gdLst/>
                <a:ahLst/>
                <a:cxnLst/>
                <a:rect l="l" t="t" r="r" b="b"/>
                <a:pathLst>
                  <a:path w="15967" h="15768" extrusionOk="0">
                    <a:moveTo>
                      <a:pt x="15941" y="8526"/>
                    </a:moveTo>
                    <a:cubicBezTo>
                      <a:pt x="16303" y="4186"/>
                      <a:pt x="12867" y="388"/>
                      <a:pt x="8526" y="26"/>
                    </a:cubicBezTo>
                    <a:cubicBezTo>
                      <a:pt x="4186" y="-335"/>
                      <a:pt x="388" y="3101"/>
                      <a:pt x="26" y="7441"/>
                    </a:cubicBezTo>
                    <a:cubicBezTo>
                      <a:pt x="-335" y="11782"/>
                      <a:pt x="3101" y="15580"/>
                      <a:pt x="7441" y="15761"/>
                    </a:cubicBezTo>
                    <a:cubicBezTo>
                      <a:pt x="11782" y="15941"/>
                      <a:pt x="15580" y="12867"/>
                      <a:pt x="15941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0" name="Google Shape;160;p21"/>
              <p:cNvSpPr/>
              <p:nvPr/>
            </p:nvSpPr>
            <p:spPr>
              <a:xfrm>
                <a:off x="12208538" y="2427930"/>
                <a:ext cx="39426" cy="39426"/>
              </a:xfrm>
              <a:custGeom>
                <a:avLst/>
                <a:gdLst/>
                <a:ahLst/>
                <a:cxnLst/>
                <a:rect l="l" t="t" r="r" b="b"/>
                <a:pathLst>
                  <a:path w="39426" h="39426" extrusionOk="0">
                    <a:moveTo>
                      <a:pt x="39426" y="19713"/>
                    </a:moveTo>
                    <a:cubicBezTo>
                      <a:pt x="39426" y="30600"/>
                      <a:pt x="30600" y="39426"/>
                      <a:pt x="19713" y="39426"/>
                    </a:cubicBezTo>
                    <a:cubicBezTo>
                      <a:pt x="8826" y="39426"/>
                      <a:pt x="0" y="30600"/>
                      <a:pt x="0" y="19713"/>
                    </a:cubicBezTo>
                    <a:cubicBezTo>
                      <a:pt x="0" y="8826"/>
                      <a:pt x="8826" y="0"/>
                      <a:pt x="19713" y="0"/>
                    </a:cubicBezTo>
                    <a:cubicBezTo>
                      <a:pt x="30600" y="0"/>
                      <a:pt x="39426" y="8826"/>
                      <a:pt x="39426" y="197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1" name="Google Shape;161;p21"/>
              <p:cNvSpPr/>
              <p:nvPr/>
            </p:nvSpPr>
            <p:spPr>
              <a:xfrm>
                <a:off x="9568394" y="5195334"/>
                <a:ext cx="32794" cy="32794"/>
              </a:xfrm>
              <a:custGeom>
                <a:avLst/>
                <a:gdLst/>
                <a:ahLst/>
                <a:cxnLst/>
                <a:rect l="l" t="t" r="r" b="b"/>
                <a:pathLst>
                  <a:path w="32794" h="32794" extrusionOk="0">
                    <a:moveTo>
                      <a:pt x="32765" y="17392"/>
                    </a:moveTo>
                    <a:cubicBezTo>
                      <a:pt x="33307" y="8349"/>
                      <a:pt x="26435" y="573"/>
                      <a:pt x="17392" y="30"/>
                    </a:cubicBezTo>
                    <a:cubicBezTo>
                      <a:pt x="8349" y="-513"/>
                      <a:pt x="573" y="6360"/>
                      <a:pt x="30" y="15403"/>
                    </a:cubicBezTo>
                    <a:cubicBezTo>
                      <a:pt x="-513" y="24445"/>
                      <a:pt x="6360" y="32222"/>
                      <a:pt x="15403" y="32765"/>
                    </a:cubicBezTo>
                    <a:cubicBezTo>
                      <a:pt x="24446" y="33307"/>
                      <a:pt x="32222" y="26435"/>
                      <a:pt x="32765" y="173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2" name="Google Shape;162;p21"/>
              <p:cNvSpPr/>
              <p:nvPr/>
            </p:nvSpPr>
            <p:spPr>
              <a:xfrm>
                <a:off x="9490696" y="5373184"/>
                <a:ext cx="130316" cy="130316"/>
              </a:xfrm>
              <a:custGeom>
                <a:avLst/>
                <a:gdLst/>
                <a:ahLst/>
                <a:cxnLst/>
                <a:rect l="l" t="t" r="r" b="b"/>
                <a:pathLst>
                  <a:path w="130316" h="130316" extrusionOk="0">
                    <a:moveTo>
                      <a:pt x="130176" y="69408"/>
                    </a:moveTo>
                    <a:cubicBezTo>
                      <a:pt x="132527" y="33419"/>
                      <a:pt x="105218" y="2492"/>
                      <a:pt x="69408" y="141"/>
                    </a:cubicBezTo>
                    <a:cubicBezTo>
                      <a:pt x="33418" y="-2210"/>
                      <a:pt x="2492" y="25099"/>
                      <a:pt x="141" y="60908"/>
                    </a:cubicBezTo>
                    <a:cubicBezTo>
                      <a:pt x="-2210" y="96898"/>
                      <a:pt x="25099" y="127825"/>
                      <a:pt x="60908" y="130175"/>
                    </a:cubicBezTo>
                    <a:cubicBezTo>
                      <a:pt x="96717" y="132527"/>
                      <a:pt x="127824" y="105218"/>
                      <a:pt x="130176" y="694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3" name="Google Shape;163;p21"/>
              <p:cNvSpPr/>
              <p:nvPr/>
            </p:nvSpPr>
            <p:spPr>
              <a:xfrm>
                <a:off x="8695881" y="5231254"/>
                <a:ext cx="87554" cy="87554"/>
              </a:xfrm>
              <a:custGeom>
                <a:avLst/>
                <a:gdLst/>
                <a:ahLst/>
                <a:cxnLst/>
                <a:rect l="l" t="t" r="r" b="b"/>
                <a:pathLst>
                  <a:path w="87554" h="87554" extrusionOk="0">
                    <a:moveTo>
                      <a:pt x="87454" y="46580"/>
                    </a:moveTo>
                    <a:cubicBezTo>
                      <a:pt x="89081" y="22527"/>
                      <a:pt x="70815" y="1548"/>
                      <a:pt x="46580" y="101"/>
                    </a:cubicBezTo>
                    <a:cubicBezTo>
                      <a:pt x="22527" y="-1527"/>
                      <a:pt x="1548" y="16739"/>
                      <a:pt x="101" y="40974"/>
                    </a:cubicBezTo>
                    <a:cubicBezTo>
                      <a:pt x="-1527" y="65028"/>
                      <a:pt x="16739" y="86007"/>
                      <a:pt x="40974" y="87454"/>
                    </a:cubicBezTo>
                    <a:cubicBezTo>
                      <a:pt x="65028" y="89081"/>
                      <a:pt x="85826" y="70815"/>
                      <a:pt x="87454" y="465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4" name="Google Shape;164;p21"/>
              <p:cNvSpPr/>
              <p:nvPr/>
            </p:nvSpPr>
            <p:spPr>
              <a:xfrm>
                <a:off x="9532510" y="5159270"/>
                <a:ext cx="104742" cy="104763"/>
              </a:xfrm>
              <a:custGeom>
                <a:avLst/>
                <a:gdLst/>
                <a:ahLst/>
                <a:cxnLst/>
                <a:rect l="l" t="t" r="r" b="b"/>
                <a:pathLst>
                  <a:path w="104742" h="104763" extrusionOk="0">
                    <a:moveTo>
                      <a:pt x="104638" y="55807"/>
                    </a:moveTo>
                    <a:cubicBezTo>
                      <a:pt x="106447" y="26871"/>
                      <a:pt x="84564" y="1913"/>
                      <a:pt x="55808" y="105"/>
                    </a:cubicBezTo>
                    <a:cubicBezTo>
                      <a:pt x="27052" y="-1704"/>
                      <a:pt x="1913" y="20179"/>
                      <a:pt x="104" y="48935"/>
                    </a:cubicBezTo>
                    <a:cubicBezTo>
                      <a:pt x="-1704" y="77872"/>
                      <a:pt x="20179" y="102830"/>
                      <a:pt x="48935" y="104638"/>
                    </a:cubicBezTo>
                    <a:cubicBezTo>
                      <a:pt x="77691" y="106628"/>
                      <a:pt x="102649" y="84744"/>
                      <a:pt x="104638" y="558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5" name="Google Shape;165;p21"/>
              <p:cNvSpPr/>
              <p:nvPr/>
            </p:nvSpPr>
            <p:spPr>
              <a:xfrm>
                <a:off x="10467795" y="5330987"/>
                <a:ext cx="24813" cy="2481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3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1"/>
                      <a:pt x="18" y="11593"/>
                    </a:cubicBezTo>
                    <a:cubicBezTo>
                      <a:pt x="-343" y="18465"/>
                      <a:pt x="4721" y="24253"/>
                      <a:pt x="11593" y="24795"/>
                    </a:cubicBezTo>
                    <a:cubicBezTo>
                      <a:pt x="18465" y="25157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6" name="Google Shape;166;p21"/>
              <p:cNvSpPr/>
              <p:nvPr/>
            </p:nvSpPr>
            <p:spPr>
              <a:xfrm>
                <a:off x="9525135" y="5407624"/>
                <a:ext cx="61256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61256" h="61257" extrusionOk="0">
                    <a:moveTo>
                      <a:pt x="61193" y="32618"/>
                    </a:moveTo>
                    <a:cubicBezTo>
                      <a:pt x="62278" y="15798"/>
                      <a:pt x="49437" y="1149"/>
                      <a:pt x="32618" y="64"/>
                    </a:cubicBezTo>
                    <a:cubicBezTo>
                      <a:pt x="15798" y="-1021"/>
                      <a:pt x="1149" y="11819"/>
                      <a:pt x="64" y="28639"/>
                    </a:cubicBezTo>
                    <a:cubicBezTo>
                      <a:pt x="-1021" y="45458"/>
                      <a:pt x="11820" y="60108"/>
                      <a:pt x="28639" y="61193"/>
                    </a:cubicBezTo>
                    <a:cubicBezTo>
                      <a:pt x="45459" y="62278"/>
                      <a:pt x="60108" y="49618"/>
                      <a:pt x="61193" y="326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7" name="Google Shape;167;p21"/>
              <p:cNvSpPr/>
              <p:nvPr/>
            </p:nvSpPr>
            <p:spPr>
              <a:xfrm>
                <a:off x="9556600" y="5183360"/>
                <a:ext cx="56563" cy="56563"/>
              </a:xfrm>
              <a:custGeom>
                <a:avLst/>
                <a:gdLst/>
                <a:ahLst/>
                <a:cxnLst/>
                <a:rect l="l" t="t" r="r" b="b"/>
                <a:pathLst>
                  <a:path w="56563" h="56563" extrusionOk="0">
                    <a:moveTo>
                      <a:pt x="56495" y="30090"/>
                    </a:moveTo>
                    <a:cubicBezTo>
                      <a:pt x="57580" y="14537"/>
                      <a:pt x="45644" y="973"/>
                      <a:pt x="30090" y="69"/>
                    </a:cubicBezTo>
                    <a:cubicBezTo>
                      <a:pt x="14537" y="-1017"/>
                      <a:pt x="973" y="10920"/>
                      <a:pt x="69" y="26473"/>
                    </a:cubicBezTo>
                    <a:cubicBezTo>
                      <a:pt x="-1017" y="42027"/>
                      <a:pt x="10920" y="55591"/>
                      <a:pt x="26473" y="56495"/>
                    </a:cubicBezTo>
                    <a:cubicBezTo>
                      <a:pt x="42027" y="57580"/>
                      <a:pt x="55410" y="45644"/>
                      <a:pt x="56495" y="3009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8" name="Google Shape;168;p21"/>
              <p:cNvSpPr/>
              <p:nvPr/>
            </p:nvSpPr>
            <p:spPr>
              <a:xfrm>
                <a:off x="10452009" y="5315202"/>
                <a:ext cx="56203" cy="5620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203" extrusionOk="0">
                    <a:moveTo>
                      <a:pt x="56134" y="29910"/>
                    </a:moveTo>
                    <a:cubicBezTo>
                      <a:pt x="57220" y="14357"/>
                      <a:pt x="45464" y="1155"/>
                      <a:pt x="29911" y="69"/>
                    </a:cubicBezTo>
                    <a:cubicBezTo>
                      <a:pt x="14357" y="-1016"/>
                      <a:pt x="1155" y="10740"/>
                      <a:pt x="69" y="26293"/>
                    </a:cubicBezTo>
                    <a:cubicBezTo>
                      <a:pt x="-1016" y="41847"/>
                      <a:pt x="10740" y="55049"/>
                      <a:pt x="26293" y="56134"/>
                    </a:cubicBezTo>
                    <a:cubicBezTo>
                      <a:pt x="41847" y="57220"/>
                      <a:pt x="55230" y="45464"/>
                      <a:pt x="56134" y="2991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69" name="Google Shape;169;p21"/>
              <p:cNvSpPr/>
              <p:nvPr/>
            </p:nvSpPr>
            <p:spPr>
              <a:xfrm>
                <a:off x="10389825" y="4874851"/>
                <a:ext cx="44208" cy="44228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8" extrusionOk="0">
                    <a:moveTo>
                      <a:pt x="44168" y="23551"/>
                    </a:moveTo>
                    <a:cubicBezTo>
                      <a:pt x="44892" y="11434"/>
                      <a:pt x="35668" y="944"/>
                      <a:pt x="23551" y="40"/>
                    </a:cubicBezTo>
                    <a:cubicBezTo>
                      <a:pt x="11434" y="-684"/>
                      <a:pt x="944" y="8540"/>
                      <a:pt x="40" y="20657"/>
                    </a:cubicBezTo>
                    <a:cubicBezTo>
                      <a:pt x="-684" y="32774"/>
                      <a:pt x="8540" y="43264"/>
                      <a:pt x="20657" y="44168"/>
                    </a:cubicBezTo>
                    <a:cubicBezTo>
                      <a:pt x="32774" y="45073"/>
                      <a:pt x="43445" y="35668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0" name="Google Shape;170;p21"/>
              <p:cNvSpPr/>
              <p:nvPr/>
            </p:nvSpPr>
            <p:spPr>
              <a:xfrm>
                <a:off x="8028510" y="5790800"/>
                <a:ext cx="112004" cy="112004"/>
              </a:xfrm>
              <a:custGeom>
                <a:avLst/>
                <a:gdLst/>
                <a:ahLst/>
                <a:cxnLst/>
                <a:rect l="l" t="t" r="r" b="b"/>
                <a:pathLst>
                  <a:path w="112004" h="112004" extrusionOk="0">
                    <a:moveTo>
                      <a:pt x="111886" y="59619"/>
                    </a:moveTo>
                    <a:cubicBezTo>
                      <a:pt x="113876" y="28693"/>
                      <a:pt x="90546" y="2108"/>
                      <a:pt x="59619" y="118"/>
                    </a:cubicBezTo>
                    <a:cubicBezTo>
                      <a:pt x="28693" y="-1871"/>
                      <a:pt x="2108" y="21459"/>
                      <a:pt x="118" y="52385"/>
                    </a:cubicBezTo>
                    <a:cubicBezTo>
                      <a:pt x="-1871" y="83311"/>
                      <a:pt x="21459" y="109897"/>
                      <a:pt x="52385" y="111886"/>
                    </a:cubicBezTo>
                    <a:cubicBezTo>
                      <a:pt x="83131" y="113876"/>
                      <a:pt x="109716" y="90546"/>
                      <a:pt x="111886" y="596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1" name="Google Shape;171;p21"/>
              <p:cNvSpPr/>
              <p:nvPr/>
            </p:nvSpPr>
            <p:spPr>
              <a:xfrm>
                <a:off x="7787357" y="5456326"/>
                <a:ext cx="9427" cy="9458"/>
              </a:xfrm>
              <a:custGeom>
                <a:avLst/>
                <a:gdLst/>
                <a:ahLst/>
                <a:cxnLst/>
                <a:rect l="l" t="t" r="r" b="b"/>
                <a:pathLst>
                  <a:path w="9427" h="9458" extrusionOk="0">
                    <a:moveTo>
                      <a:pt x="9416" y="5075"/>
                    </a:moveTo>
                    <a:cubicBezTo>
                      <a:pt x="9597" y="2543"/>
                      <a:pt x="7607" y="192"/>
                      <a:pt x="5075" y="11"/>
                    </a:cubicBezTo>
                    <a:cubicBezTo>
                      <a:pt x="2543" y="-170"/>
                      <a:pt x="192" y="1820"/>
                      <a:pt x="11" y="4352"/>
                    </a:cubicBezTo>
                    <a:cubicBezTo>
                      <a:pt x="-169" y="6884"/>
                      <a:pt x="1820" y="9235"/>
                      <a:pt x="4352" y="9416"/>
                    </a:cubicBezTo>
                    <a:cubicBezTo>
                      <a:pt x="7065" y="9777"/>
                      <a:pt x="9235" y="7788"/>
                      <a:pt x="9416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2" name="Google Shape;172;p21"/>
              <p:cNvSpPr/>
              <p:nvPr/>
            </p:nvSpPr>
            <p:spPr>
              <a:xfrm>
                <a:off x="7397166" y="6185082"/>
                <a:ext cx="88997" cy="88997"/>
              </a:xfrm>
              <a:custGeom>
                <a:avLst/>
                <a:gdLst/>
                <a:ahLst/>
                <a:cxnLst/>
                <a:rect l="l" t="t" r="r" b="b"/>
                <a:pathLst>
                  <a:path w="88997" h="88997" extrusionOk="0">
                    <a:moveTo>
                      <a:pt x="88899" y="47483"/>
                    </a:moveTo>
                    <a:cubicBezTo>
                      <a:pt x="90526" y="22887"/>
                      <a:pt x="71898" y="1727"/>
                      <a:pt x="47483" y="99"/>
                    </a:cubicBezTo>
                    <a:cubicBezTo>
                      <a:pt x="23068" y="-1529"/>
                      <a:pt x="1727" y="17099"/>
                      <a:pt x="99" y="41515"/>
                    </a:cubicBezTo>
                    <a:cubicBezTo>
                      <a:pt x="-1529" y="66111"/>
                      <a:pt x="17099" y="87271"/>
                      <a:pt x="41515" y="88899"/>
                    </a:cubicBezTo>
                    <a:cubicBezTo>
                      <a:pt x="65930" y="90526"/>
                      <a:pt x="87271" y="71898"/>
                      <a:pt x="88899" y="474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3" name="Google Shape;173;p21"/>
              <p:cNvSpPr/>
              <p:nvPr/>
            </p:nvSpPr>
            <p:spPr>
              <a:xfrm>
                <a:off x="10178866" y="6103673"/>
                <a:ext cx="107130" cy="107130"/>
              </a:xfrm>
              <a:custGeom>
                <a:avLst/>
                <a:gdLst/>
                <a:ahLst/>
                <a:cxnLst/>
                <a:rect l="l" t="t" r="r" b="b"/>
                <a:pathLst>
                  <a:path w="107130" h="107130" extrusionOk="0">
                    <a:moveTo>
                      <a:pt x="107008" y="57092"/>
                    </a:moveTo>
                    <a:cubicBezTo>
                      <a:pt x="108997" y="27613"/>
                      <a:pt x="86571" y="2112"/>
                      <a:pt x="57092" y="123"/>
                    </a:cubicBezTo>
                    <a:cubicBezTo>
                      <a:pt x="27612" y="-1866"/>
                      <a:pt x="2112" y="20559"/>
                      <a:pt x="123" y="50039"/>
                    </a:cubicBezTo>
                    <a:cubicBezTo>
                      <a:pt x="-1867" y="79518"/>
                      <a:pt x="20559" y="105019"/>
                      <a:pt x="50039" y="107008"/>
                    </a:cubicBezTo>
                    <a:cubicBezTo>
                      <a:pt x="79699" y="108997"/>
                      <a:pt x="105199" y="86571"/>
                      <a:pt x="107008" y="570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4" name="Google Shape;174;p21"/>
              <p:cNvSpPr/>
              <p:nvPr/>
            </p:nvSpPr>
            <p:spPr>
              <a:xfrm>
                <a:off x="10458007" y="5321018"/>
                <a:ext cx="44569" cy="44591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91" extrusionOk="0">
                    <a:moveTo>
                      <a:pt x="44530" y="23732"/>
                    </a:moveTo>
                    <a:cubicBezTo>
                      <a:pt x="45253" y="11434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2955" y="45434"/>
                      <a:pt x="43626" y="36211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5" name="Google Shape;175;p21"/>
              <p:cNvSpPr/>
              <p:nvPr/>
            </p:nvSpPr>
            <p:spPr>
              <a:xfrm>
                <a:off x="9521143" y="5403812"/>
                <a:ext cx="69059" cy="69059"/>
              </a:xfrm>
              <a:custGeom>
                <a:avLst/>
                <a:gdLst/>
                <a:ahLst/>
                <a:cxnLst/>
                <a:rect l="l" t="t" r="r" b="b"/>
                <a:pathLst>
                  <a:path w="69059" h="69059" extrusionOk="0">
                    <a:moveTo>
                      <a:pt x="68983" y="36791"/>
                    </a:moveTo>
                    <a:cubicBezTo>
                      <a:pt x="70249" y="17801"/>
                      <a:pt x="55780" y="1343"/>
                      <a:pt x="36791" y="77"/>
                    </a:cubicBezTo>
                    <a:cubicBezTo>
                      <a:pt x="17801" y="-1189"/>
                      <a:pt x="1343" y="13280"/>
                      <a:pt x="77" y="32269"/>
                    </a:cubicBezTo>
                    <a:cubicBezTo>
                      <a:pt x="-1189" y="51259"/>
                      <a:pt x="13280" y="67717"/>
                      <a:pt x="32269" y="68983"/>
                    </a:cubicBezTo>
                    <a:cubicBezTo>
                      <a:pt x="51440" y="70249"/>
                      <a:pt x="67898" y="55780"/>
                      <a:pt x="68983" y="367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6" name="Google Shape;176;p21"/>
              <p:cNvSpPr/>
              <p:nvPr/>
            </p:nvSpPr>
            <p:spPr>
              <a:xfrm>
                <a:off x="10212042" y="6136850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2"/>
                      <a:pt x="32959" y="766"/>
                      <a:pt x="21746" y="43"/>
                    </a:cubicBezTo>
                    <a:cubicBezTo>
                      <a:pt x="10533" y="-681"/>
                      <a:pt x="767" y="7820"/>
                      <a:pt x="43" y="19032"/>
                    </a:cubicBezTo>
                    <a:cubicBezTo>
                      <a:pt x="-680" y="30245"/>
                      <a:pt x="7820" y="40012"/>
                      <a:pt x="19033" y="40735"/>
                    </a:cubicBezTo>
                    <a:cubicBezTo>
                      <a:pt x="30427" y="41458"/>
                      <a:pt x="40012" y="32958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7" name="Google Shape;177;p21"/>
              <p:cNvSpPr/>
              <p:nvPr/>
            </p:nvSpPr>
            <p:spPr>
              <a:xfrm>
                <a:off x="10717815" y="5932769"/>
                <a:ext cx="109837" cy="109837"/>
              </a:xfrm>
              <a:custGeom>
                <a:avLst/>
                <a:gdLst/>
                <a:ahLst/>
                <a:cxnLst/>
                <a:rect l="l" t="t" r="r" b="b"/>
                <a:pathLst>
                  <a:path w="109837" h="109837" extrusionOk="0">
                    <a:moveTo>
                      <a:pt x="109718" y="58536"/>
                    </a:moveTo>
                    <a:cubicBezTo>
                      <a:pt x="111707" y="28333"/>
                      <a:pt x="88739" y="2109"/>
                      <a:pt x="58536" y="120"/>
                    </a:cubicBezTo>
                    <a:cubicBezTo>
                      <a:pt x="28333" y="-1870"/>
                      <a:pt x="2109" y="21099"/>
                      <a:pt x="120" y="51302"/>
                    </a:cubicBezTo>
                    <a:cubicBezTo>
                      <a:pt x="-1869" y="81505"/>
                      <a:pt x="21099" y="107728"/>
                      <a:pt x="51302" y="109718"/>
                    </a:cubicBezTo>
                    <a:cubicBezTo>
                      <a:pt x="81686" y="111707"/>
                      <a:pt x="107729" y="88739"/>
                      <a:pt x="109718" y="5853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8" name="Google Shape;178;p21"/>
              <p:cNvSpPr/>
              <p:nvPr/>
            </p:nvSpPr>
            <p:spPr>
              <a:xfrm>
                <a:off x="10313030" y="6273647"/>
                <a:ext cx="140647" cy="140648"/>
              </a:xfrm>
              <a:custGeom>
                <a:avLst/>
                <a:gdLst/>
                <a:ahLst/>
                <a:cxnLst/>
                <a:rect l="l" t="t" r="r" b="b"/>
                <a:pathLst>
                  <a:path w="140647" h="140648" extrusionOk="0">
                    <a:moveTo>
                      <a:pt x="140495" y="74845"/>
                    </a:moveTo>
                    <a:cubicBezTo>
                      <a:pt x="143027" y="36143"/>
                      <a:pt x="113729" y="2685"/>
                      <a:pt x="74845" y="152"/>
                    </a:cubicBezTo>
                    <a:cubicBezTo>
                      <a:pt x="36142" y="-2379"/>
                      <a:pt x="2684" y="26919"/>
                      <a:pt x="152" y="65803"/>
                    </a:cubicBezTo>
                    <a:cubicBezTo>
                      <a:pt x="-2379" y="104506"/>
                      <a:pt x="26919" y="137964"/>
                      <a:pt x="65802" y="140496"/>
                    </a:cubicBezTo>
                    <a:cubicBezTo>
                      <a:pt x="104686" y="143028"/>
                      <a:pt x="137964" y="113729"/>
                      <a:pt x="140495" y="748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79" name="Google Shape;179;p21"/>
              <p:cNvSpPr/>
              <p:nvPr/>
            </p:nvSpPr>
            <p:spPr>
              <a:xfrm>
                <a:off x="10178325" y="6102952"/>
                <a:ext cx="108573" cy="108574"/>
              </a:xfrm>
              <a:custGeom>
                <a:avLst/>
                <a:gdLst/>
                <a:ahLst/>
                <a:cxnLst/>
                <a:rect l="l" t="t" r="r" b="b"/>
                <a:pathLst>
                  <a:path w="108573" h="108574" extrusionOk="0">
                    <a:moveTo>
                      <a:pt x="108453" y="57813"/>
                    </a:moveTo>
                    <a:cubicBezTo>
                      <a:pt x="110442" y="27972"/>
                      <a:pt x="87655" y="2110"/>
                      <a:pt x="57814" y="121"/>
                    </a:cubicBezTo>
                    <a:cubicBezTo>
                      <a:pt x="27973" y="-1869"/>
                      <a:pt x="2110" y="20919"/>
                      <a:pt x="121" y="50760"/>
                    </a:cubicBezTo>
                    <a:cubicBezTo>
                      <a:pt x="-1868" y="80601"/>
                      <a:pt x="20919" y="106463"/>
                      <a:pt x="50760" y="108453"/>
                    </a:cubicBezTo>
                    <a:cubicBezTo>
                      <a:pt x="80601" y="110442"/>
                      <a:pt x="106464" y="87835"/>
                      <a:pt x="108453" y="57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0" name="Google Shape;180;p21"/>
              <p:cNvSpPr/>
              <p:nvPr/>
            </p:nvSpPr>
            <p:spPr>
              <a:xfrm>
                <a:off x="10729408" y="5944363"/>
                <a:ext cx="86831" cy="86811"/>
              </a:xfrm>
              <a:custGeom>
                <a:avLst/>
                <a:gdLst/>
                <a:ahLst/>
                <a:cxnLst/>
                <a:rect l="l" t="t" r="r" b="b"/>
                <a:pathLst>
                  <a:path w="86831" h="86811" extrusionOk="0">
                    <a:moveTo>
                      <a:pt x="86730" y="46219"/>
                    </a:moveTo>
                    <a:cubicBezTo>
                      <a:pt x="88358" y="22346"/>
                      <a:pt x="70092" y="1728"/>
                      <a:pt x="46219" y="101"/>
                    </a:cubicBezTo>
                    <a:cubicBezTo>
                      <a:pt x="22346" y="-1527"/>
                      <a:pt x="1729" y="16740"/>
                      <a:pt x="101" y="40612"/>
                    </a:cubicBezTo>
                    <a:cubicBezTo>
                      <a:pt x="-1527" y="64485"/>
                      <a:pt x="16739" y="85103"/>
                      <a:pt x="40612" y="86730"/>
                    </a:cubicBezTo>
                    <a:cubicBezTo>
                      <a:pt x="64485" y="88177"/>
                      <a:pt x="85103" y="70091"/>
                      <a:pt x="86730" y="462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1" name="Google Shape;181;p21"/>
              <p:cNvSpPr/>
              <p:nvPr/>
            </p:nvSpPr>
            <p:spPr>
              <a:xfrm>
                <a:off x="10455640" y="5318833"/>
                <a:ext cx="48941" cy="48942"/>
              </a:xfrm>
              <a:custGeom>
                <a:avLst/>
                <a:gdLst/>
                <a:ahLst/>
                <a:cxnLst/>
                <a:rect l="l" t="t" r="r" b="b"/>
                <a:pathLst>
                  <a:path w="48941" h="48942" extrusionOk="0">
                    <a:moveTo>
                      <a:pt x="48886" y="26098"/>
                    </a:moveTo>
                    <a:cubicBezTo>
                      <a:pt x="49790" y="12715"/>
                      <a:pt x="39482" y="960"/>
                      <a:pt x="26098" y="55"/>
                    </a:cubicBezTo>
                    <a:cubicBezTo>
                      <a:pt x="12715" y="-849"/>
                      <a:pt x="960" y="9460"/>
                      <a:pt x="55" y="22843"/>
                    </a:cubicBezTo>
                    <a:cubicBezTo>
                      <a:pt x="-849" y="36226"/>
                      <a:pt x="9460" y="47982"/>
                      <a:pt x="22843" y="48886"/>
                    </a:cubicBezTo>
                    <a:cubicBezTo>
                      <a:pt x="36407" y="49790"/>
                      <a:pt x="47982" y="39662"/>
                      <a:pt x="48886" y="260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2" name="Google Shape;182;p21"/>
              <p:cNvSpPr/>
              <p:nvPr/>
            </p:nvSpPr>
            <p:spPr>
              <a:xfrm>
                <a:off x="11829314" y="5656753"/>
                <a:ext cx="140647" cy="140647"/>
              </a:xfrm>
              <a:custGeom>
                <a:avLst/>
                <a:gdLst/>
                <a:ahLst/>
                <a:cxnLst/>
                <a:rect l="l" t="t" r="r" b="b"/>
                <a:pathLst>
                  <a:path w="140647" h="140647" extrusionOk="0">
                    <a:moveTo>
                      <a:pt x="140495" y="74845"/>
                    </a:moveTo>
                    <a:cubicBezTo>
                      <a:pt x="143027" y="36143"/>
                      <a:pt x="113729" y="2684"/>
                      <a:pt x="74845" y="152"/>
                    </a:cubicBezTo>
                    <a:cubicBezTo>
                      <a:pt x="36143" y="-2379"/>
                      <a:pt x="2684" y="26919"/>
                      <a:pt x="152" y="65803"/>
                    </a:cubicBezTo>
                    <a:cubicBezTo>
                      <a:pt x="-2379" y="104506"/>
                      <a:pt x="26919" y="137963"/>
                      <a:pt x="65803" y="140495"/>
                    </a:cubicBezTo>
                    <a:cubicBezTo>
                      <a:pt x="104506" y="143027"/>
                      <a:pt x="137964" y="113729"/>
                      <a:pt x="140495" y="748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3" name="Google Shape;183;p21"/>
              <p:cNvSpPr/>
              <p:nvPr/>
            </p:nvSpPr>
            <p:spPr>
              <a:xfrm>
                <a:off x="10940909" y="5500447"/>
                <a:ext cx="23368" cy="23368"/>
              </a:xfrm>
              <a:custGeom>
                <a:avLst/>
                <a:gdLst/>
                <a:ahLst/>
                <a:cxnLst/>
                <a:rect l="l" t="t" r="r" b="b"/>
                <a:pathLst>
                  <a:path w="23368" h="23368" extrusionOk="0">
                    <a:moveTo>
                      <a:pt x="23349" y="12498"/>
                    </a:moveTo>
                    <a:cubicBezTo>
                      <a:pt x="23711" y="5987"/>
                      <a:pt x="18828" y="380"/>
                      <a:pt x="12498" y="19"/>
                    </a:cubicBezTo>
                    <a:cubicBezTo>
                      <a:pt x="5987" y="-343"/>
                      <a:pt x="381" y="4540"/>
                      <a:pt x="19" y="10870"/>
                    </a:cubicBezTo>
                    <a:cubicBezTo>
                      <a:pt x="-343" y="17381"/>
                      <a:pt x="4540" y="22987"/>
                      <a:pt x="10870" y="23349"/>
                    </a:cubicBezTo>
                    <a:cubicBezTo>
                      <a:pt x="17200" y="23711"/>
                      <a:pt x="22987" y="19008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4" name="Google Shape;184;p21"/>
              <p:cNvSpPr/>
              <p:nvPr/>
            </p:nvSpPr>
            <p:spPr>
              <a:xfrm>
                <a:off x="10761299" y="5976094"/>
                <a:ext cx="23029" cy="23029"/>
              </a:xfrm>
              <a:custGeom>
                <a:avLst/>
                <a:gdLst/>
                <a:ahLst/>
                <a:cxnLst/>
                <a:rect l="l" t="t" r="r" b="b"/>
                <a:pathLst>
                  <a:path w="23029" h="23029" extrusionOk="0">
                    <a:moveTo>
                      <a:pt x="23010" y="12317"/>
                    </a:moveTo>
                    <a:cubicBezTo>
                      <a:pt x="23371" y="5988"/>
                      <a:pt x="18669" y="562"/>
                      <a:pt x="12339" y="20"/>
                    </a:cubicBezTo>
                    <a:cubicBezTo>
                      <a:pt x="6009" y="-342"/>
                      <a:pt x="584" y="4360"/>
                      <a:pt x="41" y="10690"/>
                    </a:cubicBezTo>
                    <a:cubicBezTo>
                      <a:pt x="-501" y="17020"/>
                      <a:pt x="4382" y="22445"/>
                      <a:pt x="10712" y="22988"/>
                    </a:cubicBezTo>
                    <a:cubicBezTo>
                      <a:pt x="17042" y="23531"/>
                      <a:pt x="22648" y="18648"/>
                      <a:pt x="23010" y="1231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5" name="Google Shape;185;p21"/>
              <p:cNvSpPr/>
              <p:nvPr/>
            </p:nvSpPr>
            <p:spPr>
              <a:xfrm>
                <a:off x="11885317" y="5712575"/>
                <a:ext cx="29003" cy="29003"/>
              </a:xfrm>
              <a:custGeom>
                <a:avLst/>
                <a:gdLst/>
                <a:ahLst/>
                <a:cxnLst/>
                <a:rect l="l" t="t" r="r" b="b"/>
                <a:pathLst>
                  <a:path w="29003" h="29003" extrusionOk="0">
                    <a:moveTo>
                      <a:pt x="28970" y="15406"/>
                    </a:moveTo>
                    <a:cubicBezTo>
                      <a:pt x="29513" y="7448"/>
                      <a:pt x="23364" y="576"/>
                      <a:pt x="15406" y="33"/>
                    </a:cubicBezTo>
                    <a:cubicBezTo>
                      <a:pt x="7448" y="-509"/>
                      <a:pt x="576" y="5640"/>
                      <a:pt x="33" y="13597"/>
                    </a:cubicBezTo>
                    <a:cubicBezTo>
                      <a:pt x="-509" y="21555"/>
                      <a:pt x="5640" y="28427"/>
                      <a:pt x="13597" y="28970"/>
                    </a:cubicBezTo>
                    <a:cubicBezTo>
                      <a:pt x="21374" y="29512"/>
                      <a:pt x="28428" y="23363"/>
                      <a:pt x="28970" y="154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6" name="Google Shape;186;p21"/>
              <p:cNvSpPr/>
              <p:nvPr/>
            </p:nvSpPr>
            <p:spPr>
              <a:xfrm>
                <a:off x="11208003" y="5289723"/>
                <a:ext cx="36447" cy="36445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45" extrusionOk="0">
                    <a:moveTo>
                      <a:pt x="36399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271" y="-676"/>
                      <a:pt x="771" y="6920"/>
                      <a:pt x="48" y="17048"/>
                    </a:cubicBezTo>
                    <a:cubicBezTo>
                      <a:pt x="-676" y="27176"/>
                      <a:pt x="6920" y="35676"/>
                      <a:pt x="17048" y="36399"/>
                    </a:cubicBezTo>
                    <a:cubicBezTo>
                      <a:pt x="27176" y="37123"/>
                      <a:pt x="35676" y="29346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7" name="Google Shape;187;p21"/>
              <p:cNvSpPr/>
              <p:nvPr/>
            </p:nvSpPr>
            <p:spPr>
              <a:xfrm>
                <a:off x="10939264" y="5498802"/>
                <a:ext cx="26838" cy="26839"/>
              </a:xfrm>
              <a:custGeom>
                <a:avLst/>
                <a:gdLst/>
                <a:ahLst/>
                <a:cxnLst/>
                <a:rect l="l" t="t" r="r" b="b"/>
                <a:pathLst>
                  <a:path w="26838" h="26839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345"/>
                      <a:pt x="26260" y="21739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8" name="Google Shape;188;p21"/>
              <p:cNvSpPr/>
              <p:nvPr/>
            </p:nvSpPr>
            <p:spPr>
              <a:xfrm>
                <a:off x="11830758" y="5658197"/>
                <a:ext cx="137759" cy="137759"/>
              </a:xfrm>
              <a:custGeom>
                <a:avLst/>
                <a:gdLst/>
                <a:ahLst/>
                <a:cxnLst/>
                <a:rect l="l" t="t" r="r" b="b"/>
                <a:pathLst>
                  <a:path w="137759" h="137759" extrusionOk="0">
                    <a:moveTo>
                      <a:pt x="137604" y="73401"/>
                    </a:moveTo>
                    <a:cubicBezTo>
                      <a:pt x="140136" y="35422"/>
                      <a:pt x="111381" y="2687"/>
                      <a:pt x="73401" y="155"/>
                    </a:cubicBezTo>
                    <a:cubicBezTo>
                      <a:pt x="35422" y="-2377"/>
                      <a:pt x="2687" y="26379"/>
                      <a:pt x="155" y="64359"/>
                    </a:cubicBezTo>
                    <a:cubicBezTo>
                      <a:pt x="-2377" y="102338"/>
                      <a:pt x="26379" y="135072"/>
                      <a:pt x="64359" y="137604"/>
                    </a:cubicBezTo>
                    <a:cubicBezTo>
                      <a:pt x="102338" y="140136"/>
                      <a:pt x="135254" y="111381"/>
                      <a:pt x="137604" y="734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89" name="Google Shape;189;p21"/>
              <p:cNvSpPr/>
              <p:nvPr/>
            </p:nvSpPr>
            <p:spPr>
              <a:xfrm>
                <a:off x="11784676" y="5096318"/>
                <a:ext cx="110921" cy="110942"/>
              </a:xfrm>
              <a:custGeom>
                <a:avLst/>
                <a:gdLst/>
                <a:ahLst/>
                <a:cxnLst/>
                <a:rect l="l" t="t" r="r" b="b"/>
                <a:pathLst>
                  <a:path w="110921" h="110942" extrusionOk="0">
                    <a:moveTo>
                      <a:pt x="110802" y="59078"/>
                    </a:moveTo>
                    <a:cubicBezTo>
                      <a:pt x="112791" y="28513"/>
                      <a:pt x="89642" y="2109"/>
                      <a:pt x="59078" y="119"/>
                    </a:cubicBezTo>
                    <a:cubicBezTo>
                      <a:pt x="28513" y="-1870"/>
                      <a:pt x="2109" y="21279"/>
                      <a:pt x="119" y="51844"/>
                    </a:cubicBezTo>
                    <a:cubicBezTo>
                      <a:pt x="-1870" y="82408"/>
                      <a:pt x="21279" y="108813"/>
                      <a:pt x="51844" y="110802"/>
                    </a:cubicBezTo>
                    <a:cubicBezTo>
                      <a:pt x="82408" y="112972"/>
                      <a:pt x="108813" y="89642"/>
                      <a:pt x="110802" y="5907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0" name="Google Shape;190;p21"/>
              <p:cNvSpPr/>
              <p:nvPr/>
            </p:nvSpPr>
            <p:spPr>
              <a:xfrm>
                <a:off x="11200763" y="5282483"/>
                <a:ext cx="50927" cy="50927"/>
              </a:xfrm>
              <a:custGeom>
                <a:avLst/>
                <a:gdLst/>
                <a:ahLst/>
                <a:cxnLst/>
                <a:rect l="l" t="t" r="r" b="b"/>
                <a:pathLst>
                  <a:path w="50927" h="50927" extrusionOk="0">
                    <a:moveTo>
                      <a:pt x="50874" y="27182"/>
                    </a:moveTo>
                    <a:cubicBezTo>
                      <a:pt x="51778" y="13075"/>
                      <a:pt x="41107" y="958"/>
                      <a:pt x="27182" y="53"/>
                    </a:cubicBezTo>
                    <a:cubicBezTo>
                      <a:pt x="13075" y="-851"/>
                      <a:pt x="958" y="9820"/>
                      <a:pt x="53" y="23745"/>
                    </a:cubicBezTo>
                    <a:cubicBezTo>
                      <a:pt x="-851" y="37852"/>
                      <a:pt x="9820" y="49969"/>
                      <a:pt x="23745" y="50874"/>
                    </a:cubicBezTo>
                    <a:cubicBezTo>
                      <a:pt x="37852" y="51778"/>
                      <a:pt x="49969" y="41107"/>
                      <a:pt x="50874" y="271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1" name="Google Shape;191;p21"/>
              <p:cNvSpPr/>
              <p:nvPr/>
            </p:nvSpPr>
            <p:spPr>
              <a:xfrm>
                <a:off x="12698414" y="4373142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4"/>
                      <a:pt x="37676" y="962"/>
                      <a:pt x="24835" y="58"/>
                    </a:cubicBezTo>
                    <a:cubicBezTo>
                      <a:pt x="11995" y="-846"/>
                      <a:pt x="962" y="8920"/>
                      <a:pt x="58" y="21761"/>
                    </a:cubicBezTo>
                    <a:cubicBezTo>
                      <a:pt x="-846" y="34601"/>
                      <a:pt x="8920" y="45633"/>
                      <a:pt x="21760" y="46538"/>
                    </a:cubicBezTo>
                    <a:cubicBezTo>
                      <a:pt x="34601" y="47442"/>
                      <a:pt x="45814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2" name="Google Shape;192;p21"/>
              <p:cNvSpPr/>
              <p:nvPr/>
            </p:nvSpPr>
            <p:spPr>
              <a:xfrm>
                <a:off x="12286237" y="3894954"/>
                <a:ext cx="57466" cy="57465"/>
              </a:xfrm>
              <a:custGeom>
                <a:avLst/>
                <a:gdLst/>
                <a:ahLst/>
                <a:cxnLst/>
                <a:rect l="l" t="t" r="r" b="b"/>
                <a:pathLst>
                  <a:path w="57466" h="57465" extrusionOk="0">
                    <a:moveTo>
                      <a:pt x="57399" y="30632"/>
                    </a:moveTo>
                    <a:cubicBezTo>
                      <a:pt x="58484" y="14717"/>
                      <a:pt x="46366" y="1153"/>
                      <a:pt x="30632" y="68"/>
                    </a:cubicBezTo>
                    <a:cubicBezTo>
                      <a:pt x="14717" y="-1018"/>
                      <a:pt x="1153" y="11100"/>
                      <a:pt x="68" y="26834"/>
                    </a:cubicBezTo>
                    <a:cubicBezTo>
                      <a:pt x="-1018" y="42749"/>
                      <a:pt x="11100" y="56313"/>
                      <a:pt x="26834" y="57398"/>
                    </a:cubicBezTo>
                    <a:cubicBezTo>
                      <a:pt x="42750" y="58483"/>
                      <a:pt x="56314" y="46366"/>
                      <a:pt x="57399" y="306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3" name="Google Shape;193;p21"/>
              <p:cNvSpPr/>
              <p:nvPr/>
            </p:nvSpPr>
            <p:spPr>
              <a:xfrm>
                <a:off x="12719404" y="5673315"/>
                <a:ext cx="35723" cy="35704"/>
              </a:xfrm>
              <a:custGeom>
                <a:avLst/>
                <a:gdLst/>
                <a:ahLst/>
                <a:cxnLst/>
                <a:rect l="l" t="t" r="r" b="b"/>
                <a:pathLst>
                  <a:path w="35723" h="35704" extrusionOk="0">
                    <a:moveTo>
                      <a:pt x="35676" y="19037"/>
                    </a:moveTo>
                    <a:cubicBezTo>
                      <a:pt x="36399" y="9271"/>
                      <a:pt x="28804" y="771"/>
                      <a:pt x="19037" y="48"/>
                    </a:cubicBezTo>
                    <a:cubicBezTo>
                      <a:pt x="9271" y="-676"/>
                      <a:pt x="771" y="6920"/>
                      <a:pt x="48" y="16686"/>
                    </a:cubicBezTo>
                    <a:cubicBezTo>
                      <a:pt x="-676" y="26452"/>
                      <a:pt x="6920" y="34952"/>
                      <a:pt x="16686" y="35676"/>
                    </a:cubicBezTo>
                    <a:cubicBezTo>
                      <a:pt x="26633" y="36219"/>
                      <a:pt x="35134" y="28804"/>
                      <a:pt x="35676" y="190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4" name="Google Shape;194;p21"/>
              <p:cNvSpPr/>
              <p:nvPr/>
            </p:nvSpPr>
            <p:spPr>
              <a:xfrm>
                <a:off x="12514905" y="5661607"/>
                <a:ext cx="50639" cy="50639"/>
              </a:xfrm>
              <a:custGeom>
                <a:avLst/>
                <a:gdLst/>
                <a:ahLst/>
                <a:cxnLst/>
                <a:rect l="l" t="t" r="r" b="b"/>
                <a:pathLst>
                  <a:path w="50639" h="50639" extrusionOk="0">
                    <a:moveTo>
                      <a:pt x="50639" y="25320"/>
                    </a:moveTo>
                    <a:cubicBezTo>
                      <a:pt x="50639" y="39303"/>
                      <a:pt x="39303" y="50639"/>
                      <a:pt x="25320" y="50639"/>
                    </a:cubicBezTo>
                    <a:cubicBezTo>
                      <a:pt x="11336" y="50639"/>
                      <a:pt x="0" y="39303"/>
                      <a:pt x="0" y="25320"/>
                    </a:cubicBezTo>
                    <a:cubicBezTo>
                      <a:pt x="0" y="11336"/>
                      <a:pt x="11336" y="0"/>
                      <a:pt x="25320" y="0"/>
                    </a:cubicBezTo>
                    <a:cubicBezTo>
                      <a:pt x="39303" y="0"/>
                      <a:pt x="50639" y="11336"/>
                      <a:pt x="50639" y="2532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5" name="Google Shape;195;p21"/>
              <p:cNvSpPr/>
              <p:nvPr/>
            </p:nvSpPr>
            <p:spPr>
              <a:xfrm>
                <a:off x="12433257" y="5142111"/>
                <a:ext cx="84986" cy="85007"/>
              </a:xfrm>
              <a:custGeom>
                <a:avLst/>
                <a:gdLst/>
                <a:ahLst/>
                <a:cxnLst/>
                <a:rect l="l" t="t" r="r" b="b"/>
                <a:pathLst>
                  <a:path w="84986" h="85007" extrusionOk="0">
                    <a:moveTo>
                      <a:pt x="84903" y="45296"/>
                    </a:moveTo>
                    <a:cubicBezTo>
                      <a:pt x="86350" y="21966"/>
                      <a:pt x="68627" y="1711"/>
                      <a:pt x="45296" y="83"/>
                    </a:cubicBezTo>
                    <a:cubicBezTo>
                      <a:pt x="21966" y="-1364"/>
                      <a:pt x="1710" y="16360"/>
                      <a:pt x="83" y="39690"/>
                    </a:cubicBezTo>
                    <a:cubicBezTo>
                      <a:pt x="-1364" y="63020"/>
                      <a:pt x="16359" y="83276"/>
                      <a:pt x="39690" y="84903"/>
                    </a:cubicBezTo>
                    <a:cubicBezTo>
                      <a:pt x="63201" y="86531"/>
                      <a:pt x="83456" y="68807"/>
                      <a:pt x="84903" y="45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6" name="Google Shape;196;p21"/>
              <p:cNvSpPr/>
              <p:nvPr/>
            </p:nvSpPr>
            <p:spPr>
              <a:xfrm>
                <a:off x="12717599" y="5671510"/>
                <a:ext cx="39513" cy="39514"/>
              </a:xfrm>
              <a:custGeom>
                <a:avLst/>
                <a:gdLst/>
                <a:ahLst/>
                <a:cxnLst/>
                <a:rect l="l" t="t" r="r" b="b"/>
                <a:pathLst>
                  <a:path w="39513" h="39514" extrusionOk="0">
                    <a:moveTo>
                      <a:pt x="39470" y="21023"/>
                    </a:moveTo>
                    <a:cubicBezTo>
                      <a:pt x="40194" y="10172"/>
                      <a:pt x="31874" y="767"/>
                      <a:pt x="21023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342"/>
                      <a:pt x="7639" y="38747"/>
                      <a:pt x="18491" y="39470"/>
                    </a:cubicBezTo>
                    <a:cubicBezTo>
                      <a:pt x="29342" y="40194"/>
                      <a:pt x="38746" y="31874"/>
                      <a:pt x="39470" y="210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7" name="Google Shape;197;p21"/>
              <p:cNvSpPr/>
              <p:nvPr/>
            </p:nvSpPr>
            <p:spPr>
              <a:xfrm>
                <a:off x="12529878" y="5685262"/>
                <a:ext cx="25213" cy="25214"/>
              </a:xfrm>
              <a:custGeom>
                <a:avLst/>
                <a:gdLst/>
                <a:ahLst/>
                <a:cxnLst/>
                <a:rect l="l" t="t" r="r" b="b"/>
                <a:pathLst>
                  <a:path w="25213" h="25214" extrusionOk="0">
                    <a:moveTo>
                      <a:pt x="25176" y="13421"/>
                    </a:moveTo>
                    <a:cubicBezTo>
                      <a:pt x="25719" y="6548"/>
                      <a:pt x="20293" y="399"/>
                      <a:pt x="13420" y="37"/>
                    </a:cubicBezTo>
                    <a:cubicBezTo>
                      <a:pt x="6548" y="-505"/>
                      <a:pt x="399" y="4921"/>
                      <a:pt x="37" y="11793"/>
                    </a:cubicBezTo>
                    <a:cubicBezTo>
                      <a:pt x="-505" y="18666"/>
                      <a:pt x="4920" y="24815"/>
                      <a:pt x="11793" y="25176"/>
                    </a:cubicBezTo>
                    <a:cubicBezTo>
                      <a:pt x="18665" y="25719"/>
                      <a:pt x="24634" y="20474"/>
                      <a:pt x="25176" y="134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8" name="Google Shape;198;p21"/>
              <p:cNvSpPr/>
              <p:nvPr/>
            </p:nvSpPr>
            <p:spPr>
              <a:xfrm>
                <a:off x="12530618" y="5677320"/>
                <a:ext cx="19395" cy="19395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395" extrusionOk="0">
                    <a:moveTo>
                      <a:pt x="19374" y="10330"/>
                    </a:moveTo>
                    <a:cubicBezTo>
                      <a:pt x="19735" y="4905"/>
                      <a:pt x="15575" y="383"/>
                      <a:pt x="10331" y="22"/>
                    </a:cubicBezTo>
                    <a:cubicBezTo>
                      <a:pt x="4905" y="-340"/>
                      <a:pt x="383" y="3820"/>
                      <a:pt x="22" y="9065"/>
                    </a:cubicBezTo>
                    <a:cubicBezTo>
                      <a:pt x="-340" y="14309"/>
                      <a:pt x="3820" y="19011"/>
                      <a:pt x="9065" y="19373"/>
                    </a:cubicBezTo>
                    <a:cubicBezTo>
                      <a:pt x="14310" y="19735"/>
                      <a:pt x="19011" y="15575"/>
                      <a:pt x="19374" y="103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99" name="Google Shape;199;p21"/>
              <p:cNvSpPr/>
              <p:nvPr/>
            </p:nvSpPr>
            <p:spPr>
              <a:xfrm>
                <a:off x="11878731" y="6854053"/>
                <a:ext cx="100049" cy="100048"/>
              </a:xfrm>
              <a:custGeom>
                <a:avLst/>
                <a:gdLst/>
                <a:ahLst/>
                <a:cxnLst/>
                <a:rect l="l" t="t" r="r" b="b"/>
                <a:pathLst>
                  <a:path w="100049" h="100048" extrusionOk="0">
                    <a:moveTo>
                      <a:pt x="99940" y="53279"/>
                    </a:moveTo>
                    <a:cubicBezTo>
                      <a:pt x="101749" y="25609"/>
                      <a:pt x="80770" y="1917"/>
                      <a:pt x="53280" y="109"/>
                    </a:cubicBezTo>
                    <a:cubicBezTo>
                      <a:pt x="25609" y="-1700"/>
                      <a:pt x="1917" y="19279"/>
                      <a:pt x="109" y="46769"/>
                    </a:cubicBezTo>
                    <a:cubicBezTo>
                      <a:pt x="-1700" y="74440"/>
                      <a:pt x="19279" y="98131"/>
                      <a:pt x="46769" y="99940"/>
                    </a:cubicBezTo>
                    <a:cubicBezTo>
                      <a:pt x="74259" y="101749"/>
                      <a:pt x="98132" y="80770"/>
                      <a:pt x="99940" y="53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0" name="Google Shape;200;p21"/>
              <p:cNvSpPr/>
              <p:nvPr/>
            </p:nvSpPr>
            <p:spPr>
              <a:xfrm>
                <a:off x="10699321" y="5914275"/>
                <a:ext cx="147006" cy="146986"/>
              </a:xfrm>
              <a:custGeom>
                <a:avLst/>
                <a:gdLst/>
                <a:ahLst/>
                <a:cxnLst/>
                <a:rect l="l" t="t" r="r" b="b"/>
                <a:pathLst>
                  <a:path w="147006" h="146986" extrusionOk="0">
                    <a:moveTo>
                      <a:pt x="146840" y="78296"/>
                    </a:moveTo>
                    <a:cubicBezTo>
                      <a:pt x="149552" y="37785"/>
                      <a:pt x="118807" y="2879"/>
                      <a:pt x="78296" y="167"/>
                    </a:cubicBezTo>
                    <a:cubicBezTo>
                      <a:pt x="37784" y="-2546"/>
                      <a:pt x="2879" y="28199"/>
                      <a:pt x="167" y="68711"/>
                    </a:cubicBezTo>
                    <a:cubicBezTo>
                      <a:pt x="-2546" y="109222"/>
                      <a:pt x="28199" y="144127"/>
                      <a:pt x="68710" y="146840"/>
                    </a:cubicBezTo>
                    <a:cubicBezTo>
                      <a:pt x="109222" y="149371"/>
                      <a:pt x="144127" y="118807"/>
                      <a:pt x="146840" y="78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1" name="Google Shape;201;p21"/>
              <p:cNvSpPr/>
              <p:nvPr/>
            </p:nvSpPr>
            <p:spPr>
              <a:xfrm>
                <a:off x="10363055" y="6323672"/>
                <a:ext cx="40597" cy="40597"/>
              </a:xfrm>
              <a:custGeom>
                <a:avLst/>
                <a:gdLst/>
                <a:ahLst/>
                <a:cxnLst/>
                <a:rect l="l" t="t" r="r" b="b"/>
                <a:pathLst>
                  <a:path w="40597" h="40597" extrusionOk="0">
                    <a:moveTo>
                      <a:pt x="40554" y="21565"/>
                    </a:moveTo>
                    <a:cubicBezTo>
                      <a:pt x="41278" y="10352"/>
                      <a:pt x="32778" y="767"/>
                      <a:pt x="21565" y="43"/>
                    </a:cubicBezTo>
                    <a:cubicBezTo>
                      <a:pt x="10352" y="-681"/>
                      <a:pt x="766" y="7820"/>
                      <a:pt x="43" y="19033"/>
                    </a:cubicBezTo>
                    <a:cubicBezTo>
                      <a:pt x="-680" y="30246"/>
                      <a:pt x="7820" y="39831"/>
                      <a:pt x="19033" y="40554"/>
                    </a:cubicBezTo>
                    <a:cubicBezTo>
                      <a:pt x="30246" y="41278"/>
                      <a:pt x="39831" y="32778"/>
                      <a:pt x="40554" y="21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2" name="Google Shape;202;p21"/>
              <p:cNvSpPr/>
              <p:nvPr/>
            </p:nvSpPr>
            <p:spPr>
              <a:xfrm>
                <a:off x="11924403" y="6899724"/>
                <a:ext cx="8525" cy="8525"/>
              </a:xfrm>
              <a:custGeom>
                <a:avLst/>
                <a:gdLst/>
                <a:ahLst/>
                <a:cxnLst/>
                <a:rect l="l" t="t" r="r" b="b"/>
                <a:pathLst>
                  <a:path w="8525" h="8525" extrusionOk="0">
                    <a:moveTo>
                      <a:pt x="8513" y="4534"/>
                    </a:moveTo>
                    <a:cubicBezTo>
                      <a:pt x="8693" y="2183"/>
                      <a:pt x="6885" y="194"/>
                      <a:pt x="4534" y="12"/>
                    </a:cubicBezTo>
                    <a:cubicBezTo>
                      <a:pt x="2183" y="-169"/>
                      <a:pt x="193" y="1640"/>
                      <a:pt x="12" y="3991"/>
                    </a:cubicBezTo>
                    <a:cubicBezTo>
                      <a:pt x="-168" y="6343"/>
                      <a:pt x="1640" y="8332"/>
                      <a:pt x="3991" y="8513"/>
                    </a:cubicBezTo>
                    <a:cubicBezTo>
                      <a:pt x="6342" y="8694"/>
                      <a:pt x="8332" y="6885"/>
                      <a:pt x="8513" y="45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3" name="Google Shape;203;p21"/>
              <p:cNvSpPr/>
              <p:nvPr/>
            </p:nvSpPr>
            <p:spPr>
              <a:xfrm>
                <a:off x="11868649" y="5695906"/>
                <a:ext cx="62159" cy="62181"/>
              </a:xfrm>
              <a:custGeom>
                <a:avLst/>
                <a:gdLst/>
                <a:ahLst/>
                <a:cxnLst/>
                <a:rect l="l" t="t" r="r" b="b"/>
                <a:pathLst>
                  <a:path w="62159" h="62181" extrusionOk="0">
                    <a:moveTo>
                      <a:pt x="62096" y="33160"/>
                    </a:moveTo>
                    <a:cubicBezTo>
                      <a:pt x="63182" y="15978"/>
                      <a:pt x="50160" y="1329"/>
                      <a:pt x="33160" y="63"/>
                    </a:cubicBezTo>
                    <a:cubicBezTo>
                      <a:pt x="15978" y="-1022"/>
                      <a:pt x="1329" y="11999"/>
                      <a:pt x="63" y="29000"/>
                    </a:cubicBezTo>
                    <a:cubicBezTo>
                      <a:pt x="-1022" y="46181"/>
                      <a:pt x="12000" y="60830"/>
                      <a:pt x="29000" y="62096"/>
                    </a:cubicBezTo>
                    <a:cubicBezTo>
                      <a:pt x="46181" y="63362"/>
                      <a:pt x="61011" y="50341"/>
                      <a:pt x="62096" y="331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4" name="Google Shape;204;p21"/>
              <p:cNvSpPr/>
              <p:nvPr/>
            </p:nvSpPr>
            <p:spPr>
              <a:xfrm>
                <a:off x="10768381" y="5983335"/>
                <a:ext cx="8886" cy="8874"/>
              </a:xfrm>
              <a:custGeom>
                <a:avLst/>
                <a:gdLst/>
                <a:ahLst/>
                <a:cxnLst/>
                <a:rect l="l" t="t" r="r" b="b"/>
                <a:pathLst>
                  <a:path w="8886" h="8874" extrusionOk="0">
                    <a:moveTo>
                      <a:pt x="8874" y="4715"/>
                    </a:moveTo>
                    <a:cubicBezTo>
                      <a:pt x="9055" y="2364"/>
                      <a:pt x="7247" y="193"/>
                      <a:pt x="4715" y="12"/>
                    </a:cubicBezTo>
                    <a:cubicBezTo>
                      <a:pt x="2363" y="-168"/>
                      <a:pt x="193" y="1640"/>
                      <a:pt x="12" y="4172"/>
                    </a:cubicBezTo>
                    <a:cubicBezTo>
                      <a:pt x="-169" y="6523"/>
                      <a:pt x="1640" y="8694"/>
                      <a:pt x="4172" y="8875"/>
                    </a:cubicBezTo>
                    <a:cubicBezTo>
                      <a:pt x="6523" y="8875"/>
                      <a:pt x="8693" y="7066"/>
                      <a:pt x="8874" y="47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5" name="Google Shape;205;p21"/>
              <p:cNvSpPr/>
              <p:nvPr/>
            </p:nvSpPr>
            <p:spPr>
              <a:xfrm>
                <a:off x="11920772" y="6896093"/>
                <a:ext cx="15967" cy="15967"/>
              </a:xfrm>
              <a:custGeom>
                <a:avLst/>
                <a:gdLst/>
                <a:ahLst/>
                <a:cxnLst/>
                <a:rect l="l" t="t" r="r" b="b"/>
                <a:pathLst>
                  <a:path w="15967" h="15967" extrusionOk="0">
                    <a:moveTo>
                      <a:pt x="15941" y="8526"/>
                    </a:moveTo>
                    <a:cubicBezTo>
                      <a:pt x="16303" y="4186"/>
                      <a:pt x="12867" y="207"/>
                      <a:pt x="8526" y="26"/>
                    </a:cubicBezTo>
                    <a:cubicBezTo>
                      <a:pt x="4186" y="-335"/>
                      <a:pt x="207" y="3101"/>
                      <a:pt x="26" y="7441"/>
                    </a:cubicBezTo>
                    <a:cubicBezTo>
                      <a:pt x="-336" y="11782"/>
                      <a:pt x="3101" y="15760"/>
                      <a:pt x="7441" y="15941"/>
                    </a:cubicBezTo>
                    <a:cubicBezTo>
                      <a:pt x="11962" y="16303"/>
                      <a:pt x="15760" y="12867"/>
                      <a:pt x="15941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6" name="Google Shape;206;p21"/>
              <p:cNvSpPr/>
              <p:nvPr/>
            </p:nvSpPr>
            <p:spPr>
              <a:xfrm>
                <a:off x="12281186" y="6714487"/>
                <a:ext cx="48941" cy="48940"/>
              </a:xfrm>
              <a:custGeom>
                <a:avLst/>
                <a:gdLst/>
                <a:ahLst/>
                <a:cxnLst/>
                <a:rect l="l" t="t" r="r" b="b"/>
                <a:pathLst>
                  <a:path w="48941" h="48940" extrusionOk="0">
                    <a:moveTo>
                      <a:pt x="48886" y="26098"/>
                    </a:moveTo>
                    <a:cubicBezTo>
                      <a:pt x="49790" y="12534"/>
                      <a:pt x="39481" y="959"/>
                      <a:pt x="26098" y="55"/>
                    </a:cubicBezTo>
                    <a:cubicBezTo>
                      <a:pt x="12534" y="-849"/>
                      <a:pt x="959" y="9460"/>
                      <a:pt x="55" y="22843"/>
                    </a:cubicBezTo>
                    <a:cubicBezTo>
                      <a:pt x="-849" y="36407"/>
                      <a:pt x="9459" y="47982"/>
                      <a:pt x="22843" y="48886"/>
                    </a:cubicBezTo>
                    <a:cubicBezTo>
                      <a:pt x="36407" y="49790"/>
                      <a:pt x="48163" y="39481"/>
                      <a:pt x="48886" y="260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7" name="Google Shape;207;p21"/>
              <p:cNvSpPr/>
              <p:nvPr/>
            </p:nvSpPr>
            <p:spPr>
              <a:xfrm>
                <a:off x="11894202" y="5721640"/>
                <a:ext cx="10872" cy="10872"/>
              </a:xfrm>
              <a:custGeom>
                <a:avLst/>
                <a:gdLst/>
                <a:ahLst/>
                <a:cxnLst/>
                <a:rect l="l" t="t" r="r" b="b"/>
                <a:pathLst>
                  <a:path w="10872" h="10872" extrusionOk="0">
                    <a:moveTo>
                      <a:pt x="10862" y="5798"/>
                    </a:moveTo>
                    <a:cubicBezTo>
                      <a:pt x="11043" y="2723"/>
                      <a:pt x="8872" y="191"/>
                      <a:pt x="5798" y="11"/>
                    </a:cubicBezTo>
                    <a:cubicBezTo>
                      <a:pt x="2723" y="-170"/>
                      <a:pt x="191" y="2000"/>
                      <a:pt x="11" y="5074"/>
                    </a:cubicBezTo>
                    <a:cubicBezTo>
                      <a:pt x="-170" y="8149"/>
                      <a:pt x="2000" y="10681"/>
                      <a:pt x="5074" y="10862"/>
                    </a:cubicBezTo>
                    <a:cubicBezTo>
                      <a:pt x="8149" y="11043"/>
                      <a:pt x="10681" y="8872"/>
                      <a:pt x="10862" y="57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8" name="Google Shape;208;p21"/>
              <p:cNvSpPr/>
              <p:nvPr/>
            </p:nvSpPr>
            <p:spPr>
              <a:xfrm>
                <a:off x="12463524" y="5172197"/>
                <a:ext cx="24813" cy="2483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33" extrusionOk="0">
                    <a:moveTo>
                      <a:pt x="24795" y="13221"/>
                    </a:moveTo>
                    <a:cubicBezTo>
                      <a:pt x="25157" y="6348"/>
                      <a:pt x="20093" y="380"/>
                      <a:pt x="13220" y="18"/>
                    </a:cubicBezTo>
                    <a:cubicBezTo>
                      <a:pt x="6348" y="-344"/>
                      <a:pt x="380" y="4720"/>
                      <a:pt x="18" y="11593"/>
                    </a:cubicBezTo>
                    <a:cubicBezTo>
                      <a:pt x="-344" y="18465"/>
                      <a:pt x="4720" y="24434"/>
                      <a:pt x="11593" y="24795"/>
                    </a:cubicBezTo>
                    <a:cubicBezTo>
                      <a:pt x="18284" y="25338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09" name="Google Shape;209;p21"/>
              <p:cNvSpPr/>
              <p:nvPr/>
            </p:nvSpPr>
            <p:spPr>
              <a:xfrm>
                <a:off x="11830869" y="2825946"/>
                <a:ext cx="39154" cy="39135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35" extrusionOk="0">
                    <a:moveTo>
                      <a:pt x="39109" y="20843"/>
                    </a:moveTo>
                    <a:cubicBezTo>
                      <a:pt x="39833" y="9992"/>
                      <a:pt x="31694" y="587"/>
                      <a:pt x="20843" y="45"/>
                    </a:cubicBezTo>
                    <a:cubicBezTo>
                      <a:pt x="9992" y="-679"/>
                      <a:pt x="587" y="7460"/>
                      <a:pt x="45" y="18311"/>
                    </a:cubicBezTo>
                    <a:cubicBezTo>
                      <a:pt x="-679" y="29162"/>
                      <a:pt x="7460" y="38567"/>
                      <a:pt x="18311" y="39109"/>
                    </a:cubicBezTo>
                    <a:cubicBezTo>
                      <a:pt x="29162" y="39652"/>
                      <a:pt x="38386" y="31694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0" name="Google Shape;210;p21"/>
              <p:cNvSpPr/>
              <p:nvPr/>
            </p:nvSpPr>
            <p:spPr>
              <a:xfrm>
                <a:off x="12187670" y="3138980"/>
                <a:ext cx="55841" cy="55822"/>
              </a:xfrm>
              <a:custGeom>
                <a:avLst/>
                <a:gdLst/>
                <a:ahLst/>
                <a:cxnLst/>
                <a:rect l="l" t="t" r="r" b="b"/>
                <a:pathLst>
                  <a:path w="55841" h="55822" extrusionOk="0">
                    <a:moveTo>
                      <a:pt x="55772" y="29730"/>
                    </a:moveTo>
                    <a:cubicBezTo>
                      <a:pt x="56858" y="14357"/>
                      <a:pt x="45102" y="1155"/>
                      <a:pt x="29729" y="69"/>
                    </a:cubicBezTo>
                    <a:cubicBezTo>
                      <a:pt x="14357" y="-1016"/>
                      <a:pt x="1155" y="10740"/>
                      <a:pt x="70" y="26113"/>
                    </a:cubicBezTo>
                    <a:cubicBezTo>
                      <a:pt x="-1016" y="41485"/>
                      <a:pt x="10740" y="54687"/>
                      <a:pt x="26112" y="55773"/>
                    </a:cubicBezTo>
                    <a:cubicBezTo>
                      <a:pt x="41485" y="56677"/>
                      <a:pt x="54687" y="45102"/>
                      <a:pt x="55772" y="297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1" name="Google Shape;211;p21"/>
              <p:cNvSpPr/>
              <p:nvPr/>
            </p:nvSpPr>
            <p:spPr>
              <a:xfrm>
                <a:off x="8138501" y="5325312"/>
                <a:ext cx="80653" cy="80653"/>
              </a:xfrm>
              <a:custGeom>
                <a:avLst/>
                <a:gdLst/>
                <a:ahLst/>
                <a:cxnLst/>
                <a:rect l="l" t="t" r="r" b="b"/>
                <a:pathLst>
                  <a:path w="80653" h="80653" extrusionOk="0">
                    <a:moveTo>
                      <a:pt x="80567" y="42949"/>
                    </a:moveTo>
                    <a:cubicBezTo>
                      <a:pt x="82014" y="20704"/>
                      <a:pt x="65194" y="1534"/>
                      <a:pt x="42949" y="87"/>
                    </a:cubicBezTo>
                    <a:cubicBezTo>
                      <a:pt x="20704" y="-1360"/>
                      <a:pt x="1534" y="15460"/>
                      <a:pt x="87" y="37705"/>
                    </a:cubicBezTo>
                    <a:cubicBezTo>
                      <a:pt x="-1360" y="59950"/>
                      <a:pt x="15459" y="79120"/>
                      <a:pt x="37705" y="80567"/>
                    </a:cubicBezTo>
                    <a:cubicBezTo>
                      <a:pt x="59950" y="82014"/>
                      <a:pt x="79120" y="65194"/>
                      <a:pt x="80567" y="429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2" name="Google Shape;212;p21"/>
              <p:cNvSpPr/>
              <p:nvPr/>
            </p:nvSpPr>
            <p:spPr>
              <a:xfrm>
                <a:off x="8049711" y="5812001"/>
                <a:ext cx="69421" cy="69421"/>
              </a:xfrm>
              <a:custGeom>
                <a:avLst/>
                <a:gdLst/>
                <a:ahLst/>
                <a:cxnLst/>
                <a:rect l="l" t="t" r="r" b="b"/>
                <a:pathLst>
                  <a:path w="69421" h="69421" extrusionOk="0">
                    <a:moveTo>
                      <a:pt x="69344" y="36971"/>
                    </a:moveTo>
                    <a:cubicBezTo>
                      <a:pt x="70610" y="17801"/>
                      <a:pt x="56142" y="1343"/>
                      <a:pt x="36971" y="77"/>
                    </a:cubicBezTo>
                    <a:cubicBezTo>
                      <a:pt x="17801" y="-1189"/>
                      <a:pt x="1343" y="13279"/>
                      <a:pt x="77" y="32450"/>
                    </a:cubicBezTo>
                    <a:cubicBezTo>
                      <a:pt x="-1189" y="51620"/>
                      <a:pt x="13279" y="68078"/>
                      <a:pt x="32450" y="69344"/>
                    </a:cubicBezTo>
                    <a:cubicBezTo>
                      <a:pt x="51621" y="70611"/>
                      <a:pt x="68078" y="56142"/>
                      <a:pt x="69344" y="369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3" name="Google Shape;213;p21"/>
              <p:cNvSpPr/>
              <p:nvPr/>
            </p:nvSpPr>
            <p:spPr>
              <a:xfrm>
                <a:off x="7773757" y="5442907"/>
                <a:ext cx="36447" cy="3644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46" extrusionOk="0">
                    <a:moveTo>
                      <a:pt x="36399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452" y="-676"/>
                      <a:pt x="771" y="6920"/>
                      <a:pt x="48" y="17048"/>
                    </a:cubicBezTo>
                    <a:cubicBezTo>
                      <a:pt x="-676" y="26995"/>
                      <a:pt x="6920" y="35676"/>
                      <a:pt x="17048" y="36399"/>
                    </a:cubicBezTo>
                    <a:cubicBezTo>
                      <a:pt x="27176" y="37123"/>
                      <a:pt x="35857" y="29527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4" name="Google Shape;214;p21"/>
              <p:cNvSpPr/>
              <p:nvPr/>
            </p:nvSpPr>
            <p:spPr>
              <a:xfrm>
                <a:off x="8165679" y="5352670"/>
                <a:ext cx="25936" cy="25917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7" extrusionOk="0">
                    <a:moveTo>
                      <a:pt x="25900" y="13783"/>
                    </a:moveTo>
                    <a:cubicBezTo>
                      <a:pt x="26442" y="6729"/>
                      <a:pt x="21017" y="580"/>
                      <a:pt x="13782" y="37"/>
                    </a:cubicBezTo>
                    <a:cubicBezTo>
                      <a:pt x="6729" y="-505"/>
                      <a:pt x="580" y="4921"/>
                      <a:pt x="37" y="12155"/>
                    </a:cubicBezTo>
                    <a:cubicBezTo>
                      <a:pt x="-505" y="19208"/>
                      <a:pt x="4920" y="25357"/>
                      <a:pt x="12155" y="25900"/>
                    </a:cubicBezTo>
                    <a:cubicBezTo>
                      <a:pt x="19389" y="26262"/>
                      <a:pt x="25538" y="21017"/>
                      <a:pt x="25900" y="137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5" name="Google Shape;215;p21"/>
              <p:cNvSpPr/>
              <p:nvPr/>
            </p:nvSpPr>
            <p:spPr>
              <a:xfrm>
                <a:off x="8132938" y="4901614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2"/>
                      <a:pt x="32958" y="766"/>
                      <a:pt x="21746" y="43"/>
                    </a:cubicBezTo>
                    <a:cubicBezTo>
                      <a:pt x="10533" y="-681"/>
                      <a:pt x="766" y="7820"/>
                      <a:pt x="43" y="19032"/>
                    </a:cubicBezTo>
                    <a:cubicBezTo>
                      <a:pt x="-680" y="30246"/>
                      <a:pt x="7820" y="40012"/>
                      <a:pt x="19033" y="40735"/>
                    </a:cubicBezTo>
                    <a:cubicBezTo>
                      <a:pt x="30427" y="41459"/>
                      <a:pt x="40012" y="32958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6" name="Google Shape;216;p21"/>
              <p:cNvSpPr/>
              <p:nvPr/>
            </p:nvSpPr>
            <p:spPr>
              <a:xfrm>
                <a:off x="7770689" y="5439838"/>
                <a:ext cx="42583" cy="42583"/>
              </a:xfrm>
              <a:custGeom>
                <a:avLst/>
                <a:gdLst/>
                <a:ahLst/>
                <a:cxnLst/>
                <a:rect l="l" t="t" r="r" b="b"/>
                <a:pathLst>
                  <a:path w="42583" h="42583" extrusionOk="0">
                    <a:moveTo>
                      <a:pt x="42542" y="22648"/>
                    </a:moveTo>
                    <a:cubicBezTo>
                      <a:pt x="43266" y="10893"/>
                      <a:pt x="34404" y="765"/>
                      <a:pt x="22648" y="41"/>
                    </a:cubicBezTo>
                    <a:cubicBezTo>
                      <a:pt x="10893" y="-682"/>
                      <a:pt x="765" y="8180"/>
                      <a:pt x="41" y="19935"/>
                    </a:cubicBezTo>
                    <a:cubicBezTo>
                      <a:pt x="-682" y="31691"/>
                      <a:pt x="8180" y="41819"/>
                      <a:pt x="19935" y="42542"/>
                    </a:cubicBezTo>
                    <a:cubicBezTo>
                      <a:pt x="31691" y="43266"/>
                      <a:pt x="41819" y="34404"/>
                      <a:pt x="42542" y="2264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7" name="Google Shape;217;p21"/>
              <p:cNvSpPr/>
              <p:nvPr/>
            </p:nvSpPr>
            <p:spPr>
              <a:xfrm rot="-4644878">
                <a:off x="11296721" y="4960603"/>
                <a:ext cx="61130" cy="61130"/>
              </a:xfrm>
              <a:custGeom>
                <a:avLst/>
                <a:gdLst/>
                <a:ahLst/>
                <a:cxnLst/>
                <a:rect l="l" t="t" r="r" b="b"/>
                <a:pathLst>
                  <a:path w="61130" h="61130" extrusionOk="0">
                    <a:moveTo>
                      <a:pt x="61131" y="30565"/>
                    </a:moveTo>
                    <a:cubicBezTo>
                      <a:pt x="61131" y="47446"/>
                      <a:pt x="47446" y="61131"/>
                      <a:pt x="30565" y="61131"/>
                    </a:cubicBezTo>
                    <a:cubicBezTo>
                      <a:pt x="13685" y="61131"/>
                      <a:pt x="0" y="47446"/>
                      <a:pt x="0" y="30565"/>
                    </a:cubicBezTo>
                    <a:cubicBezTo>
                      <a:pt x="0" y="13685"/>
                      <a:pt x="13685" y="0"/>
                      <a:pt x="30565" y="0"/>
                    </a:cubicBezTo>
                    <a:cubicBezTo>
                      <a:pt x="47446" y="0"/>
                      <a:pt x="61131" y="13685"/>
                      <a:pt x="61131" y="30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8" name="Google Shape;218;p21"/>
              <p:cNvSpPr/>
              <p:nvPr/>
            </p:nvSpPr>
            <p:spPr>
              <a:xfrm>
                <a:off x="11826898" y="5138721"/>
                <a:ext cx="26296" cy="26277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7" extrusionOk="0">
                    <a:moveTo>
                      <a:pt x="26260" y="13962"/>
                    </a:moveTo>
                    <a:cubicBezTo>
                      <a:pt x="26803" y="6728"/>
                      <a:pt x="21196" y="398"/>
                      <a:pt x="13962" y="36"/>
                    </a:cubicBezTo>
                    <a:cubicBezTo>
                      <a:pt x="6728" y="-506"/>
                      <a:pt x="398" y="5100"/>
                      <a:pt x="36" y="12334"/>
                    </a:cubicBezTo>
                    <a:cubicBezTo>
                      <a:pt x="-506" y="19568"/>
                      <a:pt x="5100" y="25898"/>
                      <a:pt x="12334" y="26260"/>
                    </a:cubicBezTo>
                    <a:cubicBezTo>
                      <a:pt x="19569" y="26622"/>
                      <a:pt x="25718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19" name="Google Shape;219;p21"/>
              <p:cNvSpPr/>
              <p:nvPr/>
            </p:nvSpPr>
            <p:spPr>
              <a:xfrm>
                <a:off x="11215445" y="5297165"/>
                <a:ext cx="21743" cy="21743"/>
              </a:xfrm>
              <a:custGeom>
                <a:avLst/>
                <a:gdLst/>
                <a:ahLst/>
                <a:cxnLst/>
                <a:rect l="l" t="t" r="r" b="b"/>
                <a:pathLst>
                  <a:path w="21743" h="21743" extrusionOk="0">
                    <a:moveTo>
                      <a:pt x="21723" y="11595"/>
                    </a:moveTo>
                    <a:cubicBezTo>
                      <a:pt x="22085" y="5627"/>
                      <a:pt x="17563" y="382"/>
                      <a:pt x="11595" y="20"/>
                    </a:cubicBezTo>
                    <a:cubicBezTo>
                      <a:pt x="5627" y="-342"/>
                      <a:pt x="382" y="4180"/>
                      <a:pt x="20" y="10148"/>
                    </a:cubicBezTo>
                    <a:cubicBezTo>
                      <a:pt x="-342" y="16116"/>
                      <a:pt x="4180" y="21361"/>
                      <a:pt x="10148" y="21723"/>
                    </a:cubicBezTo>
                    <a:cubicBezTo>
                      <a:pt x="16116" y="22085"/>
                      <a:pt x="21180" y="17563"/>
                      <a:pt x="21723" y="1159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0" name="Google Shape;220;p21"/>
              <p:cNvSpPr/>
              <p:nvPr/>
            </p:nvSpPr>
            <p:spPr>
              <a:xfrm>
                <a:off x="11365161" y="4188134"/>
                <a:ext cx="53455" cy="53455"/>
              </a:xfrm>
              <a:custGeom>
                <a:avLst/>
                <a:gdLst/>
                <a:ahLst/>
                <a:cxnLst/>
                <a:rect l="l" t="t" r="r" b="b"/>
                <a:pathLst>
                  <a:path w="53455" h="53455" extrusionOk="0">
                    <a:moveTo>
                      <a:pt x="53404" y="28446"/>
                    </a:moveTo>
                    <a:cubicBezTo>
                      <a:pt x="54308" y="13797"/>
                      <a:pt x="43276" y="956"/>
                      <a:pt x="28446" y="52"/>
                    </a:cubicBezTo>
                    <a:cubicBezTo>
                      <a:pt x="13797" y="-852"/>
                      <a:pt x="956" y="10180"/>
                      <a:pt x="52" y="25010"/>
                    </a:cubicBezTo>
                    <a:cubicBezTo>
                      <a:pt x="-852" y="39659"/>
                      <a:pt x="10180" y="52500"/>
                      <a:pt x="25010" y="53404"/>
                    </a:cubicBezTo>
                    <a:cubicBezTo>
                      <a:pt x="39840" y="54308"/>
                      <a:pt x="52500" y="43276"/>
                      <a:pt x="53404" y="2844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1" name="Google Shape;221;p21"/>
              <p:cNvSpPr/>
              <p:nvPr/>
            </p:nvSpPr>
            <p:spPr>
              <a:xfrm>
                <a:off x="12272838" y="3881554"/>
                <a:ext cx="84264" cy="84264"/>
              </a:xfrm>
              <a:custGeom>
                <a:avLst/>
                <a:gdLst/>
                <a:ahLst/>
                <a:cxnLst/>
                <a:rect l="l" t="t" r="r" b="b"/>
                <a:pathLst>
                  <a:path w="84264" h="84264" extrusionOk="0">
                    <a:moveTo>
                      <a:pt x="84181" y="44935"/>
                    </a:moveTo>
                    <a:cubicBezTo>
                      <a:pt x="85627" y="21786"/>
                      <a:pt x="68084" y="1711"/>
                      <a:pt x="44935" y="83"/>
                    </a:cubicBezTo>
                    <a:cubicBezTo>
                      <a:pt x="21786" y="-1363"/>
                      <a:pt x="1711" y="16179"/>
                      <a:pt x="83" y="39329"/>
                    </a:cubicBezTo>
                    <a:cubicBezTo>
                      <a:pt x="-1364" y="62478"/>
                      <a:pt x="16179" y="82553"/>
                      <a:pt x="39329" y="84181"/>
                    </a:cubicBezTo>
                    <a:cubicBezTo>
                      <a:pt x="62478" y="85628"/>
                      <a:pt x="82553" y="68085"/>
                      <a:pt x="84181" y="449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2" name="Google Shape;222;p21"/>
              <p:cNvSpPr/>
              <p:nvPr/>
            </p:nvSpPr>
            <p:spPr>
              <a:xfrm>
                <a:off x="11580754" y="4269172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899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3" name="Google Shape;223;p21"/>
              <p:cNvSpPr/>
              <p:nvPr/>
            </p:nvSpPr>
            <p:spPr>
              <a:xfrm>
                <a:off x="10656401" y="4988786"/>
                <a:ext cx="40235" cy="40259"/>
              </a:xfrm>
              <a:custGeom>
                <a:avLst/>
                <a:gdLst/>
                <a:ahLst/>
                <a:cxnLst/>
                <a:rect l="l" t="t" r="r" b="b"/>
                <a:pathLst>
                  <a:path w="40235" h="40259" extrusionOk="0">
                    <a:moveTo>
                      <a:pt x="40193" y="21565"/>
                    </a:moveTo>
                    <a:cubicBezTo>
                      <a:pt x="40916" y="10533"/>
                      <a:pt x="32416" y="947"/>
                      <a:pt x="21384" y="43"/>
                    </a:cubicBezTo>
                    <a:cubicBezTo>
                      <a:pt x="10352" y="-680"/>
                      <a:pt x="766" y="7820"/>
                      <a:pt x="43" y="18852"/>
                    </a:cubicBezTo>
                    <a:cubicBezTo>
                      <a:pt x="-681" y="29884"/>
                      <a:pt x="7820" y="39469"/>
                      <a:pt x="18852" y="40193"/>
                    </a:cubicBezTo>
                    <a:cubicBezTo>
                      <a:pt x="29884" y="41097"/>
                      <a:pt x="39469" y="32778"/>
                      <a:pt x="40193" y="21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4" name="Google Shape;224;p21"/>
              <p:cNvSpPr/>
              <p:nvPr/>
            </p:nvSpPr>
            <p:spPr>
              <a:xfrm>
                <a:off x="10438972" y="5302164"/>
                <a:ext cx="82278" cy="82299"/>
              </a:xfrm>
              <a:custGeom>
                <a:avLst/>
                <a:gdLst/>
                <a:ahLst/>
                <a:cxnLst/>
                <a:rect l="l" t="t" r="r" b="b"/>
                <a:pathLst>
                  <a:path w="82278" h="82299" extrusionOk="0">
                    <a:moveTo>
                      <a:pt x="82193" y="43852"/>
                    </a:moveTo>
                    <a:cubicBezTo>
                      <a:pt x="83640" y="21245"/>
                      <a:pt x="66459" y="1532"/>
                      <a:pt x="43852" y="85"/>
                    </a:cubicBezTo>
                    <a:cubicBezTo>
                      <a:pt x="21245" y="-1362"/>
                      <a:pt x="1532" y="15819"/>
                      <a:pt x="85" y="38426"/>
                    </a:cubicBezTo>
                    <a:cubicBezTo>
                      <a:pt x="-1362" y="61033"/>
                      <a:pt x="15820" y="80746"/>
                      <a:pt x="38426" y="82193"/>
                    </a:cubicBezTo>
                    <a:cubicBezTo>
                      <a:pt x="61214" y="83821"/>
                      <a:pt x="80746" y="66639"/>
                      <a:pt x="82193" y="4385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5" name="Google Shape;225;p21"/>
              <p:cNvSpPr/>
              <p:nvPr/>
            </p:nvSpPr>
            <p:spPr>
              <a:xfrm>
                <a:off x="10400696" y="4885722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6"/>
                    </a:cubicBezTo>
                    <a:cubicBezTo>
                      <a:pt x="16839" y="22807"/>
                      <a:pt x="22084" y="18105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6" name="Google Shape;226;p21"/>
              <p:cNvSpPr/>
              <p:nvPr/>
            </p:nvSpPr>
            <p:spPr>
              <a:xfrm>
                <a:off x="10648979" y="4981544"/>
                <a:ext cx="55080" cy="5508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080" extrusionOk="0">
                    <a:moveTo>
                      <a:pt x="55030" y="29349"/>
                    </a:moveTo>
                    <a:cubicBezTo>
                      <a:pt x="55934" y="14157"/>
                      <a:pt x="44541" y="954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3"/>
                      <a:pt x="10540" y="54126"/>
                      <a:pt x="25732" y="55030"/>
                    </a:cubicBezTo>
                    <a:cubicBezTo>
                      <a:pt x="40924" y="55934"/>
                      <a:pt x="53945" y="44540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7" name="Google Shape;227;p21"/>
              <p:cNvSpPr/>
              <p:nvPr/>
            </p:nvSpPr>
            <p:spPr>
              <a:xfrm>
                <a:off x="10902298" y="5462016"/>
                <a:ext cx="100410" cy="100410"/>
              </a:xfrm>
              <a:custGeom>
                <a:avLst/>
                <a:gdLst/>
                <a:ahLst/>
                <a:cxnLst/>
                <a:rect l="l" t="t" r="r" b="b"/>
                <a:pathLst>
                  <a:path w="100410" h="100410" extrusionOk="0">
                    <a:moveTo>
                      <a:pt x="100302" y="53461"/>
                    </a:moveTo>
                    <a:cubicBezTo>
                      <a:pt x="102111" y="25790"/>
                      <a:pt x="81131" y="1917"/>
                      <a:pt x="53461" y="109"/>
                    </a:cubicBezTo>
                    <a:cubicBezTo>
                      <a:pt x="25790" y="-1700"/>
                      <a:pt x="1917" y="19279"/>
                      <a:pt x="109" y="46950"/>
                    </a:cubicBezTo>
                    <a:cubicBezTo>
                      <a:pt x="-1700" y="74621"/>
                      <a:pt x="19279" y="98494"/>
                      <a:pt x="46950" y="100302"/>
                    </a:cubicBezTo>
                    <a:cubicBezTo>
                      <a:pt x="74621" y="102111"/>
                      <a:pt x="98493" y="81131"/>
                      <a:pt x="100302" y="5346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8" name="Google Shape;228;p21"/>
              <p:cNvSpPr/>
              <p:nvPr/>
            </p:nvSpPr>
            <p:spPr>
              <a:xfrm>
                <a:off x="10466331" y="5329523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0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8" y="20472"/>
                      <a:pt x="5280" y="26983"/>
                      <a:pt x="12876" y="27525"/>
                    </a:cubicBezTo>
                    <a:cubicBezTo>
                      <a:pt x="20472" y="28068"/>
                      <a:pt x="26982" y="22281"/>
                      <a:pt x="27525" y="146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29" name="Google Shape;229;p21"/>
              <p:cNvSpPr/>
              <p:nvPr/>
            </p:nvSpPr>
            <p:spPr>
              <a:xfrm>
                <a:off x="10666189" y="4998755"/>
                <a:ext cx="20659" cy="20659"/>
              </a:xfrm>
              <a:custGeom>
                <a:avLst/>
                <a:gdLst/>
                <a:ahLst/>
                <a:cxnLst/>
                <a:rect l="l" t="t" r="r" b="b"/>
                <a:pathLst>
                  <a:path w="20659" h="20659" extrusionOk="0">
                    <a:moveTo>
                      <a:pt x="20638" y="11053"/>
                    </a:moveTo>
                    <a:cubicBezTo>
                      <a:pt x="21000" y="5266"/>
                      <a:pt x="16660" y="383"/>
                      <a:pt x="11053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0" y="15394"/>
                      <a:pt x="4000" y="20277"/>
                      <a:pt x="9606" y="20638"/>
                    </a:cubicBezTo>
                    <a:cubicBezTo>
                      <a:pt x="15394" y="21000"/>
                      <a:pt x="20277" y="16660"/>
                      <a:pt x="20638" y="1105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0" name="Google Shape;230;p21"/>
              <p:cNvSpPr/>
              <p:nvPr/>
            </p:nvSpPr>
            <p:spPr>
              <a:xfrm>
                <a:off x="11203671" y="5285391"/>
                <a:ext cx="45111" cy="45132"/>
              </a:xfrm>
              <a:custGeom>
                <a:avLst/>
                <a:gdLst/>
                <a:ahLst/>
                <a:cxnLst/>
                <a:rect l="l" t="t" r="r" b="b"/>
                <a:pathLst>
                  <a:path w="45111" h="45132" extrusionOk="0">
                    <a:moveTo>
                      <a:pt x="45072" y="24093"/>
                    </a:moveTo>
                    <a:cubicBezTo>
                      <a:pt x="45795" y="11614"/>
                      <a:pt x="36391" y="943"/>
                      <a:pt x="24093" y="39"/>
                    </a:cubicBezTo>
                    <a:cubicBezTo>
                      <a:pt x="11614" y="-684"/>
                      <a:pt x="943" y="8720"/>
                      <a:pt x="39" y="21018"/>
                    </a:cubicBezTo>
                    <a:cubicBezTo>
                      <a:pt x="-684" y="33497"/>
                      <a:pt x="8720" y="44168"/>
                      <a:pt x="21018" y="45072"/>
                    </a:cubicBezTo>
                    <a:cubicBezTo>
                      <a:pt x="33497" y="45976"/>
                      <a:pt x="44348" y="36572"/>
                      <a:pt x="45072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1" name="Google Shape;231;p21"/>
              <p:cNvSpPr/>
              <p:nvPr/>
            </p:nvSpPr>
            <p:spPr>
              <a:xfrm>
                <a:off x="10916799" y="5476518"/>
                <a:ext cx="71407" cy="71406"/>
              </a:xfrm>
              <a:custGeom>
                <a:avLst/>
                <a:gdLst/>
                <a:ahLst/>
                <a:cxnLst/>
                <a:rect l="l" t="t" r="r" b="b"/>
                <a:pathLst>
                  <a:path w="71407" h="71406" extrusionOk="0">
                    <a:moveTo>
                      <a:pt x="71332" y="38055"/>
                    </a:moveTo>
                    <a:cubicBezTo>
                      <a:pt x="72598" y="18342"/>
                      <a:pt x="57768" y="1342"/>
                      <a:pt x="38055" y="75"/>
                    </a:cubicBezTo>
                    <a:cubicBezTo>
                      <a:pt x="18342" y="-1191"/>
                      <a:pt x="1341" y="13639"/>
                      <a:pt x="75" y="33353"/>
                    </a:cubicBezTo>
                    <a:cubicBezTo>
                      <a:pt x="-1190" y="53066"/>
                      <a:pt x="13639" y="70066"/>
                      <a:pt x="33353" y="71332"/>
                    </a:cubicBezTo>
                    <a:cubicBezTo>
                      <a:pt x="53066" y="72598"/>
                      <a:pt x="70066" y="57587"/>
                      <a:pt x="71332" y="380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2" name="Google Shape;232;p21"/>
              <p:cNvSpPr/>
              <p:nvPr/>
            </p:nvSpPr>
            <p:spPr>
              <a:xfrm>
                <a:off x="10667633" y="5000199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385"/>
                      <a:pt x="9428" y="24"/>
                    </a:cubicBezTo>
                    <a:cubicBezTo>
                      <a:pt x="4545" y="-338"/>
                      <a:pt x="386" y="3460"/>
                      <a:pt x="24" y="8343"/>
                    </a:cubicBezTo>
                    <a:cubicBezTo>
                      <a:pt x="-338" y="13226"/>
                      <a:pt x="3460" y="17386"/>
                      <a:pt x="8343" y="17748"/>
                    </a:cubicBezTo>
                    <a:cubicBezTo>
                      <a:pt x="13226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3" name="Google Shape;233;p21"/>
              <p:cNvSpPr/>
              <p:nvPr/>
            </p:nvSpPr>
            <p:spPr>
              <a:xfrm>
                <a:off x="11296063" y="4960371"/>
                <a:ext cx="61618" cy="61618"/>
              </a:xfrm>
              <a:custGeom>
                <a:avLst/>
                <a:gdLst/>
                <a:ahLst/>
                <a:cxnLst/>
                <a:rect l="l" t="t" r="r" b="b"/>
                <a:pathLst>
                  <a:path w="61618" h="61618" extrusionOk="0">
                    <a:moveTo>
                      <a:pt x="61555" y="32799"/>
                    </a:moveTo>
                    <a:cubicBezTo>
                      <a:pt x="62640" y="15798"/>
                      <a:pt x="49799" y="1149"/>
                      <a:pt x="32799" y="64"/>
                    </a:cubicBezTo>
                    <a:cubicBezTo>
                      <a:pt x="15799" y="-1021"/>
                      <a:pt x="1149" y="11819"/>
                      <a:pt x="64" y="28820"/>
                    </a:cubicBezTo>
                    <a:cubicBezTo>
                      <a:pt x="-1021" y="45820"/>
                      <a:pt x="11820" y="60469"/>
                      <a:pt x="28820" y="61554"/>
                    </a:cubicBezTo>
                    <a:cubicBezTo>
                      <a:pt x="45820" y="62640"/>
                      <a:pt x="60469" y="49799"/>
                      <a:pt x="61555" y="327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4" name="Google Shape;234;p21"/>
              <p:cNvSpPr/>
              <p:nvPr/>
            </p:nvSpPr>
            <p:spPr>
              <a:xfrm>
                <a:off x="11215445" y="5297165"/>
                <a:ext cx="21382" cy="21382"/>
              </a:xfrm>
              <a:custGeom>
                <a:avLst/>
                <a:gdLst/>
                <a:ahLst/>
                <a:cxnLst/>
                <a:rect l="l" t="t" r="r" b="b"/>
                <a:pathLst>
                  <a:path w="21382" h="21382" extrusionOk="0">
                    <a:moveTo>
                      <a:pt x="21362" y="11415"/>
                    </a:moveTo>
                    <a:cubicBezTo>
                      <a:pt x="21724" y="5627"/>
                      <a:pt x="17383" y="564"/>
                      <a:pt x="11415" y="21"/>
                    </a:cubicBezTo>
                    <a:cubicBezTo>
                      <a:pt x="5627" y="-341"/>
                      <a:pt x="564" y="4000"/>
                      <a:pt x="21" y="9968"/>
                    </a:cubicBezTo>
                    <a:cubicBezTo>
                      <a:pt x="-341" y="15755"/>
                      <a:pt x="4000" y="20819"/>
                      <a:pt x="9968" y="21362"/>
                    </a:cubicBezTo>
                    <a:cubicBezTo>
                      <a:pt x="15936" y="21724"/>
                      <a:pt x="21000" y="17383"/>
                      <a:pt x="21362" y="114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5" name="Google Shape;235;p21"/>
              <p:cNvSpPr/>
              <p:nvPr/>
            </p:nvSpPr>
            <p:spPr>
              <a:xfrm>
                <a:off x="8483773" y="5157138"/>
                <a:ext cx="59813" cy="59813"/>
              </a:xfrm>
              <a:custGeom>
                <a:avLst/>
                <a:gdLst/>
                <a:ahLst/>
                <a:cxnLst/>
                <a:rect l="l" t="t" r="r" b="b"/>
                <a:pathLst>
                  <a:path w="59813" h="59813" extrusionOk="0">
                    <a:moveTo>
                      <a:pt x="59748" y="31896"/>
                    </a:moveTo>
                    <a:cubicBezTo>
                      <a:pt x="60833" y="15438"/>
                      <a:pt x="48354" y="1151"/>
                      <a:pt x="31896" y="66"/>
                    </a:cubicBezTo>
                    <a:cubicBezTo>
                      <a:pt x="15438" y="-1019"/>
                      <a:pt x="1151" y="11460"/>
                      <a:pt x="66" y="27917"/>
                    </a:cubicBezTo>
                    <a:cubicBezTo>
                      <a:pt x="-1019" y="44375"/>
                      <a:pt x="11460" y="58663"/>
                      <a:pt x="27917" y="59748"/>
                    </a:cubicBezTo>
                    <a:cubicBezTo>
                      <a:pt x="44375" y="60833"/>
                      <a:pt x="58663" y="48354"/>
                      <a:pt x="59748" y="318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6" name="Google Shape;236;p21"/>
              <p:cNvSpPr/>
              <p:nvPr/>
            </p:nvSpPr>
            <p:spPr>
              <a:xfrm>
                <a:off x="8137057" y="5324049"/>
                <a:ext cx="83361" cy="83361"/>
              </a:xfrm>
              <a:custGeom>
                <a:avLst/>
                <a:gdLst/>
                <a:ahLst/>
                <a:cxnLst/>
                <a:rect l="l" t="t" r="r" b="b"/>
                <a:pathLst>
                  <a:path w="83361" h="83361" extrusionOk="0">
                    <a:moveTo>
                      <a:pt x="83277" y="44394"/>
                    </a:moveTo>
                    <a:cubicBezTo>
                      <a:pt x="84724" y="21425"/>
                      <a:pt x="67362" y="1531"/>
                      <a:pt x="44394" y="84"/>
                    </a:cubicBezTo>
                    <a:cubicBezTo>
                      <a:pt x="21425" y="-1363"/>
                      <a:pt x="1531" y="15999"/>
                      <a:pt x="84" y="38968"/>
                    </a:cubicBezTo>
                    <a:cubicBezTo>
                      <a:pt x="-1363" y="61936"/>
                      <a:pt x="15999" y="81830"/>
                      <a:pt x="38968" y="83277"/>
                    </a:cubicBezTo>
                    <a:cubicBezTo>
                      <a:pt x="61937" y="84724"/>
                      <a:pt x="81830" y="67362"/>
                      <a:pt x="83277" y="443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7" name="Google Shape;237;p21"/>
              <p:cNvSpPr/>
              <p:nvPr/>
            </p:nvSpPr>
            <p:spPr>
              <a:xfrm>
                <a:off x="8131856" y="4900350"/>
                <a:ext cx="43124" cy="43146"/>
              </a:xfrm>
              <a:custGeom>
                <a:avLst/>
                <a:gdLst/>
                <a:ahLst/>
                <a:cxnLst/>
                <a:rect l="l" t="t" r="r" b="b"/>
                <a:pathLst>
                  <a:path w="43124" h="43146" extrusionOk="0">
                    <a:moveTo>
                      <a:pt x="43084" y="23009"/>
                    </a:moveTo>
                    <a:cubicBezTo>
                      <a:pt x="43807" y="11073"/>
                      <a:pt x="34765" y="764"/>
                      <a:pt x="23009" y="41"/>
                    </a:cubicBezTo>
                    <a:cubicBezTo>
                      <a:pt x="11073" y="-683"/>
                      <a:pt x="764" y="8360"/>
                      <a:pt x="41" y="20115"/>
                    </a:cubicBezTo>
                    <a:cubicBezTo>
                      <a:pt x="-683" y="32052"/>
                      <a:pt x="8360" y="42360"/>
                      <a:pt x="20115" y="43084"/>
                    </a:cubicBezTo>
                    <a:cubicBezTo>
                      <a:pt x="32052" y="43988"/>
                      <a:pt x="42361" y="34946"/>
                      <a:pt x="43084" y="230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8" name="Google Shape;238;p21"/>
              <p:cNvSpPr/>
              <p:nvPr/>
            </p:nvSpPr>
            <p:spPr>
              <a:xfrm>
                <a:off x="10216406" y="3545591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5"/>
                    </a:cubicBezTo>
                    <a:cubicBezTo>
                      <a:pt x="16839" y="22807"/>
                      <a:pt x="22084" y="18105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39" name="Google Shape;239;p21"/>
              <p:cNvSpPr/>
              <p:nvPr/>
            </p:nvSpPr>
            <p:spPr>
              <a:xfrm>
                <a:off x="7875213" y="4712794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40020" y="54669"/>
                      <a:pt x="52680" y="43456"/>
                      <a:pt x="53765" y="286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0" name="Google Shape;240;p21"/>
              <p:cNvSpPr/>
              <p:nvPr/>
            </p:nvSpPr>
            <p:spPr>
              <a:xfrm>
                <a:off x="8338184" y="4424134"/>
                <a:ext cx="57827" cy="57827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27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100" y="56675"/>
                      <a:pt x="27015" y="57760"/>
                    </a:cubicBezTo>
                    <a:cubicBezTo>
                      <a:pt x="42930" y="58845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1" name="Google Shape;241;p21"/>
              <p:cNvSpPr/>
              <p:nvPr/>
            </p:nvSpPr>
            <p:spPr>
              <a:xfrm>
                <a:off x="7569506" y="4494079"/>
                <a:ext cx="96079" cy="96058"/>
              </a:xfrm>
              <a:custGeom>
                <a:avLst/>
                <a:gdLst/>
                <a:ahLst/>
                <a:cxnLst/>
                <a:rect l="l" t="t" r="r" b="b"/>
                <a:pathLst>
                  <a:path w="96079" h="96058" extrusionOk="0">
                    <a:moveTo>
                      <a:pt x="95966" y="51114"/>
                    </a:moveTo>
                    <a:cubicBezTo>
                      <a:pt x="97775" y="24709"/>
                      <a:pt x="77700" y="1741"/>
                      <a:pt x="51114" y="113"/>
                    </a:cubicBezTo>
                    <a:cubicBezTo>
                      <a:pt x="24709" y="-1695"/>
                      <a:pt x="1741" y="18380"/>
                      <a:pt x="113" y="44965"/>
                    </a:cubicBezTo>
                    <a:cubicBezTo>
                      <a:pt x="-1695" y="71370"/>
                      <a:pt x="18380" y="94338"/>
                      <a:pt x="44965" y="95966"/>
                    </a:cubicBezTo>
                    <a:cubicBezTo>
                      <a:pt x="71370" y="97594"/>
                      <a:pt x="94158" y="77519"/>
                      <a:pt x="95966" y="5111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2" name="Google Shape;242;p21"/>
              <p:cNvSpPr/>
              <p:nvPr/>
            </p:nvSpPr>
            <p:spPr>
              <a:xfrm>
                <a:off x="7883176" y="4720576"/>
                <a:ext cx="38070" cy="38070"/>
              </a:xfrm>
              <a:custGeom>
                <a:avLst/>
                <a:gdLst/>
                <a:ahLst/>
                <a:cxnLst/>
                <a:rect l="l" t="t" r="r" b="b"/>
                <a:pathLst>
                  <a:path w="38070" h="38070" extrusionOk="0">
                    <a:moveTo>
                      <a:pt x="38025" y="20302"/>
                    </a:moveTo>
                    <a:cubicBezTo>
                      <a:pt x="38749" y="9812"/>
                      <a:pt x="30791" y="769"/>
                      <a:pt x="20301" y="46"/>
                    </a:cubicBezTo>
                    <a:cubicBezTo>
                      <a:pt x="9812" y="-678"/>
                      <a:pt x="769" y="7280"/>
                      <a:pt x="46" y="17769"/>
                    </a:cubicBezTo>
                    <a:cubicBezTo>
                      <a:pt x="-678" y="28259"/>
                      <a:pt x="7280" y="37302"/>
                      <a:pt x="17769" y="38025"/>
                    </a:cubicBezTo>
                    <a:cubicBezTo>
                      <a:pt x="28259" y="38748"/>
                      <a:pt x="37302" y="30791"/>
                      <a:pt x="38025" y="203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3" name="Google Shape;243;p21"/>
              <p:cNvSpPr/>
              <p:nvPr/>
            </p:nvSpPr>
            <p:spPr>
              <a:xfrm>
                <a:off x="8138555" y="4907050"/>
                <a:ext cx="29905" cy="29906"/>
              </a:xfrm>
              <a:custGeom>
                <a:avLst/>
                <a:gdLst/>
                <a:ahLst/>
                <a:cxnLst/>
                <a:rect l="l" t="t" r="r" b="b"/>
                <a:pathLst>
                  <a:path w="29905" h="29906" extrusionOk="0">
                    <a:moveTo>
                      <a:pt x="29873" y="15948"/>
                    </a:moveTo>
                    <a:cubicBezTo>
                      <a:pt x="30416" y="7628"/>
                      <a:pt x="24086" y="575"/>
                      <a:pt x="15948" y="32"/>
                    </a:cubicBezTo>
                    <a:cubicBezTo>
                      <a:pt x="7628" y="-510"/>
                      <a:pt x="575" y="5820"/>
                      <a:pt x="32" y="13958"/>
                    </a:cubicBezTo>
                    <a:cubicBezTo>
                      <a:pt x="-510" y="22278"/>
                      <a:pt x="5820" y="29331"/>
                      <a:pt x="13958" y="29874"/>
                    </a:cubicBezTo>
                    <a:cubicBezTo>
                      <a:pt x="22097" y="30416"/>
                      <a:pt x="29331" y="24267"/>
                      <a:pt x="29873" y="1594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4" name="Google Shape;244;p21"/>
              <p:cNvSpPr/>
              <p:nvPr/>
            </p:nvSpPr>
            <p:spPr>
              <a:xfrm>
                <a:off x="7757992" y="5426961"/>
                <a:ext cx="68338" cy="68338"/>
              </a:xfrm>
              <a:custGeom>
                <a:avLst/>
                <a:gdLst/>
                <a:ahLst/>
                <a:cxnLst/>
                <a:rect l="l" t="t" r="r" b="b"/>
                <a:pathLst>
                  <a:path w="68338" h="68338" extrusionOk="0">
                    <a:moveTo>
                      <a:pt x="68260" y="36430"/>
                    </a:moveTo>
                    <a:cubicBezTo>
                      <a:pt x="69526" y="17621"/>
                      <a:pt x="55239" y="1344"/>
                      <a:pt x="36430" y="78"/>
                    </a:cubicBezTo>
                    <a:cubicBezTo>
                      <a:pt x="17621" y="-1188"/>
                      <a:pt x="1344" y="13100"/>
                      <a:pt x="78" y="31909"/>
                    </a:cubicBezTo>
                    <a:cubicBezTo>
                      <a:pt x="-1188" y="50717"/>
                      <a:pt x="13100" y="66994"/>
                      <a:pt x="31908" y="68260"/>
                    </a:cubicBezTo>
                    <a:cubicBezTo>
                      <a:pt x="50717" y="69526"/>
                      <a:pt x="66994" y="55239"/>
                      <a:pt x="68260" y="364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5" name="Google Shape;245;p21"/>
              <p:cNvSpPr/>
              <p:nvPr/>
            </p:nvSpPr>
            <p:spPr>
              <a:xfrm>
                <a:off x="7893505" y="4731086"/>
                <a:ext cx="17050" cy="17032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32" extrusionOk="0">
                    <a:moveTo>
                      <a:pt x="17025" y="9068"/>
                    </a:moveTo>
                    <a:cubicBezTo>
                      <a:pt x="17387" y="4366"/>
                      <a:pt x="13770" y="387"/>
                      <a:pt x="9068" y="25"/>
                    </a:cubicBezTo>
                    <a:cubicBezTo>
                      <a:pt x="4365" y="-337"/>
                      <a:pt x="387" y="3280"/>
                      <a:pt x="25" y="7983"/>
                    </a:cubicBezTo>
                    <a:cubicBezTo>
                      <a:pt x="-337" y="12685"/>
                      <a:pt x="3280" y="16664"/>
                      <a:pt x="7983" y="17025"/>
                    </a:cubicBezTo>
                    <a:cubicBezTo>
                      <a:pt x="12685" y="17206"/>
                      <a:pt x="16664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6" name="Google Shape;246;p21"/>
              <p:cNvSpPr/>
              <p:nvPr/>
            </p:nvSpPr>
            <p:spPr>
              <a:xfrm>
                <a:off x="8363015" y="4448964"/>
                <a:ext cx="8165" cy="8164"/>
              </a:xfrm>
              <a:custGeom>
                <a:avLst/>
                <a:gdLst/>
                <a:ahLst/>
                <a:cxnLst/>
                <a:rect l="l" t="t" r="r" b="b"/>
                <a:pathLst>
                  <a:path w="8165" h="8164" extrusionOk="0">
                    <a:moveTo>
                      <a:pt x="8152" y="4354"/>
                    </a:moveTo>
                    <a:cubicBezTo>
                      <a:pt x="8333" y="2184"/>
                      <a:pt x="6705" y="195"/>
                      <a:pt x="4354" y="14"/>
                    </a:cubicBezTo>
                    <a:cubicBezTo>
                      <a:pt x="2184" y="-167"/>
                      <a:pt x="195" y="1461"/>
                      <a:pt x="14" y="3812"/>
                    </a:cubicBezTo>
                    <a:cubicBezTo>
                      <a:pt x="-167" y="5982"/>
                      <a:pt x="1461" y="7971"/>
                      <a:pt x="3812" y="8152"/>
                    </a:cubicBezTo>
                    <a:cubicBezTo>
                      <a:pt x="6163" y="8333"/>
                      <a:pt x="7971" y="6524"/>
                      <a:pt x="8152" y="435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7" name="Google Shape;247;p21"/>
              <p:cNvSpPr/>
              <p:nvPr/>
            </p:nvSpPr>
            <p:spPr>
              <a:xfrm>
                <a:off x="8140179" y="4908855"/>
                <a:ext cx="26296" cy="26296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96" extrusionOk="0">
                    <a:moveTo>
                      <a:pt x="26260" y="13962"/>
                    </a:moveTo>
                    <a:cubicBezTo>
                      <a:pt x="26803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4" y="26260"/>
                    </a:cubicBezTo>
                    <a:cubicBezTo>
                      <a:pt x="19569" y="26803"/>
                      <a:pt x="25898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8" name="Google Shape;248;p21"/>
              <p:cNvSpPr/>
              <p:nvPr/>
            </p:nvSpPr>
            <p:spPr>
              <a:xfrm>
                <a:off x="8893729" y="4931390"/>
                <a:ext cx="101855" cy="101854"/>
              </a:xfrm>
              <a:custGeom>
                <a:avLst/>
                <a:gdLst/>
                <a:ahLst/>
                <a:cxnLst/>
                <a:rect l="l" t="t" r="r" b="b"/>
                <a:pathLst>
                  <a:path w="101855" h="101854" extrusionOk="0">
                    <a:moveTo>
                      <a:pt x="101748" y="54183"/>
                    </a:moveTo>
                    <a:cubicBezTo>
                      <a:pt x="103557" y="26151"/>
                      <a:pt x="82397" y="1916"/>
                      <a:pt x="54183" y="108"/>
                    </a:cubicBezTo>
                    <a:cubicBezTo>
                      <a:pt x="26151" y="-1701"/>
                      <a:pt x="1916" y="19459"/>
                      <a:pt x="108" y="47673"/>
                    </a:cubicBezTo>
                    <a:cubicBezTo>
                      <a:pt x="-1701" y="75705"/>
                      <a:pt x="19459" y="99940"/>
                      <a:pt x="47672" y="101748"/>
                    </a:cubicBezTo>
                    <a:cubicBezTo>
                      <a:pt x="75705" y="103557"/>
                      <a:pt x="99939" y="82216"/>
                      <a:pt x="101748" y="541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49" name="Google Shape;249;p21"/>
              <p:cNvSpPr/>
              <p:nvPr/>
            </p:nvSpPr>
            <p:spPr>
              <a:xfrm>
                <a:off x="8341814" y="4427764"/>
                <a:ext cx="50386" cy="50386"/>
              </a:xfrm>
              <a:custGeom>
                <a:avLst/>
                <a:gdLst/>
                <a:ahLst/>
                <a:cxnLst/>
                <a:rect l="l" t="t" r="r" b="b"/>
                <a:pathLst>
                  <a:path w="50386" h="50386" extrusionOk="0">
                    <a:moveTo>
                      <a:pt x="50332" y="26821"/>
                    </a:moveTo>
                    <a:cubicBezTo>
                      <a:pt x="51236" y="12895"/>
                      <a:pt x="40747" y="959"/>
                      <a:pt x="26821" y="54"/>
                    </a:cubicBezTo>
                    <a:cubicBezTo>
                      <a:pt x="12895" y="-850"/>
                      <a:pt x="959" y="9640"/>
                      <a:pt x="54" y="23565"/>
                    </a:cubicBezTo>
                    <a:cubicBezTo>
                      <a:pt x="-850" y="37491"/>
                      <a:pt x="9640" y="49428"/>
                      <a:pt x="23565" y="50332"/>
                    </a:cubicBezTo>
                    <a:cubicBezTo>
                      <a:pt x="37491" y="51236"/>
                      <a:pt x="49428" y="40747"/>
                      <a:pt x="50332" y="268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0" name="Google Shape;250;p21"/>
              <p:cNvSpPr/>
              <p:nvPr/>
            </p:nvSpPr>
            <p:spPr>
              <a:xfrm>
                <a:off x="8133841" y="4902516"/>
                <a:ext cx="39154" cy="39153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53" extrusionOk="0">
                    <a:moveTo>
                      <a:pt x="39109" y="20843"/>
                    </a:moveTo>
                    <a:cubicBezTo>
                      <a:pt x="39833" y="9992"/>
                      <a:pt x="31694" y="768"/>
                      <a:pt x="20843" y="45"/>
                    </a:cubicBezTo>
                    <a:cubicBezTo>
                      <a:pt x="9992" y="-679"/>
                      <a:pt x="768" y="7460"/>
                      <a:pt x="45" y="18311"/>
                    </a:cubicBezTo>
                    <a:cubicBezTo>
                      <a:pt x="-679" y="29162"/>
                      <a:pt x="7460" y="38386"/>
                      <a:pt x="18311" y="39109"/>
                    </a:cubicBezTo>
                    <a:cubicBezTo>
                      <a:pt x="28981" y="39833"/>
                      <a:pt x="38386" y="31513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1" name="Google Shape;251;p21"/>
              <p:cNvSpPr/>
              <p:nvPr/>
            </p:nvSpPr>
            <p:spPr>
              <a:xfrm>
                <a:off x="8933063" y="4970544"/>
                <a:ext cx="23367" cy="23390"/>
              </a:xfrm>
              <a:custGeom>
                <a:avLst/>
                <a:gdLst/>
                <a:ahLst/>
                <a:cxnLst/>
                <a:rect l="l" t="t" r="r" b="b"/>
                <a:pathLst>
                  <a:path w="23367" h="23390" extrusionOk="0">
                    <a:moveTo>
                      <a:pt x="23349" y="12498"/>
                    </a:moveTo>
                    <a:cubicBezTo>
                      <a:pt x="23711" y="5987"/>
                      <a:pt x="18828" y="380"/>
                      <a:pt x="12498" y="19"/>
                    </a:cubicBezTo>
                    <a:cubicBezTo>
                      <a:pt x="6168" y="-343"/>
                      <a:pt x="381" y="4540"/>
                      <a:pt x="19" y="10870"/>
                    </a:cubicBezTo>
                    <a:cubicBezTo>
                      <a:pt x="-343" y="17381"/>
                      <a:pt x="4540" y="22987"/>
                      <a:pt x="10870" y="23349"/>
                    </a:cubicBezTo>
                    <a:cubicBezTo>
                      <a:pt x="17381" y="23892"/>
                      <a:pt x="22987" y="19009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2" name="Google Shape;252;p21"/>
              <p:cNvSpPr/>
              <p:nvPr/>
            </p:nvSpPr>
            <p:spPr>
              <a:xfrm>
                <a:off x="8496289" y="5169655"/>
                <a:ext cx="34781" cy="34781"/>
              </a:xfrm>
              <a:custGeom>
                <a:avLst/>
                <a:gdLst/>
                <a:ahLst/>
                <a:cxnLst/>
                <a:rect l="l" t="t" r="r" b="b"/>
                <a:pathLst>
                  <a:path w="34781" h="34781" extrusionOk="0">
                    <a:moveTo>
                      <a:pt x="34753" y="18476"/>
                    </a:moveTo>
                    <a:cubicBezTo>
                      <a:pt x="35295" y="8891"/>
                      <a:pt x="28061" y="571"/>
                      <a:pt x="18476" y="29"/>
                    </a:cubicBezTo>
                    <a:cubicBezTo>
                      <a:pt x="8891" y="-514"/>
                      <a:pt x="571" y="6720"/>
                      <a:pt x="29" y="16305"/>
                    </a:cubicBezTo>
                    <a:cubicBezTo>
                      <a:pt x="-514" y="25891"/>
                      <a:pt x="6720" y="34210"/>
                      <a:pt x="16306" y="34753"/>
                    </a:cubicBezTo>
                    <a:cubicBezTo>
                      <a:pt x="25891" y="35295"/>
                      <a:pt x="34210" y="28061"/>
                      <a:pt x="34753" y="184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3" name="Google Shape;253;p21"/>
              <p:cNvSpPr/>
              <p:nvPr/>
            </p:nvSpPr>
            <p:spPr>
              <a:xfrm>
                <a:off x="8119158" y="4887834"/>
                <a:ext cx="68519" cy="68498"/>
              </a:xfrm>
              <a:custGeom>
                <a:avLst/>
                <a:gdLst/>
                <a:ahLst/>
                <a:cxnLst/>
                <a:rect l="l" t="t" r="r" b="b"/>
                <a:pathLst>
                  <a:path w="68519" h="68498" extrusionOk="0">
                    <a:moveTo>
                      <a:pt x="68441" y="36430"/>
                    </a:moveTo>
                    <a:cubicBezTo>
                      <a:pt x="69707" y="17621"/>
                      <a:pt x="55420" y="1344"/>
                      <a:pt x="36430" y="78"/>
                    </a:cubicBezTo>
                    <a:cubicBezTo>
                      <a:pt x="17621" y="-1188"/>
                      <a:pt x="1344" y="13100"/>
                      <a:pt x="78" y="32089"/>
                    </a:cubicBezTo>
                    <a:cubicBezTo>
                      <a:pt x="-1188" y="50898"/>
                      <a:pt x="13100" y="67175"/>
                      <a:pt x="32089" y="68441"/>
                    </a:cubicBezTo>
                    <a:cubicBezTo>
                      <a:pt x="50898" y="69526"/>
                      <a:pt x="67175" y="55239"/>
                      <a:pt x="68441" y="364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4" name="Google Shape;254;p21"/>
              <p:cNvSpPr/>
              <p:nvPr/>
            </p:nvSpPr>
            <p:spPr>
              <a:xfrm>
                <a:off x="8935049" y="4972530"/>
                <a:ext cx="19395" cy="19420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420" extrusionOk="0">
                    <a:moveTo>
                      <a:pt x="19373" y="10330"/>
                    </a:moveTo>
                    <a:cubicBezTo>
                      <a:pt x="19735" y="4905"/>
                      <a:pt x="15575" y="383"/>
                      <a:pt x="10331" y="22"/>
                    </a:cubicBezTo>
                    <a:cubicBezTo>
                      <a:pt x="4905" y="-340"/>
                      <a:pt x="384" y="3820"/>
                      <a:pt x="22" y="9065"/>
                    </a:cubicBezTo>
                    <a:cubicBezTo>
                      <a:pt x="-340" y="14490"/>
                      <a:pt x="3820" y="19011"/>
                      <a:pt x="9065" y="19373"/>
                    </a:cubicBezTo>
                    <a:cubicBezTo>
                      <a:pt x="14309" y="19916"/>
                      <a:pt x="19012" y="15756"/>
                      <a:pt x="19373" y="103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5" name="Google Shape;255;p21"/>
              <p:cNvSpPr/>
              <p:nvPr/>
            </p:nvSpPr>
            <p:spPr>
              <a:xfrm>
                <a:off x="8712208" y="5247581"/>
                <a:ext cx="55080" cy="5508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080" extrusionOk="0">
                    <a:moveTo>
                      <a:pt x="55030" y="29349"/>
                    </a:moveTo>
                    <a:cubicBezTo>
                      <a:pt x="55934" y="14157"/>
                      <a:pt x="44540" y="955"/>
                      <a:pt x="29349" y="50"/>
                    </a:cubicBezTo>
                    <a:cubicBezTo>
                      <a:pt x="14157" y="-854"/>
                      <a:pt x="954" y="10540"/>
                      <a:pt x="50" y="25732"/>
                    </a:cubicBezTo>
                    <a:cubicBezTo>
                      <a:pt x="-854" y="40924"/>
                      <a:pt x="10540" y="54126"/>
                      <a:pt x="25732" y="55030"/>
                    </a:cubicBezTo>
                    <a:cubicBezTo>
                      <a:pt x="40923" y="55934"/>
                      <a:pt x="53945" y="44541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6" name="Google Shape;256;p21"/>
              <p:cNvSpPr/>
              <p:nvPr/>
            </p:nvSpPr>
            <p:spPr>
              <a:xfrm>
                <a:off x="8471097" y="5144281"/>
                <a:ext cx="85347" cy="85367"/>
              </a:xfrm>
              <a:custGeom>
                <a:avLst/>
                <a:gdLst/>
                <a:ahLst/>
                <a:cxnLst/>
                <a:rect l="l" t="t" r="r" b="b"/>
                <a:pathLst>
                  <a:path w="85347" h="85367" extrusionOk="0">
                    <a:moveTo>
                      <a:pt x="85265" y="45477"/>
                    </a:moveTo>
                    <a:cubicBezTo>
                      <a:pt x="86712" y="21966"/>
                      <a:pt x="68988" y="1530"/>
                      <a:pt x="45477" y="83"/>
                    </a:cubicBezTo>
                    <a:cubicBezTo>
                      <a:pt x="21966" y="-1364"/>
                      <a:pt x="1529" y="16359"/>
                      <a:pt x="83" y="39871"/>
                    </a:cubicBezTo>
                    <a:cubicBezTo>
                      <a:pt x="-1364" y="63382"/>
                      <a:pt x="16360" y="83818"/>
                      <a:pt x="39871" y="85265"/>
                    </a:cubicBezTo>
                    <a:cubicBezTo>
                      <a:pt x="63382" y="86893"/>
                      <a:pt x="83637" y="68988"/>
                      <a:pt x="85265" y="454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7" name="Google Shape;257;p21"/>
              <p:cNvSpPr/>
              <p:nvPr/>
            </p:nvSpPr>
            <p:spPr>
              <a:xfrm>
                <a:off x="8941026" y="4978506"/>
                <a:ext cx="7442" cy="7443"/>
              </a:xfrm>
              <a:custGeom>
                <a:avLst/>
                <a:gdLst/>
                <a:ahLst/>
                <a:cxnLst/>
                <a:rect l="l" t="t" r="r" b="b"/>
                <a:pathLst>
                  <a:path w="7442" h="7443" extrusionOk="0">
                    <a:moveTo>
                      <a:pt x="7429" y="3992"/>
                    </a:moveTo>
                    <a:cubicBezTo>
                      <a:pt x="7610" y="2003"/>
                      <a:pt x="5982" y="195"/>
                      <a:pt x="3992" y="14"/>
                    </a:cubicBezTo>
                    <a:cubicBezTo>
                      <a:pt x="2003" y="-167"/>
                      <a:pt x="195" y="1460"/>
                      <a:pt x="14" y="3450"/>
                    </a:cubicBezTo>
                    <a:cubicBezTo>
                      <a:pt x="-167" y="5439"/>
                      <a:pt x="1460" y="7248"/>
                      <a:pt x="3450" y="7429"/>
                    </a:cubicBezTo>
                    <a:cubicBezTo>
                      <a:pt x="5439" y="7610"/>
                      <a:pt x="7248" y="6163"/>
                      <a:pt x="7429" y="39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8" name="Google Shape;258;p21"/>
              <p:cNvSpPr/>
              <p:nvPr/>
            </p:nvSpPr>
            <p:spPr>
              <a:xfrm>
                <a:off x="9548275" y="5175035"/>
                <a:ext cx="73212" cy="73212"/>
              </a:xfrm>
              <a:custGeom>
                <a:avLst/>
                <a:gdLst/>
                <a:ahLst/>
                <a:cxnLst/>
                <a:rect l="l" t="t" r="r" b="b"/>
                <a:pathLst>
                  <a:path w="73212" h="73212" extrusionOk="0">
                    <a:moveTo>
                      <a:pt x="73139" y="38957"/>
                    </a:moveTo>
                    <a:cubicBezTo>
                      <a:pt x="74405" y="18702"/>
                      <a:pt x="59213" y="1340"/>
                      <a:pt x="38957" y="74"/>
                    </a:cubicBezTo>
                    <a:cubicBezTo>
                      <a:pt x="18702" y="-1192"/>
                      <a:pt x="1340" y="14000"/>
                      <a:pt x="74" y="34255"/>
                    </a:cubicBezTo>
                    <a:cubicBezTo>
                      <a:pt x="-1192" y="54511"/>
                      <a:pt x="14000" y="71873"/>
                      <a:pt x="34255" y="73139"/>
                    </a:cubicBezTo>
                    <a:cubicBezTo>
                      <a:pt x="54330" y="74405"/>
                      <a:pt x="71692" y="59213"/>
                      <a:pt x="73139" y="389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59" name="Google Shape;259;p21"/>
              <p:cNvSpPr/>
              <p:nvPr/>
            </p:nvSpPr>
            <p:spPr>
              <a:xfrm>
                <a:off x="8708938" y="5244492"/>
                <a:ext cx="61258" cy="61278"/>
              </a:xfrm>
              <a:custGeom>
                <a:avLst/>
                <a:gdLst/>
                <a:ahLst/>
                <a:cxnLst/>
                <a:rect l="l" t="t" r="r" b="b"/>
                <a:pathLst>
                  <a:path w="61258" h="61278" extrusionOk="0">
                    <a:moveTo>
                      <a:pt x="61194" y="32619"/>
                    </a:moveTo>
                    <a:cubicBezTo>
                      <a:pt x="62279" y="15799"/>
                      <a:pt x="49619" y="1150"/>
                      <a:pt x="32619" y="65"/>
                    </a:cubicBezTo>
                    <a:cubicBezTo>
                      <a:pt x="15799" y="-1020"/>
                      <a:pt x="1331" y="11640"/>
                      <a:pt x="65" y="28640"/>
                    </a:cubicBezTo>
                    <a:cubicBezTo>
                      <a:pt x="-1020" y="45459"/>
                      <a:pt x="11640" y="59928"/>
                      <a:pt x="28640" y="61194"/>
                    </a:cubicBezTo>
                    <a:cubicBezTo>
                      <a:pt x="45640" y="62460"/>
                      <a:pt x="60109" y="49438"/>
                      <a:pt x="61194" y="326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0" name="Google Shape;260;p21"/>
              <p:cNvSpPr/>
              <p:nvPr/>
            </p:nvSpPr>
            <p:spPr>
              <a:xfrm>
                <a:off x="9802963" y="6496764"/>
                <a:ext cx="34600" cy="34621"/>
              </a:xfrm>
              <a:custGeom>
                <a:avLst/>
                <a:gdLst/>
                <a:ahLst/>
                <a:cxnLst/>
                <a:rect l="l" t="t" r="r" b="b"/>
                <a:pathLst>
                  <a:path w="34600" h="34621" extrusionOk="0">
                    <a:moveTo>
                      <a:pt x="34572" y="18476"/>
                    </a:moveTo>
                    <a:cubicBezTo>
                      <a:pt x="35114" y="8890"/>
                      <a:pt x="27880" y="752"/>
                      <a:pt x="18476" y="29"/>
                    </a:cubicBezTo>
                    <a:cubicBezTo>
                      <a:pt x="8891" y="-514"/>
                      <a:pt x="752" y="6720"/>
                      <a:pt x="29" y="16124"/>
                    </a:cubicBezTo>
                    <a:cubicBezTo>
                      <a:pt x="-514" y="25710"/>
                      <a:pt x="6720" y="33848"/>
                      <a:pt x="16125" y="34572"/>
                    </a:cubicBezTo>
                    <a:cubicBezTo>
                      <a:pt x="25710" y="35295"/>
                      <a:pt x="33848" y="28061"/>
                      <a:pt x="34572" y="184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1" name="Google Shape;261;p21"/>
              <p:cNvSpPr/>
              <p:nvPr/>
            </p:nvSpPr>
            <p:spPr>
              <a:xfrm>
                <a:off x="9535826" y="5418495"/>
                <a:ext cx="39513" cy="39514"/>
              </a:xfrm>
              <a:custGeom>
                <a:avLst/>
                <a:gdLst/>
                <a:ahLst/>
                <a:cxnLst/>
                <a:rect l="l" t="t" r="r" b="b"/>
                <a:pathLst>
                  <a:path w="39513" h="39514" extrusionOk="0">
                    <a:moveTo>
                      <a:pt x="39470" y="21023"/>
                    </a:moveTo>
                    <a:cubicBezTo>
                      <a:pt x="40194" y="10172"/>
                      <a:pt x="31874" y="767"/>
                      <a:pt x="21023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342"/>
                      <a:pt x="7640" y="38747"/>
                      <a:pt x="18491" y="39470"/>
                    </a:cubicBezTo>
                    <a:cubicBezTo>
                      <a:pt x="29342" y="40194"/>
                      <a:pt x="38928" y="31874"/>
                      <a:pt x="39470" y="210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2" name="Google Shape;262;p21"/>
              <p:cNvSpPr/>
              <p:nvPr/>
            </p:nvSpPr>
            <p:spPr>
              <a:xfrm>
                <a:off x="8476853" y="5978552"/>
                <a:ext cx="95516" cy="95517"/>
              </a:xfrm>
              <a:custGeom>
                <a:avLst/>
                <a:gdLst/>
                <a:ahLst/>
                <a:cxnLst/>
                <a:rect l="l" t="t" r="r" b="b"/>
                <a:pathLst>
                  <a:path w="95516" h="95517" extrusionOk="0">
                    <a:moveTo>
                      <a:pt x="95424" y="50913"/>
                    </a:moveTo>
                    <a:cubicBezTo>
                      <a:pt x="97051" y="24689"/>
                      <a:pt x="77157" y="1901"/>
                      <a:pt x="50933" y="93"/>
                    </a:cubicBezTo>
                    <a:cubicBezTo>
                      <a:pt x="24709" y="-1534"/>
                      <a:pt x="1922" y="18359"/>
                      <a:pt x="113" y="44583"/>
                    </a:cubicBezTo>
                    <a:cubicBezTo>
                      <a:pt x="-1695" y="70807"/>
                      <a:pt x="18380" y="93595"/>
                      <a:pt x="44603" y="95403"/>
                    </a:cubicBezTo>
                    <a:cubicBezTo>
                      <a:pt x="71008" y="97212"/>
                      <a:pt x="93796" y="77318"/>
                      <a:pt x="95424" y="509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3" name="Google Shape;263;p21"/>
              <p:cNvSpPr/>
              <p:nvPr/>
            </p:nvSpPr>
            <p:spPr>
              <a:xfrm>
                <a:off x="9811648" y="6505630"/>
                <a:ext cx="17050" cy="17050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50" extrusionOk="0">
                    <a:moveTo>
                      <a:pt x="17025" y="9068"/>
                    </a:moveTo>
                    <a:cubicBezTo>
                      <a:pt x="17387" y="4366"/>
                      <a:pt x="13770" y="387"/>
                      <a:pt x="9068" y="25"/>
                    </a:cubicBezTo>
                    <a:cubicBezTo>
                      <a:pt x="4366" y="-337"/>
                      <a:pt x="387" y="3280"/>
                      <a:pt x="25" y="7983"/>
                    </a:cubicBezTo>
                    <a:cubicBezTo>
                      <a:pt x="-337" y="12685"/>
                      <a:pt x="3280" y="16664"/>
                      <a:pt x="7983" y="17025"/>
                    </a:cubicBezTo>
                    <a:cubicBezTo>
                      <a:pt x="12685" y="17387"/>
                      <a:pt x="16663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4" name="Google Shape;264;p21"/>
              <p:cNvSpPr/>
              <p:nvPr/>
            </p:nvSpPr>
            <p:spPr>
              <a:xfrm>
                <a:off x="10207870" y="6132678"/>
                <a:ext cx="49302" cy="49302"/>
              </a:xfrm>
              <a:custGeom>
                <a:avLst/>
                <a:gdLst/>
                <a:ahLst/>
                <a:cxnLst/>
                <a:rect l="l" t="t" r="r" b="b"/>
                <a:pathLst>
                  <a:path w="49302" h="49302" extrusionOk="0">
                    <a:moveTo>
                      <a:pt x="49248" y="26279"/>
                    </a:moveTo>
                    <a:cubicBezTo>
                      <a:pt x="50152" y="12715"/>
                      <a:pt x="39843" y="959"/>
                      <a:pt x="26279" y="55"/>
                    </a:cubicBezTo>
                    <a:cubicBezTo>
                      <a:pt x="12715" y="-849"/>
                      <a:pt x="960" y="9459"/>
                      <a:pt x="55" y="23024"/>
                    </a:cubicBezTo>
                    <a:cubicBezTo>
                      <a:pt x="-849" y="36588"/>
                      <a:pt x="9460" y="48344"/>
                      <a:pt x="23024" y="49248"/>
                    </a:cubicBezTo>
                    <a:cubicBezTo>
                      <a:pt x="36588" y="50152"/>
                      <a:pt x="48343" y="39843"/>
                      <a:pt x="4924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5" name="Google Shape;265;p21"/>
              <p:cNvSpPr/>
              <p:nvPr/>
            </p:nvSpPr>
            <p:spPr>
              <a:xfrm>
                <a:off x="9547599" y="5430268"/>
                <a:ext cx="16148" cy="15968"/>
              </a:xfrm>
              <a:custGeom>
                <a:avLst/>
                <a:gdLst/>
                <a:ahLst/>
                <a:cxnLst/>
                <a:rect l="l" t="t" r="r" b="b"/>
                <a:pathLst>
                  <a:path w="16148" h="15968" extrusionOk="0">
                    <a:moveTo>
                      <a:pt x="16122" y="8526"/>
                    </a:moveTo>
                    <a:cubicBezTo>
                      <a:pt x="16484" y="4005"/>
                      <a:pt x="13048" y="207"/>
                      <a:pt x="8526" y="26"/>
                    </a:cubicBezTo>
                    <a:cubicBezTo>
                      <a:pt x="4005" y="-336"/>
                      <a:pt x="207" y="3101"/>
                      <a:pt x="26" y="7441"/>
                    </a:cubicBezTo>
                    <a:cubicBezTo>
                      <a:pt x="-336" y="11963"/>
                      <a:pt x="3101" y="15760"/>
                      <a:pt x="7622" y="15941"/>
                    </a:cubicBezTo>
                    <a:cubicBezTo>
                      <a:pt x="11962" y="16303"/>
                      <a:pt x="15941" y="13048"/>
                      <a:pt x="16122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6" name="Google Shape;266;p21"/>
              <p:cNvSpPr/>
              <p:nvPr/>
            </p:nvSpPr>
            <p:spPr>
              <a:xfrm>
                <a:off x="12748199" y="2168758"/>
                <a:ext cx="13941" cy="13942"/>
              </a:xfrm>
              <a:custGeom>
                <a:avLst/>
                <a:gdLst/>
                <a:ahLst/>
                <a:cxnLst/>
                <a:rect l="l" t="t" r="r" b="b"/>
                <a:pathLst>
                  <a:path w="13941" h="13942" extrusionOk="0">
                    <a:moveTo>
                      <a:pt x="13934" y="7423"/>
                    </a:moveTo>
                    <a:cubicBezTo>
                      <a:pt x="14115" y="3625"/>
                      <a:pt x="11221" y="189"/>
                      <a:pt x="7423" y="8"/>
                    </a:cubicBezTo>
                    <a:cubicBezTo>
                      <a:pt x="3625" y="-173"/>
                      <a:pt x="189" y="2721"/>
                      <a:pt x="8" y="6519"/>
                    </a:cubicBezTo>
                    <a:cubicBezTo>
                      <a:pt x="-173" y="10317"/>
                      <a:pt x="2721" y="13753"/>
                      <a:pt x="6519" y="13934"/>
                    </a:cubicBezTo>
                    <a:cubicBezTo>
                      <a:pt x="10317" y="14115"/>
                      <a:pt x="13572" y="11402"/>
                      <a:pt x="13934" y="74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7" name="Google Shape;267;p21"/>
              <p:cNvSpPr/>
              <p:nvPr/>
            </p:nvSpPr>
            <p:spPr>
              <a:xfrm>
                <a:off x="12471441" y="2422626"/>
                <a:ext cx="45874" cy="45853"/>
              </a:xfrm>
              <a:custGeom>
                <a:avLst/>
                <a:gdLst/>
                <a:ahLst/>
                <a:cxnLst/>
                <a:rect l="l" t="t" r="r" b="b"/>
                <a:pathLst>
                  <a:path w="45874" h="45853" extrusionOk="0">
                    <a:moveTo>
                      <a:pt x="45815" y="24474"/>
                    </a:moveTo>
                    <a:cubicBezTo>
                      <a:pt x="46720" y="11815"/>
                      <a:pt x="37135" y="963"/>
                      <a:pt x="24475" y="59"/>
                    </a:cubicBezTo>
                    <a:cubicBezTo>
                      <a:pt x="11815" y="-845"/>
                      <a:pt x="964" y="8740"/>
                      <a:pt x="59" y="21400"/>
                    </a:cubicBezTo>
                    <a:cubicBezTo>
                      <a:pt x="-845" y="34060"/>
                      <a:pt x="8740" y="44911"/>
                      <a:pt x="21400" y="45815"/>
                    </a:cubicBezTo>
                    <a:cubicBezTo>
                      <a:pt x="34060" y="46539"/>
                      <a:pt x="44911" y="36953"/>
                      <a:pt x="45815" y="2447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8" name="Google Shape;268;p21"/>
              <p:cNvSpPr/>
              <p:nvPr/>
            </p:nvSpPr>
            <p:spPr>
              <a:xfrm>
                <a:off x="12479966" y="2430970"/>
                <a:ext cx="28824" cy="28848"/>
              </a:xfrm>
              <a:custGeom>
                <a:avLst/>
                <a:gdLst/>
                <a:ahLst/>
                <a:cxnLst/>
                <a:rect l="l" t="t" r="r" b="b"/>
                <a:pathLst>
                  <a:path w="28824" h="28848" extrusionOk="0">
                    <a:moveTo>
                      <a:pt x="28791" y="15407"/>
                    </a:moveTo>
                    <a:cubicBezTo>
                      <a:pt x="29333" y="7449"/>
                      <a:pt x="23365" y="577"/>
                      <a:pt x="15407" y="34"/>
                    </a:cubicBezTo>
                    <a:cubicBezTo>
                      <a:pt x="7449" y="-508"/>
                      <a:pt x="577" y="5460"/>
                      <a:pt x="34" y="13417"/>
                    </a:cubicBezTo>
                    <a:cubicBezTo>
                      <a:pt x="-508" y="21375"/>
                      <a:pt x="5460" y="28248"/>
                      <a:pt x="13418" y="28790"/>
                    </a:cubicBezTo>
                    <a:cubicBezTo>
                      <a:pt x="21375" y="29514"/>
                      <a:pt x="28247" y="23364"/>
                      <a:pt x="28791" y="154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69" name="Google Shape;269;p21"/>
              <p:cNvSpPr/>
              <p:nvPr/>
            </p:nvSpPr>
            <p:spPr>
              <a:xfrm>
                <a:off x="11990362" y="5113734"/>
                <a:ext cx="60896" cy="60896"/>
              </a:xfrm>
              <a:custGeom>
                <a:avLst/>
                <a:gdLst/>
                <a:ahLst/>
                <a:cxnLst/>
                <a:rect l="l" t="t" r="r" b="b"/>
                <a:pathLst>
                  <a:path w="60896" h="60896" extrusionOk="0">
                    <a:moveTo>
                      <a:pt x="60832" y="32438"/>
                    </a:moveTo>
                    <a:cubicBezTo>
                      <a:pt x="61917" y="15618"/>
                      <a:pt x="49258" y="1150"/>
                      <a:pt x="32438" y="65"/>
                    </a:cubicBezTo>
                    <a:cubicBezTo>
                      <a:pt x="15618" y="-1020"/>
                      <a:pt x="1150" y="11640"/>
                      <a:pt x="65" y="28459"/>
                    </a:cubicBezTo>
                    <a:cubicBezTo>
                      <a:pt x="-1020" y="45278"/>
                      <a:pt x="11640" y="59747"/>
                      <a:pt x="28459" y="60832"/>
                    </a:cubicBezTo>
                    <a:cubicBezTo>
                      <a:pt x="45098" y="61917"/>
                      <a:pt x="59747" y="49257"/>
                      <a:pt x="60832" y="32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0" name="Google Shape;270;p21"/>
              <p:cNvSpPr/>
              <p:nvPr/>
            </p:nvSpPr>
            <p:spPr>
              <a:xfrm>
                <a:off x="11891294" y="5718732"/>
                <a:ext cx="16688" cy="16688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88" extrusionOk="0">
                    <a:moveTo>
                      <a:pt x="16664" y="8887"/>
                    </a:moveTo>
                    <a:cubicBezTo>
                      <a:pt x="17025" y="4366"/>
                      <a:pt x="13408" y="387"/>
                      <a:pt x="8887" y="25"/>
                    </a:cubicBezTo>
                    <a:cubicBezTo>
                      <a:pt x="4366" y="-337"/>
                      <a:pt x="387" y="3280"/>
                      <a:pt x="25" y="7802"/>
                    </a:cubicBezTo>
                    <a:cubicBezTo>
                      <a:pt x="-337" y="12323"/>
                      <a:pt x="3280" y="16302"/>
                      <a:pt x="7802" y="16664"/>
                    </a:cubicBezTo>
                    <a:cubicBezTo>
                      <a:pt x="12504" y="17025"/>
                      <a:pt x="16483" y="13408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1" name="Google Shape;271;p21"/>
              <p:cNvSpPr/>
              <p:nvPr/>
            </p:nvSpPr>
            <p:spPr>
              <a:xfrm>
                <a:off x="11794825" y="5106648"/>
                <a:ext cx="90442" cy="90441"/>
              </a:xfrm>
              <a:custGeom>
                <a:avLst/>
                <a:gdLst/>
                <a:ahLst/>
                <a:cxnLst/>
                <a:rect l="l" t="t" r="r" b="b"/>
                <a:pathLst>
                  <a:path w="90442" h="90441" extrusionOk="0">
                    <a:moveTo>
                      <a:pt x="90345" y="48205"/>
                    </a:moveTo>
                    <a:cubicBezTo>
                      <a:pt x="91972" y="23247"/>
                      <a:pt x="73164" y="1726"/>
                      <a:pt x="48206" y="98"/>
                    </a:cubicBezTo>
                    <a:cubicBezTo>
                      <a:pt x="23247" y="-1529"/>
                      <a:pt x="1726" y="17279"/>
                      <a:pt x="98" y="42237"/>
                    </a:cubicBezTo>
                    <a:cubicBezTo>
                      <a:pt x="-1529" y="67195"/>
                      <a:pt x="17279" y="88717"/>
                      <a:pt x="42237" y="90344"/>
                    </a:cubicBezTo>
                    <a:cubicBezTo>
                      <a:pt x="67195" y="91972"/>
                      <a:pt x="88717" y="72982"/>
                      <a:pt x="90345" y="482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2" name="Google Shape;272;p21"/>
              <p:cNvSpPr/>
              <p:nvPr/>
            </p:nvSpPr>
            <p:spPr>
              <a:xfrm>
                <a:off x="12004864" y="5128417"/>
                <a:ext cx="31531" cy="31531"/>
              </a:xfrm>
              <a:custGeom>
                <a:avLst/>
                <a:gdLst/>
                <a:ahLst/>
                <a:cxnLst/>
                <a:rect l="l" t="t" r="r" b="b"/>
                <a:pathLst>
                  <a:path w="31531" h="31531" extrusionOk="0">
                    <a:moveTo>
                      <a:pt x="31500" y="16851"/>
                    </a:moveTo>
                    <a:cubicBezTo>
                      <a:pt x="32043" y="8170"/>
                      <a:pt x="25532" y="755"/>
                      <a:pt x="16851" y="32"/>
                    </a:cubicBezTo>
                    <a:cubicBezTo>
                      <a:pt x="8170" y="-511"/>
                      <a:pt x="755" y="6000"/>
                      <a:pt x="32" y="14681"/>
                    </a:cubicBezTo>
                    <a:cubicBezTo>
                      <a:pt x="-511" y="23362"/>
                      <a:pt x="6000" y="30777"/>
                      <a:pt x="14681" y="31500"/>
                    </a:cubicBezTo>
                    <a:cubicBezTo>
                      <a:pt x="23542" y="32043"/>
                      <a:pt x="30958" y="25532"/>
                      <a:pt x="31500" y="168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3" name="Google Shape;273;p21"/>
              <p:cNvSpPr/>
              <p:nvPr/>
            </p:nvSpPr>
            <p:spPr>
              <a:xfrm>
                <a:off x="12523195" y="5669897"/>
                <a:ext cx="34059" cy="34059"/>
              </a:xfrm>
              <a:custGeom>
                <a:avLst/>
                <a:gdLst/>
                <a:ahLst/>
                <a:cxnLst/>
                <a:rect l="l" t="t" r="r" b="b"/>
                <a:pathLst>
                  <a:path w="34059" h="34059" extrusionOk="0">
                    <a:moveTo>
                      <a:pt x="34030" y="18115"/>
                    </a:moveTo>
                    <a:cubicBezTo>
                      <a:pt x="34573" y="8710"/>
                      <a:pt x="27519" y="572"/>
                      <a:pt x="18115" y="29"/>
                    </a:cubicBezTo>
                    <a:cubicBezTo>
                      <a:pt x="8711" y="-513"/>
                      <a:pt x="572" y="6540"/>
                      <a:pt x="29" y="15945"/>
                    </a:cubicBezTo>
                    <a:cubicBezTo>
                      <a:pt x="-513" y="25349"/>
                      <a:pt x="6540" y="33487"/>
                      <a:pt x="15945" y="34030"/>
                    </a:cubicBezTo>
                    <a:cubicBezTo>
                      <a:pt x="25349" y="34573"/>
                      <a:pt x="33488" y="27519"/>
                      <a:pt x="34030" y="181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4" name="Google Shape;274;p21"/>
              <p:cNvSpPr/>
              <p:nvPr/>
            </p:nvSpPr>
            <p:spPr>
              <a:xfrm>
                <a:off x="11863754" y="5691193"/>
                <a:ext cx="71767" cy="71767"/>
              </a:xfrm>
              <a:custGeom>
                <a:avLst/>
                <a:gdLst/>
                <a:ahLst/>
                <a:cxnLst/>
                <a:rect l="l" t="t" r="r" b="b"/>
                <a:pathLst>
                  <a:path w="71767" h="71767" extrusionOk="0">
                    <a:moveTo>
                      <a:pt x="71693" y="38235"/>
                    </a:moveTo>
                    <a:cubicBezTo>
                      <a:pt x="72959" y="18522"/>
                      <a:pt x="57948" y="1341"/>
                      <a:pt x="38235" y="75"/>
                    </a:cubicBezTo>
                    <a:cubicBezTo>
                      <a:pt x="18522" y="-1191"/>
                      <a:pt x="1341" y="13820"/>
                      <a:pt x="75" y="33533"/>
                    </a:cubicBezTo>
                    <a:cubicBezTo>
                      <a:pt x="-1191" y="53246"/>
                      <a:pt x="13820" y="70427"/>
                      <a:pt x="33533" y="71693"/>
                    </a:cubicBezTo>
                    <a:cubicBezTo>
                      <a:pt x="53427" y="72959"/>
                      <a:pt x="70427" y="57948"/>
                      <a:pt x="71693" y="382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5" name="Google Shape;275;p21"/>
              <p:cNvSpPr/>
              <p:nvPr/>
            </p:nvSpPr>
            <p:spPr>
              <a:xfrm>
                <a:off x="12008113" y="5131666"/>
                <a:ext cx="25213" cy="25194"/>
              </a:xfrm>
              <a:custGeom>
                <a:avLst/>
                <a:gdLst/>
                <a:ahLst/>
                <a:cxnLst/>
                <a:rect l="l" t="t" r="r" b="b"/>
                <a:pathLst>
                  <a:path w="25213" h="25194" extrusionOk="0">
                    <a:moveTo>
                      <a:pt x="25176" y="13421"/>
                    </a:moveTo>
                    <a:cubicBezTo>
                      <a:pt x="25719" y="6367"/>
                      <a:pt x="20293" y="399"/>
                      <a:pt x="13421" y="37"/>
                    </a:cubicBezTo>
                    <a:cubicBezTo>
                      <a:pt x="6367" y="-505"/>
                      <a:pt x="399" y="4921"/>
                      <a:pt x="37" y="11793"/>
                    </a:cubicBezTo>
                    <a:cubicBezTo>
                      <a:pt x="-505" y="18846"/>
                      <a:pt x="4920" y="24815"/>
                      <a:pt x="11793" y="25176"/>
                    </a:cubicBezTo>
                    <a:cubicBezTo>
                      <a:pt x="18846" y="25538"/>
                      <a:pt x="24814" y="20293"/>
                      <a:pt x="25176" y="134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6" name="Google Shape;276;p21"/>
              <p:cNvSpPr/>
              <p:nvPr/>
            </p:nvSpPr>
            <p:spPr>
              <a:xfrm>
                <a:off x="12527347" y="5674049"/>
                <a:ext cx="25936" cy="25916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6" extrusionOk="0">
                    <a:moveTo>
                      <a:pt x="25899" y="13782"/>
                    </a:moveTo>
                    <a:cubicBezTo>
                      <a:pt x="26442" y="6548"/>
                      <a:pt x="21016" y="399"/>
                      <a:pt x="13782" y="37"/>
                    </a:cubicBezTo>
                    <a:cubicBezTo>
                      <a:pt x="6548" y="-505"/>
                      <a:pt x="399" y="4921"/>
                      <a:pt x="37" y="12155"/>
                    </a:cubicBezTo>
                    <a:cubicBezTo>
                      <a:pt x="-505" y="19389"/>
                      <a:pt x="4920" y="25538"/>
                      <a:pt x="12154" y="25900"/>
                    </a:cubicBezTo>
                    <a:cubicBezTo>
                      <a:pt x="19208" y="26261"/>
                      <a:pt x="25357" y="20836"/>
                      <a:pt x="25899" y="137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7" name="Google Shape;277;p21"/>
              <p:cNvSpPr/>
              <p:nvPr/>
            </p:nvSpPr>
            <p:spPr>
              <a:xfrm>
                <a:off x="12448842" y="5157696"/>
                <a:ext cx="53996" cy="53996"/>
              </a:xfrm>
              <a:custGeom>
                <a:avLst/>
                <a:gdLst/>
                <a:ahLst/>
                <a:cxnLst/>
                <a:rect l="l" t="t" r="r" b="b"/>
                <a:pathLst>
                  <a:path w="53996" h="53996" extrusionOk="0">
                    <a:moveTo>
                      <a:pt x="53946" y="28807"/>
                    </a:moveTo>
                    <a:cubicBezTo>
                      <a:pt x="54850" y="13977"/>
                      <a:pt x="43637" y="1136"/>
                      <a:pt x="28807" y="51"/>
                    </a:cubicBezTo>
                    <a:cubicBezTo>
                      <a:pt x="13977" y="-853"/>
                      <a:pt x="1137" y="10360"/>
                      <a:pt x="51" y="25190"/>
                    </a:cubicBezTo>
                    <a:cubicBezTo>
                      <a:pt x="-853" y="40020"/>
                      <a:pt x="10360" y="52861"/>
                      <a:pt x="25190" y="53946"/>
                    </a:cubicBezTo>
                    <a:cubicBezTo>
                      <a:pt x="40020" y="54850"/>
                      <a:pt x="52861" y="43637"/>
                      <a:pt x="53946" y="288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8" name="Google Shape;278;p21"/>
              <p:cNvSpPr/>
              <p:nvPr/>
            </p:nvSpPr>
            <p:spPr>
              <a:xfrm>
                <a:off x="12603143" y="3913992"/>
                <a:ext cx="24091" cy="24110"/>
              </a:xfrm>
              <a:custGeom>
                <a:avLst/>
                <a:gdLst/>
                <a:ahLst/>
                <a:cxnLst/>
                <a:rect l="l" t="t" r="r" b="b"/>
                <a:pathLst>
                  <a:path w="24091" h="24110" extrusionOk="0">
                    <a:moveTo>
                      <a:pt x="24073" y="12859"/>
                    </a:moveTo>
                    <a:cubicBezTo>
                      <a:pt x="24434" y="6168"/>
                      <a:pt x="19551" y="561"/>
                      <a:pt x="12860" y="19"/>
                    </a:cubicBezTo>
                    <a:cubicBezTo>
                      <a:pt x="6168" y="-343"/>
                      <a:pt x="562" y="4540"/>
                      <a:pt x="19" y="11232"/>
                    </a:cubicBezTo>
                    <a:cubicBezTo>
                      <a:pt x="-343" y="17923"/>
                      <a:pt x="4540" y="23530"/>
                      <a:pt x="11232" y="24072"/>
                    </a:cubicBezTo>
                    <a:cubicBezTo>
                      <a:pt x="17924" y="24615"/>
                      <a:pt x="23530" y="19370"/>
                      <a:pt x="24073" y="128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9" name="Google Shape;279;p21"/>
              <p:cNvSpPr/>
              <p:nvPr/>
            </p:nvSpPr>
            <p:spPr>
              <a:xfrm>
                <a:off x="12301460" y="3910177"/>
                <a:ext cx="26839" cy="26838"/>
              </a:xfrm>
              <a:custGeom>
                <a:avLst/>
                <a:gdLst/>
                <a:ahLst/>
                <a:cxnLst/>
                <a:rect l="l" t="t" r="r" b="b"/>
                <a:pathLst>
                  <a:path w="26839" h="26838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345"/>
                      <a:pt x="26441" y="21739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0" name="Google Shape;280;p21"/>
              <p:cNvSpPr/>
              <p:nvPr/>
            </p:nvSpPr>
            <p:spPr>
              <a:xfrm>
                <a:off x="12572314" y="3883344"/>
                <a:ext cx="85548" cy="85547"/>
              </a:xfrm>
              <a:custGeom>
                <a:avLst/>
                <a:gdLst/>
                <a:ahLst/>
                <a:cxnLst/>
                <a:rect l="l" t="t" r="r" b="b"/>
                <a:pathLst>
                  <a:path w="85548" h="85547" extrusionOk="0">
                    <a:moveTo>
                      <a:pt x="85466" y="45497"/>
                    </a:moveTo>
                    <a:cubicBezTo>
                      <a:pt x="86913" y="21986"/>
                      <a:pt x="69189" y="1550"/>
                      <a:pt x="45497" y="103"/>
                    </a:cubicBezTo>
                    <a:cubicBezTo>
                      <a:pt x="21986" y="-1525"/>
                      <a:pt x="1549" y="16380"/>
                      <a:pt x="103" y="40071"/>
                    </a:cubicBezTo>
                    <a:cubicBezTo>
                      <a:pt x="-1525" y="63583"/>
                      <a:pt x="16380" y="84019"/>
                      <a:pt x="40071" y="85466"/>
                    </a:cubicBezTo>
                    <a:cubicBezTo>
                      <a:pt x="63583" y="86913"/>
                      <a:pt x="84019" y="69008"/>
                      <a:pt x="85466" y="4549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1" name="Google Shape;281;p21"/>
              <p:cNvSpPr/>
              <p:nvPr/>
            </p:nvSpPr>
            <p:spPr>
              <a:xfrm>
                <a:off x="12301641" y="3910357"/>
                <a:ext cx="26477" cy="26477"/>
              </a:xfrm>
              <a:custGeom>
                <a:avLst/>
                <a:gdLst/>
                <a:ahLst/>
                <a:cxnLst/>
                <a:rect l="l" t="t" r="r" b="b"/>
                <a:pathLst>
                  <a:path w="26477" h="26477" extrusionOk="0">
                    <a:moveTo>
                      <a:pt x="26441" y="14143"/>
                    </a:moveTo>
                    <a:cubicBezTo>
                      <a:pt x="26983" y="6909"/>
                      <a:pt x="21377" y="579"/>
                      <a:pt x="14143" y="36"/>
                    </a:cubicBezTo>
                    <a:cubicBezTo>
                      <a:pt x="6909" y="-506"/>
                      <a:pt x="579" y="5100"/>
                      <a:pt x="36" y="12335"/>
                    </a:cubicBezTo>
                    <a:cubicBezTo>
                      <a:pt x="-506" y="19569"/>
                      <a:pt x="5100" y="25899"/>
                      <a:pt x="12334" y="26441"/>
                    </a:cubicBezTo>
                    <a:cubicBezTo>
                      <a:pt x="19749" y="26984"/>
                      <a:pt x="25898" y="21377"/>
                      <a:pt x="26441" y="141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2" name="Google Shape;282;p21"/>
              <p:cNvSpPr/>
              <p:nvPr/>
            </p:nvSpPr>
            <p:spPr>
              <a:xfrm>
                <a:off x="12605311" y="3916159"/>
                <a:ext cx="19756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6" h="19756" extrusionOk="0">
                    <a:moveTo>
                      <a:pt x="19735" y="10512"/>
                    </a:moveTo>
                    <a:cubicBezTo>
                      <a:pt x="20097" y="5086"/>
                      <a:pt x="15937" y="384"/>
                      <a:pt x="10511" y="22"/>
                    </a:cubicBezTo>
                    <a:cubicBezTo>
                      <a:pt x="5086" y="-340"/>
                      <a:pt x="383" y="3820"/>
                      <a:pt x="22" y="9245"/>
                    </a:cubicBezTo>
                    <a:cubicBezTo>
                      <a:pt x="-340" y="14671"/>
                      <a:pt x="3820" y="19373"/>
                      <a:pt x="9245" y="19735"/>
                    </a:cubicBezTo>
                    <a:cubicBezTo>
                      <a:pt x="14671" y="20097"/>
                      <a:pt x="19373" y="15937"/>
                      <a:pt x="19735" y="1051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3" name="Google Shape;283;p21"/>
              <p:cNvSpPr/>
              <p:nvPr/>
            </p:nvSpPr>
            <p:spPr>
              <a:xfrm>
                <a:off x="11097491" y="3955550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5"/>
                      <a:pt x="38579" y="781"/>
                      <a:pt x="25377" y="57"/>
                    </a:cubicBezTo>
                    <a:cubicBezTo>
                      <a:pt x="12174" y="-847"/>
                      <a:pt x="780" y="9100"/>
                      <a:pt x="57" y="22302"/>
                    </a:cubicBezTo>
                    <a:cubicBezTo>
                      <a:pt x="-847" y="35505"/>
                      <a:pt x="9100" y="46899"/>
                      <a:pt x="22302" y="47622"/>
                    </a:cubicBezTo>
                    <a:cubicBezTo>
                      <a:pt x="35324" y="48526"/>
                      <a:pt x="46718" y="38579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4" name="Google Shape;284;p21"/>
              <p:cNvSpPr/>
              <p:nvPr/>
            </p:nvSpPr>
            <p:spPr>
              <a:xfrm>
                <a:off x="10679156" y="3167368"/>
                <a:ext cx="70324" cy="70323"/>
              </a:xfrm>
              <a:custGeom>
                <a:avLst/>
                <a:gdLst/>
                <a:ahLst/>
                <a:cxnLst/>
                <a:rect l="l" t="t" r="r" b="b"/>
                <a:pathLst>
                  <a:path w="70324" h="70323" extrusionOk="0">
                    <a:moveTo>
                      <a:pt x="70248" y="37513"/>
                    </a:moveTo>
                    <a:cubicBezTo>
                      <a:pt x="71514" y="18162"/>
                      <a:pt x="56865" y="1342"/>
                      <a:pt x="37513" y="76"/>
                    </a:cubicBezTo>
                    <a:cubicBezTo>
                      <a:pt x="18162" y="-1190"/>
                      <a:pt x="1342" y="13459"/>
                      <a:pt x="76" y="32811"/>
                    </a:cubicBezTo>
                    <a:cubicBezTo>
                      <a:pt x="-1190" y="52162"/>
                      <a:pt x="13460" y="68982"/>
                      <a:pt x="32811" y="70248"/>
                    </a:cubicBezTo>
                    <a:cubicBezTo>
                      <a:pt x="52162" y="71514"/>
                      <a:pt x="68982" y="56865"/>
                      <a:pt x="70248" y="375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5" name="Google Shape;285;p21"/>
              <p:cNvSpPr/>
              <p:nvPr/>
            </p:nvSpPr>
            <p:spPr>
              <a:xfrm>
                <a:off x="10203709" y="3532714"/>
                <a:ext cx="48038" cy="48038"/>
              </a:xfrm>
              <a:custGeom>
                <a:avLst/>
                <a:gdLst/>
                <a:ahLst/>
                <a:cxnLst/>
                <a:rect l="l" t="t" r="r" b="b"/>
                <a:pathLst>
                  <a:path w="48038" h="48038" extrusionOk="0">
                    <a:moveTo>
                      <a:pt x="47982" y="25557"/>
                    </a:moveTo>
                    <a:cubicBezTo>
                      <a:pt x="48887" y="12354"/>
                      <a:pt x="38759" y="960"/>
                      <a:pt x="25557" y="56"/>
                    </a:cubicBezTo>
                    <a:cubicBezTo>
                      <a:pt x="12354" y="-848"/>
                      <a:pt x="960" y="9280"/>
                      <a:pt x="56" y="22482"/>
                    </a:cubicBezTo>
                    <a:cubicBezTo>
                      <a:pt x="-848" y="35685"/>
                      <a:pt x="9280" y="47078"/>
                      <a:pt x="22482" y="47983"/>
                    </a:cubicBezTo>
                    <a:cubicBezTo>
                      <a:pt x="35685" y="48887"/>
                      <a:pt x="47078" y="38759"/>
                      <a:pt x="47982" y="255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6" name="Google Shape;286;p21"/>
              <p:cNvSpPr/>
              <p:nvPr/>
            </p:nvSpPr>
            <p:spPr>
              <a:xfrm>
                <a:off x="11107280" y="3965520"/>
                <a:ext cx="27920" cy="27921"/>
              </a:xfrm>
              <a:custGeom>
                <a:avLst/>
                <a:gdLst/>
                <a:ahLst/>
                <a:cxnLst/>
                <a:rect l="l" t="t" r="r" b="b"/>
                <a:pathLst>
                  <a:path w="27920" h="27921" extrusionOk="0">
                    <a:moveTo>
                      <a:pt x="27886" y="14864"/>
                    </a:moveTo>
                    <a:cubicBezTo>
                      <a:pt x="28429" y="7088"/>
                      <a:pt x="22460" y="396"/>
                      <a:pt x="14864" y="34"/>
                    </a:cubicBezTo>
                    <a:cubicBezTo>
                      <a:pt x="7088" y="-508"/>
                      <a:pt x="396" y="5460"/>
                      <a:pt x="34" y="13056"/>
                    </a:cubicBezTo>
                    <a:cubicBezTo>
                      <a:pt x="-508" y="20833"/>
                      <a:pt x="5460" y="27524"/>
                      <a:pt x="13056" y="27886"/>
                    </a:cubicBezTo>
                    <a:cubicBezTo>
                      <a:pt x="20833" y="28429"/>
                      <a:pt x="27524" y="22641"/>
                      <a:pt x="27886" y="148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7" name="Google Shape;287;p21"/>
              <p:cNvSpPr/>
              <p:nvPr/>
            </p:nvSpPr>
            <p:spPr>
              <a:xfrm>
                <a:off x="11099526" y="3050781"/>
                <a:ext cx="9427" cy="9427"/>
              </a:xfrm>
              <a:custGeom>
                <a:avLst/>
                <a:gdLst/>
                <a:ahLst/>
                <a:cxnLst/>
                <a:rect l="l" t="t" r="r" b="b"/>
                <a:pathLst>
                  <a:path w="9427" h="9427" extrusionOk="0">
                    <a:moveTo>
                      <a:pt x="9416" y="5075"/>
                    </a:moveTo>
                    <a:cubicBezTo>
                      <a:pt x="9597" y="2543"/>
                      <a:pt x="7607" y="192"/>
                      <a:pt x="5075" y="11"/>
                    </a:cubicBezTo>
                    <a:cubicBezTo>
                      <a:pt x="2543" y="-169"/>
                      <a:pt x="192" y="1820"/>
                      <a:pt x="11" y="4352"/>
                    </a:cubicBezTo>
                    <a:cubicBezTo>
                      <a:pt x="-169" y="6884"/>
                      <a:pt x="1820" y="9235"/>
                      <a:pt x="4352" y="9416"/>
                    </a:cubicBezTo>
                    <a:cubicBezTo>
                      <a:pt x="6884" y="9597"/>
                      <a:pt x="9235" y="7607"/>
                      <a:pt x="9416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8" name="Google Shape;288;p21"/>
              <p:cNvSpPr/>
              <p:nvPr/>
            </p:nvSpPr>
            <p:spPr>
              <a:xfrm>
                <a:off x="10699996" y="3188208"/>
                <a:ext cx="28643" cy="28643"/>
              </a:xfrm>
              <a:custGeom>
                <a:avLst/>
                <a:gdLst/>
                <a:ahLst/>
                <a:cxnLst/>
                <a:rect l="l" t="t" r="r" b="b"/>
                <a:pathLst>
                  <a:path w="28643" h="28643" extrusionOk="0">
                    <a:moveTo>
                      <a:pt x="28609" y="15226"/>
                    </a:moveTo>
                    <a:cubicBezTo>
                      <a:pt x="29152" y="7268"/>
                      <a:pt x="23184" y="577"/>
                      <a:pt x="15226" y="34"/>
                    </a:cubicBezTo>
                    <a:cubicBezTo>
                      <a:pt x="7268" y="-508"/>
                      <a:pt x="577" y="5460"/>
                      <a:pt x="34" y="13417"/>
                    </a:cubicBezTo>
                    <a:cubicBezTo>
                      <a:pt x="-508" y="21375"/>
                      <a:pt x="5460" y="28067"/>
                      <a:pt x="13417" y="28609"/>
                    </a:cubicBezTo>
                    <a:cubicBezTo>
                      <a:pt x="21194" y="29152"/>
                      <a:pt x="28066" y="23184"/>
                      <a:pt x="28609" y="152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9" name="Google Shape;289;p21"/>
              <p:cNvSpPr/>
              <p:nvPr/>
            </p:nvSpPr>
            <p:spPr>
              <a:xfrm>
                <a:off x="11100942" y="3959001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3"/>
                      <a:pt x="32958" y="767"/>
                      <a:pt x="21745" y="43"/>
                    </a:cubicBezTo>
                    <a:cubicBezTo>
                      <a:pt x="10533" y="-680"/>
                      <a:pt x="766" y="7820"/>
                      <a:pt x="43" y="19033"/>
                    </a:cubicBezTo>
                    <a:cubicBezTo>
                      <a:pt x="-681" y="30246"/>
                      <a:pt x="7820" y="40012"/>
                      <a:pt x="19033" y="40735"/>
                    </a:cubicBezTo>
                    <a:cubicBezTo>
                      <a:pt x="30246" y="41459"/>
                      <a:pt x="40012" y="32959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0" name="Google Shape;290;p21"/>
              <p:cNvSpPr/>
              <p:nvPr/>
            </p:nvSpPr>
            <p:spPr>
              <a:xfrm>
                <a:off x="11095715" y="3046789"/>
                <a:ext cx="17411" cy="17411"/>
              </a:xfrm>
              <a:custGeom>
                <a:avLst/>
                <a:gdLst/>
                <a:ahLst/>
                <a:cxnLst/>
                <a:rect l="l" t="t" r="r" b="b"/>
                <a:pathLst>
                  <a:path w="17411" h="17411" extrusionOk="0">
                    <a:moveTo>
                      <a:pt x="17387" y="9249"/>
                    </a:moveTo>
                    <a:cubicBezTo>
                      <a:pt x="17749" y="4365"/>
                      <a:pt x="14132" y="206"/>
                      <a:pt x="9249" y="25"/>
                    </a:cubicBezTo>
                    <a:cubicBezTo>
                      <a:pt x="4366" y="-337"/>
                      <a:pt x="206" y="3280"/>
                      <a:pt x="25" y="8163"/>
                    </a:cubicBezTo>
                    <a:cubicBezTo>
                      <a:pt x="-337" y="13046"/>
                      <a:pt x="3280" y="17206"/>
                      <a:pt x="8164" y="17387"/>
                    </a:cubicBezTo>
                    <a:cubicBezTo>
                      <a:pt x="12866" y="17749"/>
                      <a:pt x="17025" y="14132"/>
                      <a:pt x="17387" y="92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1" name="Google Shape;291;p21"/>
              <p:cNvSpPr/>
              <p:nvPr/>
            </p:nvSpPr>
            <p:spPr>
              <a:xfrm>
                <a:off x="11092236" y="3950295"/>
                <a:ext cx="58189" cy="58189"/>
              </a:xfrm>
              <a:custGeom>
                <a:avLst/>
                <a:gdLst/>
                <a:ahLst/>
                <a:cxnLst/>
                <a:rect l="l" t="t" r="r" b="b"/>
                <a:pathLst>
                  <a:path w="58189" h="58189" extrusionOk="0">
                    <a:moveTo>
                      <a:pt x="58122" y="30994"/>
                    </a:moveTo>
                    <a:cubicBezTo>
                      <a:pt x="59207" y="14897"/>
                      <a:pt x="47090" y="1153"/>
                      <a:pt x="30994" y="68"/>
                    </a:cubicBezTo>
                    <a:cubicBezTo>
                      <a:pt x="14897" y="-1018"/>
                      <a:pt x="1153" y="11100"/>
                      <a:pt x="68" y="27196"/>
                    </a:cubicBezTo>
                    <a:cubicBezTo>
                      <a:pt x="-1018" y="43292"/>
                      <a:pt x="11099" y="57037"/>
                      <a:pt x="27196" y="58122"/>
                    </a:cubicBezTo>
                    <a:cubicBezTo>
                      <a:pt x="43292" y="59207"/>
                      <a:pt x="57037" y="47090"/>
                      <a:pt x="58122" y="309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2" name="Google Shape;292;p21"/>
              <p:cNvSpPr/>
              <p:nvPr/>
            </p:nvSpPr>
            <p:spPr>
              <a:xfrm>
                <a:off x="12296206" y="3904922"/>
                <a:ext cx="37349" cy="37349"/>
              </a:xfrm>
              <a:custGeom>
                <a:avLst/>
                <a:gdLst/>
                <a:ahLst/>
                <a:cxnLst/>
                <a:rect l="l" t="t" r="r" b="b"/>
                <a:pathLst>
                  <a:path w="37349" h="37349" extrusionOk="0">
                    <a:moveTo>
                      <a:pt x="37303" y="19940"/>
                    </a:moveTo>
                    <a:cubicBezTo>
                      <a:pt x="38026" y="9632"/>
                      <a:pt x="30249" y="770"/>
                      <a:pt x="19940" y="47"/>
                    </a:cubicBezTo>
                    <a:cubicBezTo>
                      <a:pt x="9632" y="-677"/>
                      <a:pt x="770" y="7100"/>
                      <a:pt x="47" y="17409"/>
                    </a:cubicBezTo>
                    <a:cubicBezTo>
                      <a:pt x="-677" y="27717"/>
                      <a:pt x="7100" y="36579"/>
                      <a:pt x="17409" y="37303"/>
                    </a:cubicBezTo>
                    <a:cubicBezTo>
                      <a:pt x="27717" y="38026"/>
                      <a:pt x="36579" y="30249"/>
                      <a:pt x="37303" y="199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3" name="Google Shape;293;p21"/>
              <p:cNvSpPr/>
              <p:nvPr/>
            </p:nvSpPr>
            <p:spPr>
              <a:xfrm>
                <a:off x="11362614" y="4185588"/>
                <a:ext cx="58549" cy="58530"/>
              </a:xfrm>
              <a:custGeom>
                <a:avLst/>
                <a:gdLst/>
                <a:ahLst/>
                <a:cxnLst/>
                <a:rect l="l" t="t" r="r" b="b"/>
                <a:pathLst>
                  <a:path w="58549" h="58530" extrusionOk="0">
                    <a:moveTo>
                      <a:pt x="58483" y="31174"/>
                    </a:moveTo>
                    <a:cubicBezTo>
                      <a:pt x="59568" y="15078"/>
                      <a:pt x="47270" y="1152"/>
                      <a:pt x="31174" y="67"/>
                    </a:cubicBezTo>
                    <a:cubicBezTo>
                      <a:pt x="15078" y="-1018"/>
                      <a:pt x="1152" y="11280"/>
                      <a:pt x="67" y="27376"/>
                    </a:cubicBezTo>
                    <a:cubicBezTo>
                      <a:pt x="-1018" y="43472"/>
                      <a:pt x="11280" y="57397"/>
                      <a:pt x="27376" y="58483"/>
                    </a:cubicBezTo>
                    <a:cubicBezTo>
                      <a:pt x="43472" y="59387"/>
                      <a:pt x="57397" y="47270"/>
                      <a:pt x="58483" y="3117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4" name="Google Shape;294;p21"/>
              <p:cNvSpPr/>
              <p:nvPr/>
            </p:nvSpPr>
            <p:spPr>
              <a:xfrm>
                <a:off x="11087932" y="3039187"/>
                <a:ext cx="32615" cy="32615"/>
              </a:xfrm>
              <a:custGeom>
                <a:avLst/>
                <a:gdLst/>
                <a:ahLst/>
                <a:cxnLst/>
                <a:rect l="l" t="t" r="r" b="b"/>
                <a:pathLst>
                  <a:path w="32615" h="32615" extrusionOk="0">
                    <a:moveTo>
                      <a:pt x="32585" y="17393"/>
                    </a:moveTo>
                    <a:cubicBezTo>
                      <a:pt x="33127" y="8350"/>
                      <a:pt x="26435" y="754"/>
                      <a:pt x="17393" y="31"/>
                    </a:cubicBezTo>
                    <a:cubicBezTo>
                      <a:pt x="8350" y="-512"/>
                      <a:pt x="754" y="6180"/>
                      <a:pt x="31" y="15223"/>
                    </a:cubicBezTo>
                    <a:cubicBezTo>
                      <a:pt x="-512" y="24265"/>
                      <a:pt x="6180" y="31861"/>
                      <a:pt x="15222" y="32585"/>
                    </a:cubicBezTo>
                    <a:cubicBezTo>
                      <a:pt x="24265" y="33127"/>
                      <a:pt x="32042" y="26436"/>
                      <a:pt x="32585" y="173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5" name="Google Shape;295;p21"/>
              <p:cNvSpPr/>
              <p:nvPr/>
            </p:nvSpPr>
            <p:spPr>
              <a:xfrm>
                <a:off x="12188375" y="2407768"/>
                <a:ext cx="79570" cy="79570"/>
              </a:xfrm>
              <a:custGeom>
                <a:avLst/>
                <a:gdLst/>
                <a:ahLst/>
                <a:cxnLst/>
                <a:rect l="l" t="t" r="r" b="b"/>
                <a:pathLst>
                  <a:path w="79570" h="79570" extrusionOk="0">
                    <a:moveTo>
                      <a:pt x="79483" y="42408"/>
                    </a:moveTo>
                    <a:cubicBezTo>
                      <a:pt x="80930" y="20524"/>
                      <a:pt x="64291" y="1535"/>
                      <a:pt x="42408" y="88"/>
                    </a:cubicBezTo>
                    <a:cubicBezTo>
                      <a:pt x="20524" y="-1359"/>
                      <a:pt x="1535" y="15279"/>
                      <a:pt x="88" y="37163"/>
                    </a:cubicBezTo>
                    <a:cubicBezTo>
                      <a:pt x="-1359" y="59046"/>
                      <a:pt x="15279" y="78036"/>
                      <a:pt x="37163" y="79483"/>
                    </a:cubicBezTo>
                    <a:cubicBezTo>
                      <a:pt x="59046" y="80930"/>
                      <a:pt x="78036" y="64291"/>
                      <a:pt x="79483" y="424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6" name="Google Shape;296;p21"/>
              <p:cNvSpPr/>
              <p:nvPr/>
            </p:nvSpPr>
            <p:spPr>
              <a:xfrm>
                <a:off x="11834861" y="2829938"/>
                <a:ext cx="30989" cy="30989"/>
              </a:xfrm>
              <a:custGeom>
                <a:avLst/>
                <a:gdLst/>
                <a:ahLst/>
                <a:cxnLst/>
                <a:rect l="l" t="t" r="r" b="b"/>
                <a:pathLst>
                  <a:path w="30989" h="30989" extrusionOk="0">
                    <a:moveTo>
                      <a:pt x="30958" y="16489"/>
                    </a:moveTo>
                    <a:cubicBezTo>
                      <a:pt x="31500" y="7989"/>
                      <a:pt x="24989" y="574"/>
                      <a:pt x="16489" y="32"/>
                    </a:cubicBezTo>
                    <a:cubicBezTo>
                      <a:pt x="7989" y="-511"/>
                      <a:pt x="574" y="6000"/>
                      <a:pt x="32" y="14500"/>
                    </a:cubicBezTo>
                    <a:cubicBezTo>
                      <a:pt x="-511" y="23000"/>
                      <a:pt x="6000" y="30415"/>
                      <a:pt x="14500" y="30958"/>
                    </a:cubicBezTo>
                    <a:cubicBezTo>
                      <a:pt x="23000" y="31500"/>
                      <a:pt x="30415" y="24989"/>
                      <a:pt x="30958" y="1648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7" name="Google Shape;297;p21"/>
              <p:cNvSpPr/>
              <p:nvPr/>
            </p:nvSpPr>
            <p:spPr>
              <a:xfrm>
                <a:off x="12205404" y="2424796"/>
                <a:ext cx="45512" cy="45512"/>
              </a:xfrm>
              <a:custGeom>
                <a:avLst/>
                <a:gdLst/>
                <a:ahLst/>
                <a:cxnLst/>
                <a:rect l="l" t="t" r="r" b="b"/>
                <a:pathLst>
                  <a:path w="45512" h="45512" extrusionOk="0">
                    <a:moveTo>
                      <a:pt x="45454" y="24294"/>
                    </a:moveTo>
                    <a:cubicBezTo>
                      <a:pt x="46358" y="11815"/>
                      <a:pt x="36773" y="963"/>
                      <a:pt x="24293" y="59"/>
                    </a:cubicBezTo>
                    <a:cubicBezTo>
                      <a:pt x="11814" y="-845"/>
                      <a:pt x="964" y="8740"/>
                      <a:pt x="59" y="21219"/>
                    </a:cubicBezTo>
                    <a:cubicBezTo>
                      <a:pt x="-845" y="33698"/>
                      <a:pt x="8740" y="44549"/>
                      <a:pt x="21219" y="45453"/>
                    </a:cubicBezTo>
                    <a:cubicBezTo>
                      <a:pt x="33879" y="46358"/>
                      <a:pt x="44730" y="36773"/>
                      <a:pt x="45454" y="242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8" name="Google Shape;298;p21"/>
              <p:cNvSpPr/>
              <p:nvPr/>
            </p:nvSpPr>
            <p:spPr>
              <a:xfrm>
                <a:off x="11822344" y="2817421"/>
                <a:ext cx="56203" cy="5620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203" extrusionOk="0">
                    <a:moveTo>
                      <a:pt x="56134" y="29910"/>
                    </a:moveTo>
                    <a:cubicBezTo>
                      <a:pt x="57220" y="14357"/>
                      <a:pt x="45464" y="974"/>
                      <a:pt x="29910" y="69"/>
                    </a:cubicBezTo>
                    <a:cubicBezTo>
                      <a:pt x="14357" y="-1016"/>
                      <a:pt x="974" y="10740"/>
                      <a:pt x="69" y="26293"/>
                    </a:cubicBezTo>
                    <a:cubicBezTo>
                      <a:pt x="-1016" y="41847"/>
                      <a:pt x="10740" y="55230"/>
                      <a:pt x="26293" y="56134"/>
                    </a:cubicBezTo>
                    <a:cubicBezTo>
                      <a:pt x="41666" y="57219"/>
                      <a:pt x="55049" y="45464"/>
                      <a:pt x="56134" y="2991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9" name="Google Shape;299;p21"/>
              <p:cNvSpPr/>
              <p:nvPr/>
            </p:nvSpPr>
            <p:spPr>
              <a:xfrm>
                <a:off x="12260419" y="3077354"/>
                <a:ext cx="17952" cy="17952"/>
              </a:xfrm>
              <a:custGeom>
                <a:avLst/>
                <a:gdLst/>
                <a:ahLst/>
                <a:cxnLst/>
                <a:rect l="l" t="t" r="r" b="b"/>
                <a:pathLst>
                  <a:path w="17952" h="17952" extrusionOk="0">
                    <a:moveTo>
                      <a:pt x="17928" y="9609"/>
                    </a:moveTo>
                    <a:cubicBezTo>
                      <a:pt x="18290" y="4726"/>
                      <a:pt x="14492" y="386"/>
                      <a:pt x="9609" y="24"/>
                    </a:cubicBezTo>
                    <a:cubicBezTo>
                      <a:pt x="4726" y="-338"/>
                      <a:pt x="385" y="3460"/>
                      <a:pt x="24" y="8343"/>
                    </a:cubicBezTo>
                    <a:cubicBezTo>
                      <a:pt x="-338" y="13226"/>
                      <a:pt x="3460" y="17567"/>
                      <a:pt x="8343" y="17929"/>
                    </a:cubicBezTo>
                    <a:cubicBezTo>
                      <a:pt x="13407" y="18290"/>
                      <a:pt x="17748" y="14492"/>
                      <a:pt x="17928" y="96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0" name="Google Shape;300;p21"/>
              <p:cNvSpPr/>
              <p:nvPr/>
            </p:nvSpPr>
            <p:spPr>
              <a:xfrm>
                <a:off x="12204862" y="2424255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4"/>
                      <a:pt x="37676" y="781"/>
                      <a:pt x="24835" y="58"/>
                    </a:cubicBezTo>
                    <a:cubicBezTo>
                      <a:pt x="11995" y="-846"/>
                      <a:pt x="782" y="8920"/>
                      <a:pt x="58" y="21761"/>
                    </a:cubicBezTo>
                    <a:cubicBezTo>
                      <a:pt x="-846" y="34601"/>
                      <a:pt x="8920" y="45814"/>
                      <a:pt x="21761" y="46538"/>
                    </a:cubicBezTo>
                    <a:cubicBezTo>
                      <a:pt x="34601" y="47442"/>
                      <a:pt x="45814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1" name="Google Shape;301;p21"/>
              <p:cNvSpPr/>
              <p:nvPr/>
            </p:nvSpPr>
            <p:spPr>
              <a:xfrm>
                <a:off x="11843565" y="2838642"/>
                <a:ext cx="13581" cy="13603"/>
              </a:xfrm>
              <a:custGeom>
                <a:avLst/>
                <a:gdLst/>
                <a:ahLst/>
                <a:cxnLst/>
                <a:rect l="l" t="t" r="r" b="b"/>
                <a:pathLst>
                  <a:path w="13581" h="13603" extrusionOk="0">
                    <a:moveTo>
                      <a:pt x="13573" y="7243"/>
                    </a:moveTo>
                    <a:cubicBezTo>
                      <a:pt x="13753" y="3445"/>
                      <a:pt x="11041" y="189"/>
                      <a:pt x="7243" y="9"/>
                    </a:cubicBezTo>
                    <a:cubicBezTo>
                      <a:pt x="3445" y="-172"/>
                      <a:pt x="189" y="2540"/>
                      <a:pt x="9" y="6338"/>
                    </a:cubicBezTo>
                    <a:cubicBezTo>
                      <a:pt x="-172" y="10136"/>
                      <a:pt x="2540" y="13392"/>
                      <a:pt x="6339" y="13573"/>
                    </a:cubicBezTo>
                    <a:cubicBezTo>
                      <a:pt x="10136" y="13934"/>
                      <a:pt x="13392" y="11041"/>
                      <a:pt x="13573" y="72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2" name="Google Shape;302;p21"/>
              <p:cNvSpPr/>
              <p:nvPr/>
            </p:nvSpPr>
            <p:spPr>
              <a:xfrm>
                <a:off x="12236128" y="3053064"/>
                <a:ext cx="66352" cy="66352"/>
              </a:xfrm>
              <a:custGeom>
                <a:avLst/>
                <a:gdLst/>
                <a:ahLst/>
                <a:cxnLst/>
                <a:rect l="l" t="t" r="r" b="b"/>
                <a:pathLst>
                  <a:path w="66352" h="66352" extrusionOk="0">
                    <a:moveTo>
                      <a:pt x="66273" y="35346"/>
                    </a:moveTo>
                    <a:cubicBezTo>
                      <a:pt x="67538" y="17080"/>
                      <a:pt x="53613" y="1346"/>
                      <a:pt x="35346" y="80"/>
                    </a:cubicBezTo>
                    <a:cubicBezTo>
                      <a:pt x="17080" y="-1186"/>
                      <a:pt x="1346" y="12740"/>
                      <a:pt x="80" y="31006"/>
                    </a:cubicBezTo>
                    <a:cubicBezTo>
                      <a:pt x="-1186" y="49272"/>
                      <a:pt x="12739" y="65007"/>
                      <a:pt x="31006" y="66273"/>
                    </a:cubicBezTo>
                    <a:cubicBezTo>
                      <a:pt x="49453" y="67539"/>
                      <a:pt x="65188" y="53613"/>
                      <a:pt x="66273" y="3534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3" name="Google Shape;303;p21"/>
              <p:cNvSpPr/>
              <p:nvPr/>
            </p:nvSpPr>
            <p:spPr>
              <a:xfrm>
                <a:off x="12201269" y="3152579"/>
                <a:ext cx="28643" cy="28624"/>
              </a:xfrm>
              <a:custGeom>
                <a:avLst/>
                <a:gdLst/>
                <a:ahLst/>
                <a:cxnLst/>
                <a:rect l="l" t="t" r="r" b="b"/>
                <a:pathLst>
                  <a:path w="28643" h="28624" extrusionOk="0">
                    <a:moveTo>
                      <a:pt x="28609" y="15226"/>
                    </a:moveTo>
                    <a:cubicBezTo>
                      <a:pt x="29152" y="7449"/>
                      <a:pt x="23184" y="577"/>
                      <a:pt x="15226" y="34"/>
                    </a:cubicBezTo>
                    <a:cubicBezTo>
                      <a:pt x="7449" y="-508"/>
                      <a:pt x="577" y="5460"/>
                      <a:pt x="34" y="13417"/>
                    </a:cubicBezTo>
                    <a:cubicBezTo>
                      <a:pt x="-509" y="21194"/>
                      <a:pt x="5460" y="28067"/>
                      <a:pt x="13417" y="28609"/>
                    </a:cubicBezTo>
                    <a:cubicBezTo>
                      <a:pt x="21194" y="28971"/>
                      <a:pt x="28067" y="23003"/>
                      <a:pt x="28609" y="152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4" name="Google Shape;304;p21"/>
              <p:cNvSpPr/>
              <p:nvPr/>
            </p:nvSpPr>
            <p:spPr>
              <a:xfrm>
                <a:off x="11826516" y="2821593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4"/>
                      <a:pt x="38579" y="781"/>
                      <a:pt x="25377" y="57"/>
                    </a:cubicBezTo>
                    <a:cubicBezTo>
                      <a:pt x="12174" y="-847"/>
                      <a:pt x="781" y="9100"/>
                      <a:pt x="57" y="22302"/>
                    </a:cubicBezTo>
                    <a:cubicBezTo>
                      <a:pt x="-847" y="35505"/>
                      <a:pt x="9100" y="46898"/>
                      <a:pt x="22302" y="47622"/>
                    </a:cubicBezTo>
                    <a:cubicBezTo>
                      <a:pt x="35505" y="48526"/>
                      <a:pt x="46718" y="38579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5" name="Google Shape;305;p21"/>
              <p:cNvSpPr/>
              <p:nvPr/>
            </p:nvSpPr>
            <p:spPr>
              <a:xfrm>
                <a:off x="12244112" y="3060866"/>
                <a:ext cx="50747" cy="50747"/>
              </a:xfrm>
              <a:custGeom>
                <a:avLst/>
                <a:gdLst/>
                <a:ahLst/>
                <a:cxnLst/>
                <a:rect l="l" t="t" r="r" b="b"/>
                <a:pathLst>
                  <a:path w="50747" h="50747" extrusionOk="0">
                    <a:moveTo>
                      <a:pt x="50693" y="27002"/>
                    </a:moveTo>
                    <a:cubicBezTo>
                      <a:pt x="51597" y="13076"/>
                      <a:pt x="41108" y="959"/>
                      <a:pt x="27002" y="54"/>
                    </a:cubicBezTo>
                    <a:cubicBezTo>
                      <a:pt x="12895" y="-850"/>
                      <a:pt x="958" y="9640"/>
                      <a:pt x="54" y="23746"/>
                    </a:cubicBezTo>
                    <a:cubicBezTo>
                      <a:pt x="-850" y="37672"/>
                      <a:pt x="9640" y="49789"/>
                      <a:pt x="23746" y="50694"/>
                    </a:cubicBezTo>
                    <a:cubicBezTo>
                      <a:pt x="37672" y="51598"/>
                      <a:pt x="49789" y="41108"/>
                      <a:pt x="50693" y="270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6" name="Google Shape;306;p21"/>
              <p:cNvSpPr/>
              <p:nvPr/>
            </p:nvSpPr>
            <p:spPr>
              <a:xfrm>
                <a:off x="12479244" y="2430430"/>
                <a:ext cx="30267" cy="30267"/>
              </a:xfrm>
              <a:custGeom>
                <a:avLst/>
                <a:gdLst/>
                <a:ahLst/>
                <a:cxnLst/>
                <a:rect l="l" t="t" r="r" b="b"/>
                <a:pathLst>
                  <a:path w="30267" h="30267" extrusionOk="0">
                    <a:moveTo>
                      <a:pt x="30235" y="16128"/>
                    </a:moveTo>
                    <a:cubicBezTo>
                      <a:pt x="30777" y="7809"/>
                      <a:pt x="24447" y="575"/>
                      <a:pt x="16128" y="32"/>
                    </a:cubicBezTo>
                    <a:cubicBezTo>
                      <a:pt x="7809" y="-510"/>
                      <a:pt x="575" y="5820"/>
                      <a:pt x="32" y="14139"/>
                    </a:cubicBezTo>
                    <a:cubicBezTo>
                      <a:pt x="-510" y="22458"/>
                      <a:pt x="5819" y="29693"/>
                      <a:pt x="14139" y="30235"/>
                    </a:cubicBezTo>
                    <a:cubicBezTo>
                      <a:pt x="22458" y="30778"/>
                      <a:pt x="29692" y="24448"/>
                      <a:pt x="30235" y="161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7" name="Google Shape;307;p21"/>
              <p:cNvSpPr/>
              <p:nvPr/>
            </p:nvSpPr>
            <p:spPr>
              <a:xfrm>
                <a:off x="12206146" y="2425518"/>
                <a:ext cx="43847" cy="43889"/>
              </a:xfrm>
              <a:custGeom>
                <a:avLst/>
                <a:gdLst/>
                <a:ahLst/>
                <a:cxnLst/>
                <a:rect l="l" t="t" r="r" b="b"/>
                <a:pathLst>
                  <a:path w="43847" h="43889" extrusionOk="0">
                    <a:moveTo>
                      <a:pt x="43807" y="23391"/>
                    </a:moveTo>
                    <a:cubicBezTo>
                      <a:pt x="44531" y="11274"/>
                      <a:pt x="35488" y="965"/>
                      <a:pt x="23371" y="61"/>
                    </a:cubicBezTo>
                    <a:cubicBezTo>
                      <a:pt x="11253" y="-843"/>
                      <a:pt x="945" y="8381"/>
                      <a:pt x="41" y="20498"/>
                    </a:cubicBezTo>
                    <a:cubicBezTo>
                      <a:pt x="-683" y="32615"/>
                      <a:pt x="8360" y="42924"/>
                      <a:pt x="20477" y="43828"/>
                    </a:cubicBezTo>
                    <a:cubicBezTo>
                      <a:pt x="32594" y="44732"/>
                      <a:pt x="43084" y="35509"/>
                      <a:pt x="43807" y="233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8" name="Google Shape;308;p21"/>
              <p:cNvSpPr/>
              <p:nvPr/>
            </p:nvSpPr>
            <p:spPr>
              <a:xfrm>
                <a:off x="12255705" y="3072460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1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7" y="20472"/>
                      <a:pt x="5280" y="26983"/>
                      <a:pt x="12876" y="27525"/>
                    </a:cubicBezTo>
                    <a:cubicBezTo>
                      <a:pt x="20472" y="28068"/>
                      <a:pt x="26983" y="22280"/>
                      <a:pt x="27525" y="146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9" name="Google Shape;309;p21"/>
              <p:cNvSpPr/>
              <p:nvPr/>
            </p:nvSpPr>
            <p:spPr>
              <a:xfrm>
                <a:off x="12207247" y="3158557"/>
                <a:ext cx="16688" cy="16670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70" extrusionOk="0">
                    <a:moveTo>
                      <a:pt x="16664" y="8887"/>
                    </a:moveTo>
                    <a:cubicBezTo>
                      <a:pt x="17025" y="4365"/>
                      <a:pt x="13408" y="387"/>
                      <a:pt x="8887" y="25"/>
                    </a:cubicBezTo>
                    <a:cubicBezTo>
                      <a:pt x="4365" y="-337"/>
                      <a:pt x="386" y="3280"/>
                      <a:pt x="25" y="7802"/>
                    </a:cubicBezTo>
                    <a:cubicBezTo>
                      <a:pt x="-337" y="12323"/>
                      <a:pt x="3280" y="16302"/>
                      <a:pt x="7802" y="16664"/>
                    </a:cubicBezTo>
                    <a:cubicBezTo>
                      <a:pt x="12323" y="16844"/>
                      <a:pt x="16302" y="13408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0" name="Google Shape;310;p21"/>
              <p:cNvSpPr/>
              <p:nvPr/>
            </p:nvSpPr>
            <p:spPr>
              <a:xfrm>
                <a:off x="12247381" y="3064136"/>
                <a:ext cx="44208" cy="44229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9" extrusionOk="0">
                    <a:moveTo>
                      <a:pt x="44168" y="23551"/>
                    </a:moveTo>
                    <a:cubicBezTo>
                      <a:pt x="44892" y="11434"/>
                      <a:pt x="35668" y="763"/>
                      <a:pt x="23551" y="40"/>
                    </a:cubicBezTo>
                    <a:cubicBezTo>
                      <a:pt x="11434" y="-684"/>
                      <a:pt x="763" y="8540"/>
                      <a:pt x="40" y="20657"/>
                    </a:cubicBezTo>
                    <a:cubicBezTo>
                      <a:pt x="-684" y="32774"/>
                      <a:pt x="8540" y="43445"/>
                      <a:pt x="20657" y="44168"/>
                    </a:cubicBezTo>
                    <a:cubicBezTo>
                      <a:pt x="32774" y="45073"/>
                      <a:pt x="43445" y="35849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1" name="Google Shape;311;p21"/>
              <p:cNvSpPr/>
              <p:nvPr/>
            </p:nvSpPr>
            <p:spPr>
              <a:xfrm>
                <a:off x="12468734" y="2419919"/>
                <a:ext cx="51108" cy="51107"/>
              </a:xfrm>
              <a:custGeom>
                <a:avLst/>
                <a:gdLst/>
                <a:ahLst/>
                <a:cxnLst/>
                <a:rect l="l" t="t" r="r" b="b"/>
                <a:pathLst>
                  <a:path w="51108" h="51107" extrusionOk="0">
                    <a:moveTo>
                      <a:pt x="51055" y="27182"/>
                    </a:moveTo>
                    <a:cubicBezTo>
                      <a:pt x="51959" y="13075"/>
                      <a:pt x="41288" y="958"/>
                      <a:pt x="27182" y="53"/>
                    </a:cubicBezTo>
                    <a:cubicBezTo>
                      <a:pt x="13075" y="-851"/>
                      <a:pt x="958" y="9820"/>
                      <a:pt x="53" y="23926"/>
                    </a:cubicBezTo>
                    <a:cubicBezTo>
                      <a:pt x="-851" y="38033"/>
                      <a:pt x="9820" y="50150"/>
                      <a:pt x="23926" y="51054"/>
                    </a:cubicBezTo>
                    <a:cubicBezTo>
                      <a:pt x="38033" y="51959"/>
                      <a:pt x="50151" y="41288"/>
                      <a:pt x="51055" y="271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2" name="Google Shape;312;p21"/>
              <p:cNvSpPr/>
              <p:nvPr/>
            </p:nvSpPr>
            <p:spPr>
              <a:xfrm>
                <a:off x="8617628" y="4146727"/>
                <a:ext cx="39875" cy="39875"/>
              </a:xfrm>
              <a:custGeom>
                <a:avLst/>
                <a:gdLst/>
                <a:ahLst/>
                <a:cxnLst/>
                <a:rect l="l" t="t" r="r" b="b"/>
                <a:pathLst>
                  <a:path w="39875" h="39875" extrusionOk="0">
                    <a:moveTo>
                      <a:pt x="39832" y="21204"/>
                    </a:moveTo>
                    <a:cubicBezTo>
                      <a:pt x="40555" y="10172"/>
                      <a:pt x="32236" y="586"/>
                      <a:pt x="21204" y="44"/>
                    </a:cubicBezTo>
                    <a:cubicBezTo>
                      <a:pt x="10172" y="-680"/>
                      <a:pt x="586" y="7640"/>
                      <a:pt x="44" y="18672"/>
                    </a:cubicBezTo>
                    <a:cubicBezTo>
                      <a:pt x="-680" y="29704"/>
                      <a:pt x="7640" y="39108"/>
                      <a:pt x="18672" y="39832"/>
                    </a:cubicBezTo>
                    <a:cubicBezTo>
                      <a:pt x="29523" y="40555"/>
                      <a:pt x="39108" y="32236"/>
                      <a:pt x="39832" y="212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3" name="Google Shape;313;p21"/>
              <p:cNvSpPr/>
              <p:nvPr/>
            </p:nvSpPr>
            <p:spPr>
              <a:xfrm>
                <a:off x="9805067" y="4535513"/>
                <a:ext cx="93691" cy="93690"/>
              </a:xfrm>
              <a:custGeom>
                <a:avLst/>
                <a:gdLst/>
                <a:ahLst/>
                <a:cxnLst/>
                <a:rect l="l" t="t" r="r" b="b"/>
                <a:pathLst>
                  <a:path w="93691" h="93690" extrusionOk="0">
                    <a:moveTo>
                      <a:pt x="93597" y="49830"/>
                    </a:moveTo>
                    <a:cubicBezTo>
                      <a:pt x="95224" y="23967"/>
                      <a:pt x="75692" y="1722"/>
                      <a:pt x="49830" y="95"/>
                    </a:cubicBezTo>
                    <a:cubicBezTo>
                      <a:pt x="23968" y="-1533"/>
                      <a:pt x="1723" y="17999"/>
                      <a:pt x="95" y="43861"/>
                    </a:cubicBezTo>
                    <a:cubicBezTo>
                      <a:pt x="-1533" y="69724"/>
                      <a:pt x="17999" y="91969"/>
                      <a:pt x="43862" y="93596"/>
                    </a:cubicBezTo>
                    <a:cubicBezTo>
                      <a:pt x="69543" y="95224"/>
                      <a:pt x="91788" y="75511"/>
                      <a:pt x="93597" y="498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4" name="Google Shape;314;p21"/>
              <p:cNvSpPr/>
              <p:nvPr/>
            </p:nvSpPr>
            <p:spPr>
              <a:xfrm>
                <a:off x="9508761" y="5135340"/>
                <a:ext cx="152421" cy="152442"/>
              </a:xfrm>
              <a:custGeom>
                <a:avLst/>
                <a:gdLst/>
                <a:ahLst/>
                <a:cxnLst/>
                <a:rect l="l" t="t" r="r" b="b"/>
                <a:pathLst>
                  <a:path w="152421" h="152442" extrusionOk="0">
                    <a:moveTo>
                      <a:pt x="152260" y="81184"/>
                    </a:moveTo>
                    <a:cubicBezTo>
                      <a:pt x="154973" y="39226"/>
                      <a:pt x="123142" y="2874"/>
                      <a:pt x="81184" y="161"/>
                    </a:cubicBezTo>
                    <a:cubicBezTo>
                      <a:pt x="39226" y="-2551"/>
                      <a:pt x="2874" y="29279"/>
                      <a:pt x="161" y="71237"/>
                    </a:cubicBezTo>
                    <a:cubicBezTo>
                      <a:pt x="-2551" y="113195"/>
                      <a:pt x="29279" y="149547"/>
                      <a:pt x="71237" y="152260"/>
                    </a:cubicBezTo>
                    <a:cubicBezTo>
                      <a:pt x="113195" y="155154"/>
                      <a:pt x="149366" y="123323"/>
                      <a:pt x="152260" y="811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5" name="Google Shape;315;p21"/>
              <p:cNvSpPr/>
              <p:nvPr/>
            </p:nvSpPr>
            <p:spPr>
              <a:xfrm>
                <a:off x="8908412" y="4946073"/>
                <a:ext cx="72489" cy="72489"/>
              </a:xfrm>
              <a:custGeom>
                <a:avLst/>
                <a:gdLst/>
                <a:ahLst/>
                <a:cxnLst/>
                <a:rect l="l" t="t" r="r" b="b"/>
                <a:pathLst>
                  <a:path w="72489" h="72489" extrusionOk="0">
                    <a:moveTo>
                      <a:pt x="72416" y="38596"/>
                    </a:moveTo>
                    <a:cubicBezTo>
                      <a:pt x="73681" y="18521"/>
                      <a:pt x="58490" y="1340"/>
                      <a:pt x="38596" y="74"/>
                    </a:cubicBezTo>
                    <a:cubicBezTo>
                      <a:pt x="18521" y="-1192"/>
                      <a:pt x="1340" y="14000"/>
                      <a:pt x="74" y="33893"/>
                    </a:cubicBezTo>
                    <a:cubicBezTo>
                      <a:pt x="-1192" y="53968"/>
                      <a:pt x="13999" y="71150"/>
                      <a:pt x="33894" y="72415"/>
                    </a:cubicBezTo>
                    <a:cubicBezTo>
                      <a:pt x="53968" y="73682"/>
                      <a:pt x="71150" y="58490"/>
                      <a:pt x="72416" y="385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6" name="Google Shape;316;p21"/>
              <p:cNvSpPr/>
              <p:nvPr/>
            </p:nvSpPr>
            <p:spPr>
              <a:xfrm>
                <a:off x="9842034" y="4572479"/>
                <a:ext cx="19396" cy="19397"/>
              </a:xfrm>
              <a:custGeom>
                <a:avLst/>
                <a:gdLst/>
                <a:ahLst/>
                <a:cxnLst/>
                <a:rect l="l" t="t" r="r" b="b"/>
                <a:pathLst>
                  <a:path w="19396" h="19397" extrusionOk="0">
                    <a:moveTo>
                      <a:pt x="19374" y="10332"/>
                    </a:moveTo>
                    <a:cubicBezTo>
                      <a:pt x="19736" y="5087"/>
                      <a:pt x="15757" y="385"/>
                      <a:pt x="10331" y="23"/>
                    </a:cubicBezTo>
                    <a:cubicBezTo>
                      <a:pt x="5087" y="-339"/>
                      <a:pt x="385" y="3640"/>
                      <a:pt x="23" y="9066"/>
                    </a:cubicBezTo>
                    <a:cubicBezTo>
                      <a:pt x="-339" y="14310"/>
                      <a:pt x="3640" y="19013"/>
                      <a:pt x="9066" y="19374"/>
                    </a:cubicBezTo>
                    <a:cubicBezTo>
                      <a:pt x="14491" y="19736"/>
                      <a:pt x="19193" y="15757"/>
                      <a:pt x="19374" y="10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7" name="Google Shape;317;p21"/>
              <p:cNvSpPr/>
              <p:nvPr/>
            </p:nvSpPr>
            <p:spPr>
              <a:xfrm>
                <a:off x="10388542" y="4873386"/>
                <a:ext cx="46955" cy="46956"/>
              </a:xfrm>
              <a:custGeom>
                <a:avLst/>
                <a:gdLst/>
                <a:ahLst/>
                <a:cxnLst/>
                <a:rect l="l" t="t" r="r" b="b"/>
                <a:pathLst>
                  <a:path w="46955" h="46956" extrusionOk="0">
                    <a:moveTo>
                      <a:pt x="46898" y="25015"/>
                    </a:moveTo>
                    <a:cubicBezTo>
                      <a:pt x="47803" y="11994"/>
                      <a:pt x="37856" y="961"/>
                      <a:pt x="25015" y="57"/>
                    </a:cubicBezTo>
                    <a:cubicBezTo>
                      <a:pt x="11994" y="-847"/>
                      <a:pt x="961" y="9100"/>
                      <a:pt x="57" y="21941"/>
                    </a:cubicBezTo>
                    <a:cubicBezTo>
                      <a:pt x="-847" y="34781"/>
                      <a:pt x="9100" y="45994"/>
                      <a:pt x="21940" y="46899"/>
                    </a:cubicBezTo>
                    <a:cubicBezTo>
                      <a:pt x="34962" y="47803"/>
                      <a:pt x="46175" y="38037"/>
                      <a:pt x="46898" y="250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8" name="Google Shape;318;p21"/>
              <p:cNvSpPr/>
              <p:nvPr/>
            </p:nvSpPr>
            <p:spPr>
              <a:xfrm>
                <a:off x="9565485" y="5192245"/>
                <a:ext cx="38792" cy="38792"/>
              </a:xfrm>
              <a:custGeom>
                <a:avLst/>
                <a:gdLst/>
                <a:ahLst/>
                <a:cxnLst/>
                <a:rect l="l" t="t" r="r" b="b"/>
                <a:pathLst>
                  <a:path w="38792" h="38792" extrusionOk="0">
                    <a:moveTo>
                      <a:pt x="38748" y="20662"/>
                    </a:moveTo>
                    <a:cubicBezTo>
                      <a:pt x="39471" y="9992"/>
                      <a:pt x="31332" y="768"/>
                      <a:pt x="20662" y="45"/>
                    </a:cubicBezTo>
                    <a:cubicBezTo>
                      <a:pt x="9992" y="-679"/>
                      <a:pt x="768" y="7460"/>
                      <a:pt x="45" y="18130"/>
                    </a:cubicBezTo>
                    <a:cubicBezTo>
                      <a:pt x="-679" y="28801"/>
                      <a:pt x="7460" y="38024"/>
                      <a:pt x="18130" y="38748"/>
                    </a:cubicBezTo>
                    <a:cubicBezTo>
                      <a:pt x="28801" y="39471"/>
                      <a:pt x="38024" y="31332"/>
                      <a:pt x="38748" y="206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9" name="Google Shape;319;p21"/>
              <p:cNvSpPr/>
              <p:nvPr/>
            </p:nvSpPr>
            <p:spPr>
              <a:xfrm>
                <a:off x="12645654" y="6121692"/>
                <a:ext cx="11954" cy="11954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54" extrusionOk="0">
                    <a:moveTo>
                      <a:pt x="11946" y="6339"/>
                    </a:moveTo>
                    <a:cubicBezTo>
                      <a:pt x="12127" y="3083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1" y="8871"/>
                      <a:pt x="2360" y="11765"/>
                      <a:pt x="5616" y="11945"/>
                    </a:cubicBezTo>
                    <a:cubicBezTo>
                      <a:pt x="8871" y="12126"/>
                      <a:pt x="11765" y="9594"/>
                      <a:pt x="11946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0" name="Google Shape;320;p21"/>
              <p:cNvSpPr/>
              <p:nvPr/>
            </p:nvSpPr>
            <p:spPr>
              <a:xfrm>
                <a:off x="12282991" y="6716311"/>
                <a:ext cx="45311" cy="45291"/>
              </a:xfrm>
              <a:custGeom>
                <a:avLst/>
                <a:gdLst/>
                <a:ahLst/>
                <a:cxnLst/>
                <a:rect l="l" t="t" r="r" b="b"/>
                <a:pathLst>
                  <a:path w="45311" h="45291" extrusionOk="0">
                    <a:moveTo>
                      <a:pt x="45273" y="24093"/>
                    </a:moveTo>
                    <a:cubicBezTo>
                      <a:pt x="45996" y="11614"/>
                      <a:pt x="36592" y="763"/>
                      <a:pt x="24113" y="39"/>
                    </a:cubicBezTo>
                    <a:cubicBezTo>
                      <a:pt x="11634" y="-684"/>
                      <a:pt x="783" y="8720"/>
                      <a:pt x="59" y="21199"/>
                    </a:cubicBezTo>
                    <a:cubicBezTo>
                      <a:pt x="-845" y="33678"/>
                      <a:pt x="8740" y="44530"/>
                      <a:pt x="21219" y="45253"/>
                    </a:cubicBezTo>
                    <a:cubicBezTo>
                      <a:pt x="33698" y="45976"/>
                      <a:pt x="44549" y="36572"/>
                      <a:pt x="45273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1" name="Google Shape;321;p21"/>
              <p:cNvSpPr/>
              <p:nvPr/>
            </p:nvSpPr>
            <p:spPr>
              <a:xfrm>
                <a:off x="11875528" y="5702967"/>
                <a:ext cx="48400" cy="48380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380" extrusionOk="0">
                    <a:moveTo>
                      <a:pt x="48344" y="25737"/>
                    </a:moveTo>
                    <a:cubicBezTo>
                      <a:pt x="49249" y="12354"/>
                      <a:pt x="39121" y="960"/>
                      <a:pt x="25737" y="56"/>
                    </a:cubicBezTo>
                    <a:cubicBezTo>
                      <a:pt x="12354" y="-848"/>
                      <a:pt x="960" y="9280"/>
                      <a:pt x="56" y="22663"/>
                    </a:cubicBezTo>
                    <a:cubicBezTo>
                      <a:pt x="-848" y="36046"/>
                      <a:pt x="9280" y="47440"/>
                      <a:pt x="22663" y="48344"/>
                    </a:cubicBezTo>
                    <a:cubicBezTo>
                      <a:pt x="36046" y="49068"/>
                      <a:pt x="47440" y="38940"/>
                      <a:pt x="48344" y="257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2" name="Google Shape;322;p21"/>
              <p:cNvSpPr/>
              <p:nvPr/>
            </p:nvSpPr>
            <p:spPr>
              <a:xfrm>
                <a:off x="10055412" y="3840170"/>
                <a:ext cx="52372" cy="52371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71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2"/>
                      <a:pt x="957" y="10000"/>
                      <a:pt x="53" y="24468"/>
                    </a:cubicBezTo>
                    <a:cubicBezTo>
                      <a:pt x="-852" y="38936"/>
                      <a:pt x="9999" y="51415"/>
                      <a:pt x="24468" y="52320"/>
                    </a:cubicBezTo>
                    <a:cubicBezTo>
                      <a:pt x="38936" y="53224"/>
                      <a:pt x="51415" y="42192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3" name="Google Shape;323;p21"/>
              <p:cNvSpPr/>
              <p:nvPr/>
            </p:nvSpPr>
            <p:spPr>
              <a:xfrm>
                <a:off x="9899685" y="3870723"/>
                <a:ext cx="61980" cy="61980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80" extrusionOk="0">
                    <a:moveTo>
                      <a:pt x="61916" y="32979"/>
                    </a:moveTo>
                    <a:cubicBezTo>
                      <a:pt x="63001" y="15979"/>
                      <a:pt x="50160" y="1149"/>
                      <a:pt x="32979" y="64"/>
                    </a:cubicBezTo>
                    <a:cubicBezTo>
                      <a:pt x="15979" y="-1021"/>
                      <a:pt x="1149" y="11819"/>
                      <a:pt x="64" y="29001"/>
                    </a:cubicBezTo>
                    <a:cubicBezTo>
                      <a:pt x="-1021" y="46001"/>
                      <a:pt x="11819" y="60831"/>
                      <a:pt x="29001" y="61916"/>
                    </a:cubicBezTo>
                    <a:cubicBezTo>
                      <a:pt x="46182" y="63001"/>
                      <a:pt x="60650" y="50161"/>
                      <a:pt x="61916" y="329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4" name="Google Shape;324;p21"/>
              <p:cNvSpPr/>
              <p:nvPr/>
            </p:nvSpPr>
            <p:spPr>
              <a:xfrm>
                <a:off x="10051421" y="3835998"/>
                <a:ext cx="60535" cy="60535"/>
              </a:xfrm>
              <a:custGeom>
                <a:avLst/>
                <a:gdLst/>
                <a:ahLst/>
                <a:cxnLst/>
                <a:rect l="l" t="t" r="r" b="b"/>
                <a:pathLst>
                  <a:path w="60535" h="60535" extrusionOk="0">
                    <a:moveTo>
                      <a:pt x="60470" y="32257"/>
                    </a:moveTo>
                    <a:cubicBezTo>
                      <a:pt x="61555" y="15618"/>
                      <a:pt x="48896" y="1150"/>
                      <a:pt x="32257" y="65"/>
                    </a:cubicBezTo>
                    <a:cubicBezTo>
                      <a:pt x="15618" y="-1020"/>
                      <a:pt x="1150" y="11640"/>
                      <a:pt x="65" y="28278"/>
                    </a:cubicBezTo>
                    <a:cubicBezTo>
                      <a:pt x="-1020" y="44917"/>
                      <a:pt x="11640" y="59385"/>
                      <a:pt x="28278" y="60470"/>
                    </a:cubicBezTo>
                    <a:cubicBezTo>
                      <a:pt x="44917" y="61556"/>
                      <a:pt x="59385" y="48896"/>
                      <a:pt x="60470" y="322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5" name="Google Shape;325;p21"/>
              <p:cNvSpPr/>
              <p:nvPr/>
            </p:nvSpPr>
            <p:spPr>
              <a:xfrm>
                <a:off x="10175989" y="3504993"/>
                <a:ext cx="103480" cy="103480"/>
              </a:xfrm>
              <a:custGeom>
                <a:avLst/>
                <a:gdLst/>
                <a:ahLst/>
                <a:cxnLst/>
                <a:rect l="l" t="t" r="r" b="b"/>
                <a:pathLst>
                  <a:path w="103480" h="103480" extrusionOk="0">
                    <a:moveTo>
                      <a:pt x="103374" y="55086"/>
                    </a:moveTo>
                    <a:cubicBezTo>
                      <a:pt x="105183" y="26511"/>
                      <a:pt x="83661" y="1915"/>
                      <a:pt x="55086" y="106"/>
                    </a:cubicBezTo>
                    <a:cubicBezTo>
                      <a:pt x="26511" y="-1702"/>
                      <a:pt x="1915" y="19819"/>
                      <a:pt x="106" y="48394"/>
                    </a:cubicBezTo>
                    <a:cubicBezTo>
                      <a:pt x="-1703" y="76969"/>
                      <a:pt x="19819" y="101566"/>
                      <a:pt x="48394" y="103374"/>
                    </a:cubicBezTo>
                    <a:cubicBezTo>
                      <a:pt x="76788" y="105183"/>
                      <a:pt x="101566" y="83661"/>
                      <a:pt x="103374" y="550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6" name="Google Shape;326;p21"/>
              <p:cNvSpPr/>
              <p:nvPr/>
            </p:nvSpPr>
            <p:spPr>
              <a:xfrm>
                <a:off x="10068992" y="3853568"/>
                <a:ext cx="25575" cy="2557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75" extrusionOk="0">
                    <a:moveTo>
                      <a:pt x="25538" y="13601"/>
                    </a:moveTo>
                    <a:cubicBezTo>
                      <a:pt x="26080" y="6548"/>
                      <a:pt x="20655" y="399"/>
                      <a:pt x="13601" y="37"/>
                    </a:cubicBezTo>
                    <a:cubicBezTo>
                      <a:pt x="6548" y="-505"/>
                      <a:pt x="399" y="4921"/>
                      <a:pt x="37" y="11974"/>
                    </a:cubicBezTo>
                    <a:cubicBezTo>
                      <a:pt x="-505" y="19027"/>
                      <a:pt x="4920" y="25176"/>
                      <a:pt x="11974" y="25538"/>
                    </a:cubicBezTo>
                    <a:cubicBezTo>
                      <a:pt x="18846" y="26080"/>
                      <a:pt x="24995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7" name="Google Shape;327;p21"/>
              <p:cNvSpPr/>
              <p:nvPr/>
            </p:nvSpPr>
            <p:spPr>
              <a:xfrm>
                <a:off x="9885183" y="3856402"/>
                <a:ext cx="90802" cy="90802"/>
              </a:xfrm>
              <a:custGeom>
                <a:avLst/>
                <a:gdLst/>
                <a:ahLst/>
                <a:cxnLst/>
                <a:rect l="l" t="t" r="r" b="b"/>
                <a:pathLst>
                  <a:path w="90802" h="90802" extrusionOk="0">
                    <a:moveTo>
                      <a:pt x="90705" y="48385"/>
                    </a:moveTo>
                    <a:cubicBezTo>
                      <a:pt x="92333" y="23428"/>
                      <a:pt x="73343" y="1725"/>
                      <a:pt x="48385" y="97"/>
                    </a:cubicBezTo>
                    <a:cubicBezTo>
                      <a:pt x="23427" y="-1530"/>
                      <a:pt x="1725" y="17459"/>
                      <a:pt x="97" y="42417"/>
                    </a:cubicBezTo>
                    <a:cubicBezTo>
                      <a:pt x="-1530" y="67375"/>
                      <a:pt x="17459" y="89078"/>
                      <a:pt x="42417" y="90705"/>
                    </a:cubicBezTo>
                    <a:cubicBezTo>
                      <a:pt x="67556" y="92333"/>
                      <a:pt x="89078" y="73343"/>
                      <a:pt x="90705" y="48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8" name="Google Shape;328;p21"/>
              <p:cNvSpPr/>
              <p:nvPr/>
            </p:nvSpPr>
            <p:spPr>
              <a:xfrm>
                <a:off x="9840229" y="4570494"/>
                <a:ext cx="23368" cy="23368"/>
              </a:xfrm>
              <a:custGeom>
                <a:avLst/>
                <a:gdLst/>
                <a:ahLst/>
                <a:cxnLst/>
                <a:rect l="l" t="t" r="r" b="b"/>
                <a:pathLst>
                  <a:path w="23368" h="23368" extrusionOk="0">
                    <a:moveTo>
                      <a:pt x="23349" y="12498"/>
                    </a:moveTo>
                    <a:cubicBezTo>
                      <a:pt x="23711" y="5987"/>
                      <a:pt x="18828" y="561"/>
                      <a:pt x="12498" y="19"/>
                    </a:cubicBezTo>
                    <a:cubicBezTo>
                      <a:pt x="5987" y="-343"/>
                      <a:pt x="561" y="4540"/>
                      <a:pt x="19" y="10870"/>
                    </a:cubicBezTo>
                    <a:cubicBezTo>
                      <a:pt x="-343" y="17381"/>
                      <a:pt x="4540" y="22807"/>
                      <a:pt x="10870" y="23349"/>
                    </a:cubicBezTo>
                    <a:cubicBezTo>
                      <a:pt x="17381" y="23711"/>
                      <a:pt x="22807" y="19009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29" name="Google Shape;329;p21"/>
              <p:cNvSpPr/>
              <p:nvPr/>
            </p:nvSpPr>
            <p:spPr>
              <a:xfrm>
                <a:off x="10059585" y="3844161"/>
                <a:ext cx="44208" cy="44229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9" extrusionOk="0">
                    <a:moveTo>
                      <a:pt x="44168" y="23551"/>
                    </a:moveTo>
                    <a:cubicBezTo>
                      <a:pt x="44892" y="11253"/>
                      <a:pt x="35668" y="763"/>
                      <a:pt x="23551" y="40"/>
                    </a:cubicBezTo>
                    <a:cubicBezTo>
                      <a:pt x="11253" y="-684"/>
                      <a:pt x="763" y="8540"/>
                      <a:pt x="40" y="20657"/>
                    </a:cubicBezTo>
                    <a:cubicBezTo>
                      <a:pt x="-684" y="32955"/>
                      <a:pt x="8540" y="43445"/>
                      <a:pt x="20657" y="44168"/>
                    </a:cubicBezTo>
                    <a:cubicBezTo>
                      <a:pt x="32774" y="45072"/>
                      <a:pt x="43445" y="35849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0" name="Google Shape;330;p21"/>
              <p:cNvSpPr/>
              <p:nvPr/>
            </p:nvSpPr>
            <p:spPr>
              <a:xfrm rot="-3624134">
                <a:off x="11083596" y="3941901"/>
                <a:ext cx="75234" cy="75234"/>
              </a:xfrm>
              <a:custGeom>
                <a:avLst/>
                <a:gdLst/>
                <a:ahLst/>
                <a:cxnLst/>
                <a:rect l="l" t="t" r="r" b="b"/>
                <a:pathLst>
                  <a:path w="75234" h="75234" extrusionOk="0">
                    <a:moveTo>
                      <a:pt x="75234" y="37617"/>
                    </a:moveTo>
                    <a:cubicBezTo>
                      <a:pt x="75234" y="58393"/>
                      <a:pt x="58393" y="75234"/>
                      <a:pt x="37617" y="75234"/>
                    </a:cubicBezTo>
                    <a:cubicBezTo>
                      <a:pt x="16842" y="75234"/>
                      <a:pt x="0" y="58393"/>
                      <a:pt x="0" y="37617"/>
                    </a:cubicBezTo>
                    <a:cubicBezTo>
                      <a:pt x="0" y="16842"/>
                      <a:pt x="16842" y="0"/>
                      <a:pt x="37617" y="0"/>
                    </a:cubicBezTo>
                    <a:cubicBezTo>
                      <a:pt x="58393" y="0"/>
                      <a:pt x="75234" y="16842"/>
                      <a:pt x="75234" y="3761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1" name="Google Shape;331;p21"/>
              <p:cNvSpPr/>
              <p:nvPr/>
            </p:nvSpPr>
            <p:spPr>
              <a:xfrm>
                <a:off x="10182327" y="3511332"/>
                <a:ext cx="90802" cy="90802"/>
              </a:xfrm>
              <a:custGeom>
                <a:avLst/>
                <a:gdLst/>
                <a:ahLst/>
                <a:cxnLst/>
                <a:rect l="l" t="t" r="r" b="b"/>
                <a:pathLst>
                  <a:path w="90802" h="90802" extrusionOk="0">
                    <a:moveTo>
                      <a:pt x="90706" y="48385"/>
                    </a:moveTo>
                    <a:cubicBezTo>
                      <a:pt x="92333" y="23428"/>
                      <a:pt x="73343" y="1906"/>
                      <a:pt x="48385" y="97"/>
                    </a:cubicBezTo>
                    <a:cubicBezTo>
                      <a:pt x="23428" y="-1530"/>
                      <a:pt x="1906" y="17459"/>
                      <a:pt x="97" y="42417"/>
                    </a:cubicBezTo>
                    <a:cubicBezTo>
                      <a:pt x="-1530" y="67375"/>
                      <a:pt x="17459" y="88897"/>
                      <a:pt x="42417" y="90706"/>
                    </a:cubicBezTo>
                    <a:cubicBezTo>
                      <a:pt x="67375" y="92333"/>
                      <a:pt x="89078" y="73343"/>
                      <a:pt x="90706" y="48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2" name="Google Shape;332;p21"/>
              <p:cNvSpPr/>
              <p:nvPr/>
            </p:nvSpPr>
            <p:spPr>
              <a:xfrm>
                <a:off x="10160880" y="2713295"/>
                <a:ext cx="19396" cy="19380"/>
              </a:xfrm>
              <a:custGeom>
                <a:avLst/>
                <a:gdLst/>
                <a:ahLst/>
                <a:cxnLst/>
                <a:rect l="l" t="t" r="r" b="b"/>
                <a:pathLst>
                  <a:path w="19396" h="19380" extrusionOk="0">
                    <a:moveTo>
                      <a:pt x="19374" y="10332"/>
                    </a:moveTo>
                    <a:cubicBezTo>
                      <a:pt x="19736" y="5087"/>
                      <a:pt x="15757" y="385"/>
                      <a:pt x="10331" y="23"/>
                    </a:cubicBezTo>
                    <a:cubicBezTo>
                      <a:pt x="5087" y="-339"/>
                      <a:pt x="384" y="3640"/>
                      <a:pt x="23" y="9066"/>
                    </a:cubicBezTo>
                    <a:cubicBezTo>
                      <a:pt x="-339" y="14310"/>
                      <a:pt x="3640" y="19013"/>
                      <a:pt x="9066" y="19374"/>
                    </a:cubicBezTo>
                    <a:cubicBezTo>
                      <a:pt x="14491" y="19555"/>
                      <a:pt x="19012" y="15576"/>
                      <a:pt x="19374" y="10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3" name="Google Shape;333;p21"/>
              <p:cNvSpPr/>
              <p:nvPr/>
            </p:nvSpPr>
            <p:spPr>
              <a:xfrm>
                <a:off x="10685314" y="3173706"/>
                <a:ext cx="57827" cy="57808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08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099" y="56675"/>
                      <a:pt x="27015" y="57760"/>
                    </a:cubicBezTo>
                    <a:cubicBezTo>
                      <a:pt x="42930" y="58664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4" name="Google Shape;334;p21"/>
              <p:cNvSpPr/>
              <p:nvPr/>
            </p:nvSpPr>
            <p:spPr>
              <a:xfrm>
                <a:off x="10210046" y="3539051"/>
                <a:ext cx="35364" cy="35344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4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6"/>
                    </a:cubicBezTo>
                    <a:cubicBezTo>
                      <a:pt x="-675" y="26273"/>
                      <a:pt x="6741" y="34592"/>
                      <a:pt x="16507" y="35315"/>
                    </a:cubicBezTo>
                    <a:cubicBezTo>
                      <a:pt x="26273" y="35858"/>
                      <a:pt x="34592" y="28624"/>
                      <a:pt x="35316" y="1885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5" name="Google Shape;335;p21"/>
              <p:cNvSpPr/>
              <p:nvPr/>
            </p:nvSpPr>
            <p:spPr>
              <a:xfrm>
                <a:off x="10682967" y="3171179"/>
                <a:ext cx="62521" cy="62543"/>
              </a:xfrm>
              <a:custGeom>
                <a:avLst/>
                <a:gdLst/>
                <a:ahLst/>
                <a:cxnLst/>
                <a:rect l="l" t="t" r="r" b="b"/>
                <a:pathLst>
                  <a:path w="62521" h="62543" extrusionOk="0">
                    <a:moveTo>
                      <a:pt x="62458" y="33340"/>
                    </a:moveTo>
                    <a:cubicBezTo>
                      <a:pt x="63543" y="16159"/>
                      <a:pt x="50521" y="1329"/>
                      <a:pt x="33340" y="63"/>
                    </a:cubicBezTo>
                    <a:cubicBezTo>
                      <a:pt x="16159" y="-1022"/>
                      <a:pt x="1329" y="12000"/>
                      <a:pt x="63" y="29181"/>
                    </a:cubicBezTo>
                    <a:cubicBezTo>
                      <a:pt x="-1022" y="46362"/>
                      <a:pt x="12000" y="61192"/>
                      <a:pt x="29181" y="62458"/>
                    </a:cubicBezTo>
                    <a:cubicBezTo>
                      <a:pt x="46543" y="63724"/>
                      <a:pt x="61373" y="50702"/>
                      <a:pt x="62458" y="333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6" name="Google Shape;336;p21"/>
              <p:cNvSpPr/>
              <p:nvPr/>
            </p:nvSpPr>
            <p:spPr>
              <a:xfrm>
                <a:off x="10146739" y="2699155"/>
                <a:ext cx="47678" cy="4765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58" extrusionOk="0">
                    <a:moveTo>
                      <a:pt x="47622" y="25377"/>
                    </a:moveTo>
                    <a:cubicBezTo>
                      <a:pt x="48526" y="12174"/>
                      <a:pt x="38579" y="961"/>
                      <a:pt x="25377" y="57"/>
                    </a:cubicBezTo>
                    <a:cubicBezTo>
                      <a:pt x="12175" y="-847"/>
                      <a:pt x="961" y="9100"/>
                      <a:pt x="57" y="22302"/>
                    </a:cubicBezTo>
                    <a:cubicBezTo>
                      <a:pt x="-847" y="35505"/>
                      <a:pt x="9100" y="46718"/>
                      <a:pt x="22302" y="47622"/>
                    </a:cubicBezTo>
                    <a:cubicBezTo>
                      <a:pt x="35505" y="48345"/>
                      <a:pt x="46718" y="38398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7" name="Google Shape;337;p21"/>
              <p:cNvSpPr/>
              <p:nvPr/>
            </p:nvSpPr>
            <p:spPr>
              <a:xfrm>
                <a:off x="11091543" y="3042798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900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8" name="Google Shape;338;p21"/>
              <p:cNvSpPr/>
              <p:nvPr/>
            </p:nvSpPr>
            <p:spPr>
              <a:xfrm>
                <a:off x="10705070" y="3193463"/>
                <a:ext cx="18494" cy="18477"/>
              </a:xfrm>
              <a:custGeom>
                <a:avLst/>
                <a:gdLst/>
                <a:ahLst/>
                <a:cxnLst/>
                <a:rect l="l" t="t" r="r" b="b"/>
                <a:pathLst>
                  <a:path w="18494" h="18477" extrusionOk="0">
                    <a:moveTo>
                      <a:pt x="18471" y="9790"/>
                    </a:moveTo>
                    <a:cubicBezTo>
                      <a:pt x="18833" y="4726"/>
                      <a:pt x="15035" y="385"/>
                      <a:pt x="9790" y="24"/>
                    </a:cubicBezTo>
                    <a:cubicBezTo>
                      <a:pt x="4726" y="-338"/>
                      <a:pt x="385" y="3460"/>
                      <a:pt x="24" y="8705"/>
                    </a:cubicBezTo>
                    <a:cubicBezTo>
                      <a:pt x="-338" y="13769"/>
                      <a:pt x="3460" y="18109"/>
                      <a:pt x="8705" y="18471"/>
                    </a:cubicBezTo>
                    <a:cubicBezTo>
                      <a:pt x="13769" y="18652"/>
                      <a:pt x="18109" y="14854"/>
                      <a:pt x="18471" y="979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39" name="Google Shape;339;p21"/>
              <p:cNvSpPr/>
              <p:nvPr/>
            </p:nvSpPr>
            <p:spPr>
              <a:xfrm>
                <a:off x="11048599" y="2999653"/>
                <a:ext cx="111462" cy="111504"/>
              </a:xfrm>
              <a:custGeom>
                <a:avLst/>
                <a:gdLst/>
                <a:ahLst/>
                <a:cxnLst/>
                <a:rect l="l" t="t" r="r" b="b"/>
                <a:pathLst>
                  <a:path w="111462" h="111504" extrusionOk="0">
                    <a:moveTo>
                      <a:pt x="111344" y="59459"/>
                    </a:moveTo>
                    <a:cubicBezTo>
                      <a:pt x="113333" y="28714"/>
                      <a:pt x="90003" y="2309"/>
                      <a:pt x="59439" y="139"/>
                    </a:cubicBezTo>
                    <a:cubicBezTo>
                      <a:pt x="28874" y="-2031"/>
                      <a:pt x="2289" y="21480"/>
                      <a:pt x="118" y="52044"/>
                    </a:cubicBezTo>
                    <a:cubicBezTo>
                      <a:pt x="-1871" y="82789"/>
                      <a:pt x="21459" y="109194"/>
                      <a:pt x="52024" y="111364"/>
                    </a:cubicBezTo>
                    <a:cubicBezTo>
                      <a:pt x="82588" y="113535"/>
                      <a:pt x="109354" y="90204"/>
                      <a:pt x="111344" y="594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0" name="Google Shape;340;p21"/>
              <p:cNvSpPr/>
              <p:nvPr/>
            </p:nvSpPr>
            <p:spPr>
              <a:xfrm>
                <a:off x="12448300" y="5157154"/>
                <a:ext cx="55080" cy="5510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100" extrusionOk="0">
                    <a:moveTo>
                      <a:pt x="55030" y="29349"/>
                    </a:moveTo>
                    <a:cubicBezTo>
                      <a:pt x="55935" y="14157"/>
                      <a:pt x="44541" y="955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4"/>
                      <a:pt x="10540" y="54126"/>
                      <a:pt x="25732" y="55030"/>
                    </a:cubicBezTo>
                    <a:cubicBezTo>
                      <a:pt x="40924" y="56115"/>
                      <a:pt x="54126" y="44541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1" name="Google Shape;341;p21"/>
              <p:cNvSpPr/>
              <p:nvPr/>
            </p:nvSpPr>
            <p:spPr>
              <a:xfrm>
                <a:off x="12404403" y="5113257"/>
                <a:ext cx="142875" cy="142874"/>
              </a:xfrm>
              <a:custGeom>
                <a:avLst/>
                <a:gdLst/>
                <a:ahLst/>
                <a:cxnLst/>
                <a:rect l="l" t="t" r="r" b="b"/>
                <a:pathLst>
                  <a:path w="142875" h="142874" extrusionOk="0">
                    <a:moveTo>
                      <a:pt x="142875" y="71438"/>
                    </a:moveTo>
                    <a:cubicBezTo>
                      <a:pt x="142875" y="110891"/>
                      <a:pt x="110891" y="142875"/>
                      <a:pt x="71437" y="142875"/>
                    </a:cubicBezTo>
                    <a:cubicBezTo>
                      <a:pt x="31983" y="142875"/>
                      <a:pt x="-1" y="110891"/>
                      <a:pt x="-1" y="71438"/>
                    </a:cubicBezTo>
                    <a:cubicBezTo>
                      <a:pt x="-1" y="31984"/>
                      <a:pt x="31983" y="0"/>
                      <a:pt x="71437" y="0"/>
                    </a:cubicBezTo>
                    <a:cubicBezTo>
                      <a:pt x="110891" y="0"/>
                      <a:pt x="142875" y="31984"/>
                      <a:pt x="142875" y="71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2" name="Google Shape;342;p21"/>
              <p:cNvSpPr/>
              <p:nvPr/>
            </p:nvSpPr>
            <p:spPr>
              <a:xfrm>
                <a:off x="12727568" y="5681299"/>
                <a:ext cx="19756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6" h="19756" extrusionOk="0">
                    <a:moveTo>
                      <a:pt x="19735" y="10511"/>
                    </a:moveTo>
                    <a:cubicBezTo>
                      <a:pt x="20097" y="5086"/>
                      <a:pt x="15937" y="383"/>
                      <a:pt x="10512" y="22"/>
                    </a:cubicBezTo>
                    <a:cubicBezTo>
                      <a:pt x="5086" y="-340"/>
                      <a:pt x="384" y="3820"/>
                      <a:pt x="22" y="9245"/>
                    </a:cubicBezTo>
                    <a:cubicBezTo>
                      <a:pt x="-340" y="14671"/>
                      <a:pt x="3820" y="19373"/>
                      <a:pt x="9246" y="19735"/>
                    </a:cubicBezTo>
                    <a:cubicBezTo>
                      <a:pt x="14671" y="20097"/>
                      <a:pt x="19373" y="15937"/>
                      <a:pt x="19735" y="1051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3" name="Google Shape;343;p21"/>
              <p:cNvSpPr/>
              <p:nvPr/>
            </p:nvSpPr>
            <p:spPr>
              <a:xfrm>
                <a:off x="12599259" y="6075116"/>
                <a:ext cx="104744" cy="104764"/>
              </a:xfrm>
              <a:custGeom>
                <a:avLst/>
                <a:gdLst/>
                <a:ahLst/>
                <a:cxnLst/>
                <a:rect l="l" t="t" r="r" b="b"/>
                <a:pathLst>
                  <a:path w="104744" h="104764" extrusionOk="0">
                    <a:moveTo>
                      <a:pt x="104639" y="55808"/>
                    </a:moveTo>
                    <a:cubicBezTo>
                      <a:pt x="106448" y="26871"/>
                      <a:pt x="84745" y="2094"/>
                      <a:pt x="55809" y="105"/>
                    </a:cubicBezTo>
                    <a:cubicBezTo>
                      <a:pt x="26872" y="-1703"/>
                      <a:pt x="2095" y="19999"/>
                      <a:pt x="105" y="48936"/>
                    </a:cubicBezTo>
                    <a:cubicBezTo>
                      <a:pt x="-1703" y="77872"/>
                      <a:pt x="19999" y="102649"/>
                      <a:pt x="48936" y="104639"/>
                    </a:cubicBezTo>
                    <a:cubicBezTo>
                      <a:pt x="77873" y="106628"/>
                      <a:pt x="102831" y="84745"/>
                      <a:pt x="104639" y="558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4" name="Google Shape;344;p21"/>
              <p:cNvSpPr/>
              <p:nvPr/>
            </p:nvSpPr>
            <p:spPr>
              <a:xfrm>
                <a:off x="12475060" y="5734073"/>
                <a:ext cx="46955" cy="46955"/>
              </a:xfrm>
              <a:custGeom>
                <a:avLst/>
                <a:gdLst/>
                <a:ahLst/>
                <a:cxnLst/>
                <a:rect l="l" t="t" r="r" b="b"/>
                <a:pathLst>
                  <a:path w="46955" h="46955" extrusionOk="0">
                    <a:moveTo>
                      <a:pt x="46898" y="25015"/>
                    </a:moveTo>
                    <a:cubicBezTo>
                      <a:pt x="47803" y="11993"/>
                      <a:pt x="37856" y="961"/>
                      <a:pt x="25015" y="57"/>
                    </a:cubicBezTo>
                    <a:cubicBezTo>
                      <a:pt x="11994" y="-847"/>
                      <a:pt x="961" y="9100"/>
                      <a:pt x="57" y="21940"/>
                    </a:cubicBezTo>
                    <a:cubicBezTo>
                      <a:pt x="-847" y="34962"/>
                      <a:pt x="9100" y="45994"/>
                      <a:pt x="21940" y="46898"/>
                    </a:cubicBezTo>
                    <a:cubicBezTo>
                      <a:pt x="34781" y="47803"/>
                      <a:pt x="45994" y="37856"/>
                      <a:pt x="46898" y="250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5" name="Google Shape;345;p21"/>
              <p:cNvSpPr/>
              <p:nvPr/>
            </p:nvSpPr>
            <p:spPr>
              <a:xfrm>
                <a:off x="12514674" y="5670037"/>
                <a:ext cx="55462" cy="55482"/>
              </a:xfrm>
              <a:custGeom>
                <a:avLst/>
                <a:gdLst/>
                <a:ahLst/>
                <a:cxnLst/>
                <a:rect l="l" t="t" r="r" b="b"/>
                <a:pathLst>
                  <a:path w="55462" h="55482" extrusionOk="0">
                    <a:moveTo>
                      <a:pt x="55392" y="29550"/>
                    </a:moveTo>
                    <a:cubicBezTo>
                      <a:pt x="56477" y="14358"/>
                      <a:pt x="44902" y="1156"/>
                      <a:pt x="29530" y="70"/>
                    </a:cubicBezTo>
                    <a:cubicBezTo>
                      <a:pt x="14338" y="-1015"/>
                      <a:pt x="1135" y="10560"/>
                      <a:pt x="50" y="25933"/>
                    </a:cubicBezTo>
                    <a:cubicBezTo>
                      <a:pt x="-854" y="41125"/>
                      <a:pt x="10540" y="54327"/>
                      <a:pt x="25912" y="55412"/>
                    </a:cubicBezTo>
                    <a:cubicBezTo>
                      <a:pt x="41104" y="56497"/>
                      <a:pt x="54307" y="44922"/>
                      <a:pt x="55392" y="2955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6" name="Google Shape;346;p21"/>
              <p:cNvSpPr/>
              <p:nvPr/>
            </p:nvSpPr>
            <p:spPr>
              <a:xfrm>
                <a:off x="12518843" y="5665545"/>
                <a:ext cx="42764" cy="42764"/>
              </a:xfrm>
              <a:custGeom>
                <a:avLst/>
                <a:gdLst/>
                <a:ahLst/>
                <a:cxnLst/>
                <a:rect l="l" t="t" r="r" b="b"/>
                <a:pathLst>
                  <a:path w="42764" h="42764" extrusionOk="0">
                    <a:moveTo>
                      <a:pt x="42723" y="22829"/>
                    </a:moveTo>
                    <a:cubicBezTo>
                      <a:pt x="43446" y="11073"/>
                      <a:pt x="34584" y="946"/>
                      <a:pt x="22829" y="41"/>
                    </a:cubicBezTo>
                    <a:cubicBezTo>
                      <a:pt x="11073" y="-682"/>
                      <a:pt x="945" y="8180"/>
                      <a:pt x="41" y="19935"/>
                    </a:cubicBezTo>
                    <a:cubicBezTo>
                      <a:pt x="-682" y="31691"/>
                      <a:pt x="8179" y="41819"/>
                      <a:pt x="19935" y="42723"/>
                    </a:cubicBezTo>
                    <a:cubicBezTo>
                      <a:pt x="31871" y="43447"/>
                      <a:pt x="41999" y="34585"/>
                      <a:pt x="42723" y="2282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7" name="Google Shape;347;p21"/>
              <p:cNvSpPr/>
              <p:nvPr/>
            </p:nvSpPr>
            <p:spPr>
              <a:xfrm>
                <a:off x="12479953" y="5738966"/>
                <a:ext cx="36987" cy="36987"/>
              </a:xfrm>
              <a:custGeom>
                <a:avLst/>
                <a:gdLst/>
                <a:ahLst/>
                <a:cxnLst/>
                <a:rect l="l" t="t" r="r" b="b"/>
                <a:pathLst>
                  <a:path w="36987" h="36987" extrusionOk="0">
                    <a:moveTo>
                      <a:pt x="36941" y="19760"/>
                    </a:moveTo>
                    <a:cubicBezTo>
                      <a:pt x="37665" y="9632"/>
                      <a:pt x="29888" y="770"/>
                      <a:pt x="19760" y="47"/>
                    </a:cubicBezTo>
                    <a:cubicBezTo>
                      <a:pt x="9632" y="-677"/>
                      <a:pt x="770" y="7100"/>
                      <a:pt x="47" y="17228"/>
                    </a:cubicBezTo>
                    <a:cubicBezTo>
                      <a:pt x="-676" y="27356"/>
                      <a:pt x="7100" y="36218"/>
                      <a:pt x="17228" y="36941"/>
                    </a:cubicBezTo>
                    <a:cubicBezTo>
                      <a:pt x="27537" y="37664"/>
                      <a:pt x="36218" y="29888"/>
                      <a:pt x="36941" y="197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8" name="Google Shape;348;p21"/>
              <p:cNvSpPr/>
              <p:nvPr/>
            </p:nvSpPr>
            <p:spPr>
              <a:xfrm>
                <a:off x="12530079" y="5685643"/>
                <a:ext cx="24451" cy="24451"/>
              </a:xfrm>
              <a:custGeom>
                <a:avLst/>
                <a:gdLst/>
                <a:ahLst/>
                <a:cxnLst/>
                <a:rect l="l" t="t" r="r" b="b"/>
                <a:pathLst>
                  <a:path w="24451" h="24451" extrusionOk="0">
                    <a:moveTo>
                      <a:pt x="24434" y="13040"/>
                    </a:moveTo>
                    <a:cubicBezTo>
                      <a:pt x="24795" y="6348"/>
                      <a:pt x="19731" y="561"/>
                      <a:pt x="13040" y="18"/>
                    </a:cubicBezTo>
                    <a:cubicBezTo>
                      <a:pt x="6348" y="-344"/>
                      <a:pt x="561" y="4721"/>
                      <a:pt x="18" y="11412"/>
                    </a:cubicBezTo>
                    <a:cubicBezTo>
                      <a:pt x="-344" y="18104"/>
                      <a:pt x="4720" y="23891"/>
                      <a:pt x="11412" y="24434"/>
                    </a:cubicBezTo>
                    <a:cubicBezTo>
                      <a:pt x="18284" y="24795"/>
                      <a:pt x="24072" y="19731"/>
                      <a:pt x="24434" y="130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49" name="Google Shape;349;p21"/>
              <p:cNvSpPr/>
              <p:nvPr/>
            </p:nvSpPr>
            <p:spPr>
              <a:xfrm>
                <a:off x="12476704" y="5735696"/>
                <a:ext cx="43486" cy="43527"/>
              </a:xfrm>
              <a:custGeom>
                <a:avLst/>
                <a:gdLst/>
                <a:ahLst/>
                <a:cxnLst/>
                <a:rect l="l" t="t" r="r" b="b"/>
                <a:pathLst>
                  <a:path w="43486" h="43527" extrusionOk="0">
                    <a:moveTo>
                      <a:pt x="43446" y="23211"/>
                    </a:moveTo>
                    <a:cubicBezTo>
                      <a:pt x="44169" y="11274"/>
                      <a:pt x="35126" y="966"/>
                      <a:pt x="23190" y="61"/>
                    </a:cubicBezTo>
                    <a:cubicBezTo>
                      <a:pt x="11253" y="-843"/>
                      <a:pt x="945" y="8380"/>
                      <a:pt x="41" y="20317"/>
                    </a:cubicBezTo>
                    <a:cubicBezTo>
                      <a:pt x="-683" y="32253"/>
                      <a:pt x="8360" y="42562"/>
                      <a:pt x="20296" y="43466"/>
                    </a:cubicBezTo>
                    <a:cubicBezTo>
                      <a:pt x="32414" y="44371"/>
                      <a:pt x="42723" y="35147"/>
                      <a:pt x="43446" y="2321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0" name="Google Shape;350;p21"/>
              <p:cNvSpPr/>
              <p:nvPr/>
            </p:nvSpPr>
            <p:spPr>
              <a:xfrm>
                <a:off x="12722674" y="5676585"/>
                <a:ext cx="29364" cy="29347"/>
              </a:xfrm>
              <a:custGeom>
                <a:avLst/>
                <a:gdLst/>
                <a:ahLst/>
                <a:cxnLst/>
                <a:rect l="l" t="t" r="r" b="b"/>
                <a:pathLst>
                  <a:path w="29364" h="29347" extrusionOk="0">
                    <a:moveTo>
                      <a:pt x="29332" y="15587"/>
                    </a:moveTo>
                    <a:cubicBezTo>
                      <a:pt x="29874" y="7448"/>
                      <a:pt x="23725" y="576"/>
                      <a:pt x="15587" y="33"/>
                    </a:cubicBezTo>
                    <a:cubicBezTo>
                      <a:pt x="7448" y="-509"/>
                      <a:pt x="576" y="5640"/>
                      <a:pt x="33" y="13778"/>
                    </a:cubicBezTo>
                    <a:cubicBezTo>
                      <a:pt x="-509" y="21917"/>
                      <a:pt x="5640" y="28789"/>
                      <a:pt x="13778" y="29332"/>
                    </a:cubicBezTo>
                    <a:cubicBezTo>
                      <a:pt x="21736" y="29693"/>
                      <a:pt x="28789" y="23725"/>
                      <a:pt x="29332" y="155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1" name="Google Shape;351;p21"/>
              <p:cNvSpPr/>
              <p:nvPr/>
            </p:nvSpPr>
            <p:spPr>
              <a:xfrm>
                <a:off x="12638392" y="6114250"/>
                <a:ext cx="26658" cy="26658"/>
              </a:xfrm>
              <a:custGeom>
                <a:avLst/>
                <a:gdLst/>
                <a:ahLst/>
                <a:cxnLst/>
                <a:rect l="l" t="t" r="r" b="b"/>
                <a:pathLst>
                  <a:path w="26658" h="26658" extrusionOk="0">
                    <a:moveTo>
                      <a:pt x="26622" y="14143"/>
                    </a:moveTo>
                    <a:cubicBezTo>
                      <a:pt x="27164" y="6728"/>
                      <a:pt x="21558" y="398"/>
                      <a:pt x="14143" y="36"/>
                    </a:cubicBezTo>
                    <a:cubicBezTo>
                      <a:pt x="6728" y="-506"/>
                      <a:pt x="398" y="5100"/>
                      <a:pt x="36" y="12515"/>
                    </a:cubicBezTo>
                    <a:cubicBezTo>
                      <a:pt x="-506" y="19930"/>
                      <a:pt x="5100" y="26260"/>
                      <a:pt x="12515" y="26622"/>
                    </a:cubicBezTo>
                    <a:cubicBezTo>
                      <a:pt x="19749" y="27164"/>
                      <a:pt x="26079" y="21558"/>
                      <a:pt x="26622" y="141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2" name="Google Shape;352;p21"/>
              <p:cNvSpPr/>
              <p:nvPr/>
            </p:nvSpPr>
            <p:spPr>
              <a:xfrm>
                <a:off x="10822437" y="4443159"/>
                <a:ext cx="31531" cy="31553"/>
              </a:xfrm>
              <a:custGeom>
                <a:avLst/>
                <a:gdLst/>
                <a:ahLst/>
                <a:cxnLst/>
                <a:rect l="l" t="t" r="r" b="b"/>
                <a:pathLst>
                  <a:path w="31531" h="31553" extrusionOk="0">
                    <a:moveTo>
                      <a:pt x="31500" y="16851"/>
                    </a:moveTo>
                    <a:cubicBezTo>
                      <a:pt x="32043" y="8170"/>
                      <a:pt x="25532" y="755"/>
                      <a:pt x="16851" y="32"/>
                    </a:cubicBezTo>
                    <a:cubicBezTo>
                      <a:pt x="8170" y="-511"/>
                      <a:pt x="755" y="6000"/>
                      <a:pt x="32" y="14681"/>
                    </a:cubicBezTo>
                    <a:cubicBezTo>
                      <a:pt x="-511" y="23362"/>
                      <a:pt x="6000" y="30777"/>
                      <a:pt x="14681" y="31500"/>
                    </a:cubicBezTo>
                    <a:cubicBezTo>
                      <a:pt x="23362" y="32224"/>
                      <a:pt x="30958" y="25532"/>
                      <a:pt x="31500" y="168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3" name="Google Shape;353;p21"/>
              <p:cNvSpPr/>
              <p:nvPr/>
            </p:nvSpPr>
            <p:spPr>
              <a:xfrm>
                <a:off x="10071539" y="3856296"/>
                <a:ext cx="20118" cy="20102"/>
              </a:xfrm>
              <a:custGeom>
                <a:avLst/>
                <a:gdLst/>
                <a:ahLst/>
                <a:cxnLst/>
                <a:rect l="l" t="t" r="r" b="b"/>
                <a:pathLst>
                  <a:path w="20118" h="20102" extrusionOk="0">
                    <a:moveTo>
                      <a:pt x="20097" y="10692"/>
                    </a:moveTo>
                    <a:cubicBezTo>
                      <a:pt x="20458" y="5267"/>
                      <a:pt x="16299" y="383"/>
                      <a:pt x="10692" y="22"/>
                    </a:cubicBezTo>
                    <a:cubicBezTo>
                      <a:pt x="5267" y="-340"/>
                      <a:pt x="383" y="3820"/>
                      <a:pt x="22" y="9426"/>
                    </a:cubicBezTo>
                    <a:cubicBezTo>
                      <a:pt x="-340" y="14852"/>
                      <a:pt x="3820" y="19735"/>
                      <a:pt x="9426" y="20097"/>
                    </a:cubicBezTo>
                    <a:cubicBezTo>
                      <a:pt x="15033" y="20278"/>
                      <a:pt x="19735" y="16118"/>
                      <a:pt x="20097" y="106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4" name="Google Shape;354;p21"/>
              <p:cNvSpPr/>
              <p:nvPr/>
            </p:nvSpPr>
            <p:spPr>
              <a:xfrm>
                <a:off x="9825366" y="4555631"/>
                <a:ext cx="53093" cy="53114"/>
              </a:xfrm>
              <a:custGeom>
                <a:avLst/>
                <a:gdLst/>
                <a:ahLst/>
                <a:cxnLst/>
                <a:rect l="l" t="t" r="r" b="b"/>
                <a:pathLst>
                  <a:path w="53093" h="53114" extrusionOk="0">
                    <a:moveTo>
                      <a:pt x="53042" y="28265"/>
                    </a:moveTo>
                    <a:cubicBezTo>
                      <a:pt x="53946" y="13616"/>
                      <a:pt x="42914" y="956"/>
                      <a:pt x="28265" y="52"/>
                    </a:cubicBezTo>
                    <a:cubicBezTo>
                      <a:pt x="13616" y="-852"/>
                      <a:pt x="956" y="10180"/>
                      <a:pt x="52" y="24829"/>
                    </a:cubicBezTo>
                    <a:cubicBezTo>
                      <a:pt x="-852" y="39478"/>
                      <a:pt x="10180" y="52138"/>
                      <a:pt x="24829" y="53042"/>
                    </a:cubicBezTo>
                    <a:cubicBezTo>
                      <a:pt x="39478" y="54127"/>
                      <a:pt x="52138" y="42914"/>
                      <a:pt x="53042" y="282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5" name="Google Shape;355;p21"/>
              <p:cNvSpPr/>
              <p:nvPr/>
            </p:nvSpPr>
            <p:spPr>
              <a:xfrm>
                <a:off x="10801958" y="4422861"/>
                <a:ext cx="72490" cy="72471"/>
              </a:xfrm>
              <a:custGeom>
                <a:avLst/>
                <a:gdLst/>
                <a:ahLst/>
                <a:cxnLst/>
                <a:rect l="l" t="t" r="r" b="b"/>
                <a:pathLst>
                  <a:path w="72490" h="72471" extrusionOk="0">
                    <a:moveTo>
                      <a:pt x="72416" y="38596"/>
                    </a:moveTo>
                    <a:cubicBezTo>
                      <a:pt x="73682" y="18703"/>
                      <a:pt x="58671" y="1521"/>
                      <a:pt x="38596" y="75"/>
                    </a:cubicBezTo>
                    <a:cubicBezTo>
                      <a:pt x="18703" y="-1192"/>
                      <a:pt x="1521" y="13819"/>
                      <a:pt x="75" y="33894"/>
                    </a:cubicBezTo>
                    <a:cubicBezTo>
                      <a:pt x="-1192" y="53788"/>
                      <a:pt x="13819" y="70969"/>
                      <a:pt x="33894" y="72416"/>
                    </a:cubicBezTo>
                    <a:cubicBezTo>
                      <a:pt x="53788" y="73501"/>
                      <a:pt x="71150" y="58490"/>
                      <a:pt x="72416" y="385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6" name="Google Shape;356;p21"/>
              <p:cNvSpPr/>
              <p:nvPr/>
            </p:nvSpPr>
            <p:spPr>
              <a:xfrm>
                <a:off x="10387458" y="4872303"/>
                <a:ext cx="49302" cy="49302"/>
              </a:xfrm>
              <a:custGeom>
                <a:avLst/>
                <a:gdLst/>
                <a:ahLst/>
                <a:cxnLst/>
                <a:rect l="l" t="t" r="r" b="b"/>
                <a:pathLst>
                  <a:path w="49302" h="49302" extrusionOk="0">
                    <a:moveTo>
                      <a:pt x="49248" y="26279"/>
                    </a:moveTo>
                    <a:cubicBezTo>
                      <a:pt x="50152" y="12715"/>
                      <a:pt x="39843" y="960"/>
                      <a:pt x="26279" y="55"/>
                    </a:cubicBezTo>
                    <a:cubicBezTo>
                      <a:pt x="12715" y="-849"/>
                      <a:pt x="959" y="9460"/>
                      <a:pt x="55" y="23024"/>
                    </a:cubicBezTo>
                    <a:cubicBezTo>
                      <a:pt x="-849" y="36588"/>
                      <a:pt x="9459" y="48343"/>
                      <a:pt x="23024" y="49248"/>
                    </a:cubicBezTo>
                    <a:cubicBezTo>
                      <a:pt x="36588" y="50152"/>
                      <a:pt x="48343" y="39843"/>
                      <a:pt x="4924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7" name="Google Shape;357;p21"/>
              <p:cNvSpPr/>
              <p:nvPr/>
            </p:nvSpPr>
            <p:spPr>
              <a:xfrm>
                <a:off x="9837140" y="4567586"/>
                <a:ext cx="29364" cy="29364"/>
              </a:xfrm>
              <a:custGeom>
                <a:avLst/>
                <a:gdLst/>
                <a:ahLst/>
                <a:cxnLst/>
                <a:rect l="l" t="t" r="r" b="b"/>
                <a:pathLst>
                  <a:path w="29364" h="29364" extrusionOk="0">
                    <a:moveTo>
                      <a:pt x="29332" y="15587"/>
                    </a:moveTo>
                    <a:cubicBezTo>
                      <a:pt x="29874" y="7448"/>
                      <a:pt x="23725" y="576"/>
                      <a:pt x="15587" y="33"/>
                    </a:cubicBezTo>
                    <a:cubicBezTo>
                      <a:pt x="7448" y="-509"/>
                      <a:pt x="576" y="5640"/>
                      <a:pt x="33" y="13778"/>
                    </a:cubicBezTo>
                    <a:cubicBezTo>
                      <a:pt x="-509" y="21917"/>
                      <a:pt x="5640" y="28789"/>
                      <a:pt x="13778" y="29332"/>
                    </a:cubicBezTo>
                    <a:cubicBezTo>
                      <a:pt x="21917" y="29874"/>
                      <a:pt x="28789" y="23725"/>
                      <a:pt x="29332" y="155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8" name="Google Shape;358;p21"/>
              <p:cNvSpPr/>
              <p:nvPr/>
            </p:nvSpPr>
            <p:spPr>
              <a:xfrm>
                <a:off x="10813372" y="4434275"/>
                <a:ext cx="49843" cy="49824"/>
              </a:xfrm>
              <a:custGeom>
                <a:avLst/>
                <a:gdLst/>
                <a:ahLst/>
                <a:cxnLst/>
                <a:rect l="l" t="t" r="r" b="b"/>
                <a:pathLst>
                  <a:path w="49843" h="49824" extrusionOk="0">
                    <a:moveTo>
                      <a:pt x="49789" y="26459"/>
                    </a:moveTo>
                    <a:cubicBezTo>
                      <a:pt x="50694" y="12714"/>
                      <a:pt x="40204" y="959"/>
                      <a:pt x="26459" y="54"/>
                    </a:cubicBezTo>
                    <a:cubicBezTo>
                      <a:pt x="12714" y="-850"/>
                      <a:pt x="959" y="9640"/>
                      <a:pt x="54" y="23385"/>
                    </a:cubicBezTo>
                    <a:cubicBezTo>
                      <a:pt x="-850" y="37130"/>
                      <a:pt x="9640" y="48885"/>
                      <a:pt x="23385" y="49789"/>
                    </a:cubicBezTo>
                    <a:cubicBezTo>
                      <a:pt x="36949" y="50513"/>
                      <a:pt x="48885" y="40023"/>
                      <a:pt x="49789" y="264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59" name="Google Shape;359;p21"/>
              <p:cNvSpPr/>
              <p:nvPr/>
            </p:nvSpPr>
            <p:spPr>
              <a:xfrm>
                <a:off x="11112715" y="3970955"/>
                <a:ext cx="17050" cy="17050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50" extrusionOk="0">
                    <a:moveTo>
                      <a:pt x="17025" y="9068"/>
                    </a:moveTo>
                    <a:cubicBezTo>
                      <a:pt x="17387" y="4366"/>
                      <a:pt x="13770" y="206"/>
                      <a:pt x="9068" y="25"/>
                    </a:cubicBezTo>
                    <a:cubicBezTo>
                      <a:pt x="4366" y="-337"/>
                      <a:pt x="206" y="3280"/>
                      <a:pt x="25" y="7983"/>
                    </a:cubicBezTo>
                    <a:cubicBezTo>
                      <a:pt x="-337" y="12685"/>
                      <a:pt x="3280" y="16844"/>
                      <a:pt x="7983" y="17025"/>
                    </a:cubicBezTo>
                    <a:cubicBezTo>
                      <a:pt x="12685" y="17387"/>
                      <a:pt x="16845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0" name="Google Shape;360;p21"/>
              <p:cNvSpPr/>
              <p:nvPr/>
            </p:nvSpPr>
            <p:spPr>
              <a:xfrm>
                <a:off x="10061390" y="3846148"/>
                <a:ext cx="40416" cy="40416"/>
              </a:xfrm>
              <a:custGeom>
                <a:avLst/>
                <a:gdLst/>
                <a:ahLst/>
                <a:cxnLst/>
                <a:rect l="l" t="t" r="r" b="b"/>
                <a:pathLst>
                  <a:path w="40416" h="40416" extrusionOk="0">
                    <a:moveTo>
                      <a:pt x="40373" y="21564"/>
                    </a:moveTo>
                    <a:cubicBezTo>
                      <a:pt x="41097" y="10352"/>
                      <a:pt x="32597" y="766"/>
                      <a:pt x="21564" y="43"/>
                    </a:cubicBezTo>
                    <a:cubicBezTo>
                      <a:pt x="10352" y="-681"/>
                      <a:pt x="766" y="7820"/>
                      <a:pt x="43" y="18852"/>
                    </a:cubicBezTo>
                    <a:cubicBezTo>
                      <a:pt x="-681" y="30065"/>
                      <a:pt x="7820" y="39650"/>
                      <a:pt x="18852" y="40373"/>
                    </a:cubicBezTo>
                    <a:cubicBezTo>
                      <a:pt x="30065" y="41097"/>
                      <a:pt x="39650" y="32597"/>
                      <a:pt x="40373" y="215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1" name="Google Shape;361;p21"/>
              <p:cNvSpPr/>
              <p:nvPr/>
            </p:nvSpPr>
            <p:spPr>
              <a:xfrm>
                <a:off x="10807394" y="4428116"/>
                <a:ext cx="61799" cy="61799"/>
              </a:xfrm>
              <a:custGeom>
                <a:avLst/>
                <a:gdLst/>
                <a:ahLst/>
                <a:cxnLst/>
                <a:rect l="l" t="t" r="r" b="b"/>
                <a:pathLst>
                  <a:path w="61799" h="61799" extrusionOk="0">
                    <a:moveTo>
                      <a:pt x="61735" y="32980"/>
                    </a:moveTo>
                    <a:cubicBezTo>
                      <a:pt x="62820" y="15979"/>
                      <a:pt x="49980" y="1330"/>
                      <a:pt x="32979" y="64"/>
                    </a:cubicBezTo>
                    <a:cubicBezTo>
                      <a:pt x="15979" y="-1021"/>
                      <a:pt x="1330" y="11819"/>
                      <a:pt x="64" y="28820"/>
                    </a:cubicBezTo>
                    <a:cubicBezTo>
                      <a:pt x="-1021" y="45820"/>
                      <a:pt x="11819" y="60469"/>
                      <a:pt x="28820" y="61735"/>
                    </a:cubicBezTo>
                    <a:cubicBezTo>
                      <a:pt x="45820" y="62821"/>
                      <a:pt x="60650" y="49980"/>
                      <a:pt x="61735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2" name="Google Shape;362;p21"/>
              <p:cNvSpPr/>
              <p:nvPr/>
            </p:nvSpPr>
            <p:spPr>
              <a:xfrm>
                <a:off x="10643884" y="4976450"/>
                <a:ext cx="65249" cy="65249"/>
              </a:xfrm>
              <a:custGeom>
                <a:avLst/>
                <a:gdLst/>
                <a:ahLst/>
                <a:cxnLst/>
                <a:rect l="l" t="t" r="r" b="b"/>
                <a:pathLst>
                  <a:path w="65249" h="65249" extrusionOk="0">
                    <a:moveTo>
                      <a:pt x="65189" y="34805"/>
                    </a:moveTo>
                    <a:cubicBezTo>
                      <a:pt x="66274" y="16900"/>
                      <a:pt x="52710" y="1347"/>
                      <a:pt x="34805" y="81"/>
                    </a:cubicBezTo>
                    <a:cubicBezTo>
                      <a:pt x="16901" y="-1185"/>
                      <a:pt x="1347" y="12560"/>
                      <a:pt x="81" y="30464"/>
                    </a:cubicBezTo>
                    <a:cubicBezTo>
                      <a:pt x="-1185" y="48369"/>
                      <a:pt x="12560" y="63923"/>
                      <a:pt x="30465" y="65188"/>
                    </a:cubicBezTo>
                    <a:cubicBezTo>
                      <a:pt x="48550" y="66273"/>
                      <a:pt x="63923" y="52709"/>
                      <a:pt x="65189" y="348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3" name="Google Shape;363;p21"/>
              <p:cNvSpPr/>
              <p:nvPr/>
            </p:nvSpPr>
            <p:spPr>
              <a:xfrm>
                <a:off x="10388721" y="4873566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5"/>
                      <a:pt x="37676" y="962"/>
                      <a:pt x="24835" y="58"/>
                    </a:cubicBezTo>
                    <a:cubicBezTo>
                      <a:pt x="11995" y="-846"/>
                      <a:pt x="962" y="8920"/>
                      <a:pt x="58" y="21761"/>
                    </a:cubicBezTo>
                    <a:cubicBezTo>
                      <a:pt x="-846" y="34601"/>
                      <a:pt x="8920" y="45633"/>
                      <a:pt x="21761" y="46538"/>
                    </a:cubicBezTo>
                    <a:cubicBezTo>
                      <a:pt x="34601" y="47442"/>
                      <a:pt x="45633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4" name="Google Shape;364;p21"/>
              <p:cNvSpPr/>
              <p:nvPr/>
            </p:nvSpPr>
            <p:spPr>
              <a:xfrm>
                <a:off x="10792711" y="4413434"/>
                <a:ext cx="91164" cy="91164"/>
              </a:xfrm>
              <a:custGeom>
                <a:avLst/>
                <a:gdLst/>
                <a:ahLst/>
                <a:cxnLst/>
                <a:rect l="l" t="t" r="r" b="b"/>
                <a:pathLst>
                  <a:path w="91164" h="91164" extrusionOk="0">
                    <a:moveTo>
                      <a:pt x="91067" y="48566"/>
                    </a:moveTo>
                    <a:cubicBezTo>
                      <a:pt x="92695" y="23427"/>
                      <a:pt x="73705" y="1725"/>
                      <a:pt x="48566" y="97"/>
                    </a:cubicBezTo>
                    <a:cubicBezTo>
                      <a:pt x="23428" y="-1530"/>
                      <a:pt x="1725" y="17459"/>
                      <a:pt x="97" y="42598"/>
                    </a:cubicBezTo>
                    <a:cubicBezTo>
                      <a:pt x="-1530" y="67737"/>
                      <a:pt x="17459" y="89439"/>
                      <a:pt x="42598" y="91067"/>
                    </a:cubicBezTo>
                    <a:cubicBezTo>
                      <a:pt x="67737" y="92695"/>
                      <a:pt x="89439" y="73705"/>
                      <a:pt x="91067" y="485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5" name="Google Shape;365;p21"/>
              <p:cNvSpPr/>
              <p:nvPr/>
            </p:nvSpPr>
            <p:spPr>
              <a:xfrm>
                <a:off x="11275042" y="4939169"/>
                <a:ext cx="103840" cy="103861"/>
              </a:xfrm>
              <a:custGeom>
                <a:avLst/>
                <a:gdLst/>
                <a:ahLst/>
                <a:cxnLst/>
                <a:rect l="l" t="t" r="r" b="b"/>
                <a:pathLst>
                  <a:path w="103840" h="103861" extrusionOk="0">
                    <a:moveTo>
                      <a:pt x="103735" y="55266"/>
                    </a:moveTo>
                    <a:cubicBezTo>
                      <a:pt x="105543" y="26691"/>
                      <a:pt x="83841" y="1914"/>
                      <a:pt x="55266" y="105"/>
                    </a:cubicBezTo>
                    <a:cubicBezTo>
                      <a:pt x="26691" y="-1703"/>
                      <a:pt x="1914" y="19999"/>
                      <a:pt x="105" y="48574"/>
                    </a:cubicBezTo>
                    <a:cubicBezTo>
                      <a:pt x="-1703" y="77149"/>
                      <a:pt x="19999" y="101926"/>
                      <a:pt x="48574" y="103735"/>
                    </a:cubicBezTo>
                    <a:cubicBezTo>
                      <a:pt x="77149" y="105724"/>
                      <a:pt x="101926" y="84022"/>
                      <a:pt x="103735" y="552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6" name="Google Shape;366;p21"/>
              <p:cNvSpPr/>
              <p:nvPr/>
            </p:nvSpPr>
            <p:spPr>
              <a:xfrm>
                <a:off x="10652229" y="4984794"/>
                <a:ext cx="48581" cy="48581"/>
              </a:xfrm>
              <a:custGeom>
                <a:avLst/>
                <a:gdLst/>
                <a:ahLst/>
                <a:cxnLst/>
                <a:rect l="l" t="t" r="r" b="b"/>
                <a:pathLst>
                  <a:path w="48581" h="48581" extrusionOk="0">
                    <a:moveTo>
                      <a:pt x="48525" y="25918"/>
                    </a:moveTo>
                    <a:cubicBezTo>
                      <a:pt x="49429" y="12535"/>
                      <a:pt x="39302" y="960"/>
                      <a:pt x="25918" y="56"/>
                    </a:cubicBezTo>
                    <a:cubicBezTo>
                      <a:pt x="12535" y="-848"/>
                      <a:pt x="960" y="9280"/>
                      <a:pt x="56" y="22663"/>
                    </a:cubicBezTo>
                    <a:cubicBezTo>
                      <a:pt x="-848" y="36046"/>
                      <a:pt x="9280" y="47621"/>
                      <a:pt x="22663" y="48525"/>
                    </a:cubicBezTo>
                    <a:cubicBezTo>
                      <a:pt x="36046" y="49429"/>
                      <a:pt x="47621" y="39302"/>
                      <a:pt x="48525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7" name="Google Shape;367;p21"/>
              <p:cNvSpPr/>
              <p:nvPr/>
            </p:nvSpPr>
            <p:spPr>
              <a:xfrm>
                <a:off x="10812107" y="4432830"/>
                <a:ext cx="52372" cy="52372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72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1"/>
                      <a:pt x="957" y="10000"/>
                      <a:pt x="53" y="24468"/>
                    </a:cubicBezTo>
                    <a:cubicBezTo>
                      <a:pt x="-852" y="38936"/>
                      <a:pt x="10000" y="51415"/>
                      <a:pt x="24468" y="52320"/>
                    </a:cubicBezTo>
                    <a:cubicBezTo>
                      <a:pt x="38936" y="53224"/>
                      <a:pt x="51415" y="42373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8" name="Google Shape;368;p21"/>
              <p:cNvSpPr/>
              <p:nvPr/>
            </p:nvSpPr>
            <p:spPr>
              <a:xfrm>
                <a:off x="11381650" y="4204623"/>
                <a:ext cx="20478" cy="20478"/>
              </a:xfrm>
              <a:custGeom>
                <a:avLst/>
                <a:gdLst/>
                <a:ahLst/>
                <a:cxnLst/>
                <a:rect l="l" t="t" r="r" b="b"/>
                <a:pathLst>
                  <a:path w="20478" h="20478" extrusionOk="0">
                    <a:moveTo>
                      <a:pt x="20457" y="10872"/>
                    </a:moveTo>
                    <a:cubicBezTo>
                      <a:pt x="20819" y="5266"/>
                      <a:pt x="16479" y="383"/>
                      <a:pt x="10872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1" y="15213"/>
                      <a:pt x="4000" y="20096"/>
                      <a:pt x="9606" y="20458"/>
                    </a:cubicBezTo>
                    <a:cubicBezTo>
                      <a:pt x="15213" y="20820"/>
                      <a:pt x="20096" y="16479"/>
                      <a:pt x="20457" y="108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69" name="Google Shape;369;p21"/>
              <p:cNvSpPr/>
              <p:nvPr/>
            </p:nvSpPr>
            <p:spPr>
              <a:xfrm>
                <a:off x="11067765" y="3925824"/>
                <a:ext cx="107130" cy="107130"/>
              </a:xfrm>
              <a:custGeom>
                <a:avLst/>
                <a:gdLst/>
                <a:ahLst/>
                <a:cxnLst/>
                <a:rect l="l" t="t" r="r" b="b"/>
                <a:pathLst>
                  <a:path w="107130" h="107130" extrusionOk="0">
                    <a:moveTo>
                      <a:pt x="107008" y="57092"/>
                    </a:moveTo>
                    <a:cubicBezTo>
                      <a:pt x="108997" y="27613"/>
                      <a:pt x="86571" y="2112"/>
                      <a:pt x="57092" y="123"/>
                    </a:cubicBezTo>
                    <a:cubicBezTo>
                      <a:pt x="27613" y="-1867"/>
                      <a:pt x="2112" y="20559"/>
                      <a:pt x="123" y="50039"/>
                    </a:cubicBezTo>
                    <a:cubicBezTo>
                      <a:pt x="-1867" y="79518"/>
                      <a:pt x="20559" y="105018"/>
                      <a:pt x="50039" y="107008"/>
                    </a:cubicBezTo>
                    <a:cubicBezTo>
                      <a:pt x="79518" y="108997"/>
                      <a:pt x="105018" y="86571"/>
                      <a:pt x="107008" y="570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0" name="Google Shape;370;p21"/>
              <p:cNvSpPr/>
              <p:nvPr/>
            </p:nvSpPr>
            <p:spPr>
              <a:xfrm>
                <a:off x="10797425" y="4418147"/>
                <a:ext cx="81737" cy="81737"/>
              </a:xfrm>
              <a:custGeom>
                <a:avLst/>
                <a:gdLst/>
                <a:ahLst/>
                <a:cxnLst/>
                <a:rect l="l" t="t" r="r" b="b"/>
                <a:pathLst>
                  <a:path w="81737" h="81737" extrusionOk="0">
                    <a:moveTo>
                      <a:pt x="81651" y="43491"/>
                    </a:moveTo>
                    <a:cubicBezTo>
                      <a:pt x="83098" y="20884"/>
                      <a:pt x="66098" y="1533"/>
                      <a:pt x="43491" y="86"/>
                    </a:cubicBezTo>
                    <a:cubicBezTo>
                      <a:pt x="20884" y="-1361"/>
                      <a:pt x="1533" y="15639"/>
                      <a:pt x="86" y="38246"/>
                    </a:cubicBezTo>
                    <a:cubicBezTo>
                      <a:pt x="-1361" y="60853"/>
                      <a:pt x="15639" y="80205"/>
                      <a:pt x="38246" y="81651"/>
                    </a:cubicBezTo>
                    <a:cubicBezTo>
                      <a:pt x="60672" y="83098"/>
                      <a:pt x="80204" y="66098"/>
                      <a:pt x="81651" y="434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1" name="Google Shape;371;p21"/>
              <p:cNvSpPr/>
              <p:nvPr/>
            </p:nvSpPr>
            <p:spPr>
              <a:xfrm>
                <a:off x="11562461" y="4251060"/>
                <a:ext cx="61980" cy="61961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61" extrusionOk="0">
                    <a:moveTo>
                      <a:pt x="61916" y="32979"/>
                    </a:moveTo>
                    <a:cubicBezTo>
                      <a:pt x="63001" y="15979"/>
                      <a:pt x="50161" y="1149"/>
                      <a:pt x="32979" y="64"/>
                    </a:cubicBezTo>
                    <a:cubicBezTo>
                      <a:pt x="15798" y="-1021"/>
                      <a:pt x="1149" y="11819"/>
                      <a:pt x="64" y="29001"/>
                    </a:cubicBezTo>
                    <a:cubicBezTo>
                      <a:pt x="-1021" y="46001"/>
                      <a:pt x="11819" y="60831"/>
                      <a:pt x="29001" y="61916"/>
                    </a:cubicBezTo>
                    <a:cubicBezTo>
                      <a:pt x="46182" y="62821"/>
                      <a:pt x="60831" y="49980"/>
                      <a:pt x="61916" y="329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2" name="Google Shape;372;p21"/>
              <p:cNvSpPr/>
              <p:nvPr/>
            </p:nvSpPr>
            <p:spPr>
              <a:xfrm>
                <a:off x="11320714" y="4984841"/>
                <a:ext cx="12497" cy="12497"/>
              </a:xfrm>
              <a:custGeom>
                <a:avLst/>
                <a:gdLst/>
                <a:ahLst/>
                <a:cxnLst/>
                <a:rect l="l" t="t" r="r" b="b"/>
                <a:pathLst>
                  <a:path w="12497" h="12497" extrusionOk="0">
                    <a:moveTo>
                      <a:pt x="12488" y="6701"/>
                    </a:moveTo>
                    <a:cubicBezTo>
                      <a:pt x="12669" y="3265"/>
                      <a:pt x="10137" y="371"/>
                      <a:pt x="6701" y="9"/>
                    </a:cubicBezTo>
                    <a:cubicBezTo>
                      <a:pt x="3265" y="-172"/>
                      <a:pt x="371" y="2360"/>
                      <a:pt x="9" y="5797"/>
                    </a:cubicBezTo>
                    <a:cubicBezTo>
                      <a:pt x="-172" y="9233"/>
                      <a:pt x="2360" y="12126"/>
                      <a:pt x="5797" y="12488"/>
                    </a:cubicBezTo>
                    <a:cubicBezTo>
                      <a:pt x="9233" y="12669"/>
                      <a:pt x="12307" y="10137"/>
                      <a:pt x="12488" y="67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3" name="Google Shape;373;p21"/>
              <p:cNvSpPr/>
              <p:nvPr/>
            </p:nvSpPr>
            <p:spPr>
              <a:xfrm>
                <a:off x="10815738" y="4436460"/>
                <a:ext cx="45111" cy="45130"/>
              </a:xfrm>
              <a:custGeom>
                <a:avLst/>
                <a:gdLst/>
                <a:ahLst/>
                <a:cxnLst/>
                <a:rect l="l" t="t" r="r" b="b"/>
                <a:pathLst>
                  <a:path w="45111" h="45130" extrusionOk="0">
                    <a:moveTo>
                      <a:pt x="45072" y="24093"/>
                    </a:moveTo>
                    <a:cubicBezTo>
                      <a:pt x="45795" y="11614"/>
                      <a:pt x="36391" y="943"/>
                      <a:pt x="24093" y="39"/>
                    </a:cubicBezTo>
                    <a:cubicBezTo>
                      <a:pt x="11614" y="-684"/>
                      <a:pt x="943" y="8720"/>
                      <a:pt x="39" y="21018"/>
                    </a:cubicBezTo>
                    <a:cubicBezTo>
                      <a:pt x="-684" y="33497"/>
                      <a:pt x="8720" y="44167"/>
                      <a:pt x="21018" y="45072"/>
                    </a:cubicBezTo>
                    <a:cubicBezTo>
                      <a:pt x="33497" y="45976"/>
                      <a:pt x="44168" y="36391"/>
                      <a:pt x="45072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4" name="Google Shape;374;p21"/>
              <p:cNvSpPr/>
              <p:nvPr/>
            </p:nvSpPr>
            <p:spPr>
              <a:xfrm>
                <a:off x="11570063" y="4258480"/>
                <a:ext cx="46957" cy="46937"/>
              </a:xfrm>
              <a:custGeom>
                <a:avLst/>
                <a:gdLst/>
                <a:ahLst/>
                <a:cxnLst/>
                <a:rect l="l" t="t" r="r" b="b"/>
                <a:pathLst>
                  <a:path w="46957" h="46937" extrusionOk="0">
                    <a:moveTo>
                      <a:pt x="46899" y="25016"/>
                    </a:moveTo>
                    <a:cubicBezTo>
                      <a:pt x="47804" y="12176"/>
                      <a:pt x="38037" y="962"/>
                      <a:pt x="25016" y="58"/>
                    </a:cubicBezTo>
                    <a:cubicBezTo>
                      <a:pt x="12175" y="-846"/>
                      <a:pt x="962" y="8920"/>
                      <a:pt x="58" y="21942"/>
                    </a:cubicBezTo>
                    <a:cubicBezTo>
                      <a:pt x="-846" y="34782"/>
                      <a:pt x="8920" y="45995"/>
                      <a:pt x="21941" y="46900"/>
                    </a:cubicBezTo>
                    <a:cubicBezTo>
                      <a:pt x="34782" y="47623"/>
                      <a:pt x="45995" y="37857"/>
                      <a:pt x="46899" y="2501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5" name="Google Shape;375;p21"/>
              <p:cNvSpPr/>
              <p:nvPr/>
            </p:nvSpPr>
            <p:spPr>
              <a:xfrm>
                <a:off x="11350299" y="4173272"/>
                <a:ext cx="83361" cy="83360"/>
              </a:xfrm>
              <a:custGeom>
                <a:avLst/>
                <a:gdLst/>
                <a:ahLst/>
                <a:cxnLst/>
                <a:rect l="l" t="t" r="r" b="b"/>
                <a:pathLst>
                  <a:path w="83361" h="83360" extrusionOk="0">
                    <a:moveTo>
                      <a:pt x="83277" y="44394"/>
                    </a:moveTo>
                    <a:cubicBezTo>
                      <a:pt x="84724" y="21425"/>
                      <a:pt x="67362" y="1712"/>
                      <a:pt x="44394" y="84"/>
                    </a:cubicBezTo>
                    <a:cubicBezTo>
                      <a:pt x="21425" y="-1363"/>
                      <a:pt x="1712" y="16000"/>
                      <a:pt x="84" y="38968"/>
                    </a:cubicBezTo>
                    <a:cubicBezTo>
                      <a:pt x="-1363" y="61936"/>
                      <a:pt x="16000" y="81649"/>
                      <a:pt x="38968" y="83277"/>
                    </a:cubicBezTo>
                    <a:cubicBezTo>
                      <a:pt x="61936" y="84724"/>
                      <a:pt x="81650" y="67181"/>
                      <a:pt x="83277" y="443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6" name="Google Shape;376;p21"/>
              <p:cNvSpPr/>
              <p:nvPr/>
            </p:nvSpPr>
            <p:spPr>
              <a:xfrm>
                <a:off x="12350596" y="5755197"/>
                <a:ext cx="95315" cy="95315"/>
              </a:xfrm>
              <a:custGeom>
                <a:avLst/>
                <a:gdLst/>
                <a:ahLst/>
                <a:cxnLst/>
                <a:rect l="l" t="t" r="r" b="b"/>
                <a:pathLst>
                  <a:path w="95315" h="95315" extrusionOk="0">
                    <a:moveTo>
                      <a:pt x="95223" y="50732"/>
                    </a:moveTo>
                    <a:cubicBezTo>
                      <a:pt x="96850" y="24508"/>
                      <a:pt x="76956" y="1721"/>
                      <a:pt x="50733" y="93"/>
                    </a:cubicBezTo>
                    <a:cubicBezTo>
                      <a:pt x="24509" y="-1534"/>
                      <a:pt x="1721" y="18359"/>
                      <a:pt x="93" y="44583"/>
                    </a:cubicBezTo>
                    <a:cubicBezTo>
                      <a:pt x="-1534" y="70807"/>
                      <a:pt x="18360" y="93595"/>
                      <a:pt x="44583" y="95222"/>
                    </a:cubicBezTo>
                    <a:cubicBezTo>
                      <a:pt x="70807" y="96850"/>
                      <a:pt x="93414" y="76956"/>
                      <a:pt x="95223" y="50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7" name="Google Shape;377;p21"/>
              <p:cNvSpPr/>
              <p:nvPr/>
            </p:nvSpPr>
            <p:spPr>
              <a:xfrm>
                <a:off x="12534428" y="5680950"/>
                <a:ext cx="11954" cy="11979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79" extrusionOk="0">
                    <a:moveTo>
                      <a:pt x="11946" y="6339"/>
                    </a:moveTo>
                    <a:cubicBezTo>
                      <a:pt x="12127" y="3084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2" y="8871"/>
                      <a:pt x="2360" y="11765"/>
                      <a:pt x="5616" y="11946"/>
                    </a:cubicBezTo>
                    <a:cubicBezTo>
                      <a:pt x="8690" y="12307"/>
                      <a:pt x="11584" y="9775"/>
                      <a:pt x="11946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8" name="Google Shape;378;p21"/>
              <p:cNvSpPr/>
              <p:nvPr/>
            </p:nvSpPr>
            <p:spPr>
              <a:xfrm>
                <a:off x="11888947" y="5716205"/>
                <a:ext cx="21743" cy="21743"/>
              </a:xfrm>
              <a:custGeom>
                <a:avLst/>
                <a:gdLst/>
                <a:ahLst/>
                <a:cxnLst/>
                <a:rect l="l" t="t" r="r" b="b"/>
                <a:pathLst>
                  <a:path w="21743" h="21743" extrusionOk="0">
                    <a:moveTo>
                      <a:pt x="21723" y="11595"/>
                    </a:moveTo>
                    <a:cubicBezTo>
                      <a:pt x="22085" y="5627"/>
                      <a:pt x="17563" y="382"/>
                      <a:pt x="11595" y="20"/>
                    </a:cubicBezTo>
                    <a:cubicBezTo>
                      <a:pt x="5627" y="-342"/>
                      <a:pt x="382" y="4180"/>
                      <a:pt x="20" y="10148"/>
                    </a:cubicBezTo>
                    <a:cubicBezTo>
                      <a:pt x="-341" y="16116"/>
                      <a:pt x="4180" y="21361"/>
                      <a:pt x="10148" y="21723"/>
                    </a:cubicBezTo>
                    <a:cubicBezTo>
                      <a:pt x="16116" y="22085"/>
                      <a:pt x="21361" y="17563"/>
                      <a:pt x="21723" y="1159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79" name="Google Shape;379;p21"/>
              <p:cNvSpPr/>
              <p:nvPr/>
            </p:nvSpPr>
            <p:spPr>
              <a:xfrm>
                <a:off x="12378858" y="5783278"/>
                <a:ext cx="38792" cy="38792"/>
              </a:xfrm>
              <a:custGeom>
                <a:avLst/>
                <a:gdLst/>
                <a:ahLst/>
                <a:cxnLst/>
                <a:rect l="l" t="t" r="r" b="b"/>
                <a:pathLst>
                  <a:path w="38792" h="38792" extrusionOk="0">
                    <a:moveTo>
                      <a:pt x="38748" y="20662"/>
                    </a:moveTo>
                    <a:cubicBezTo>
                      <a:pt x="39471" y="9992"/>
                      <a:pt x="31333" y="768"/>
                      <a:pt x="20662" y="45"/>
                    </a:cubicBezTo>
                    <a:cubicBezTo>
                      <a:pt x="9992" y="-679"/>
                      <a:pt x="768" y="7460"/>
                      <a:pt x="45" y="18130"/>
                    </a:cubicBezTo>
                    <a:cubicBezTo>
                      <a:pt x="-678" y="28801"/>
                      <a:pt x="7460" y="38024"/>
                      <a:pt x="18130" y="38748"/>
                    </a:cubicBezTo>
                    <a:cubicBezTo>
                      <a:pt x="28800" y="39471"/>
                      <a:pt x="38024" y="31332"/>
                      <a:pt x="38748" y="206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0" name="Google Shape;380;p21"/>
              <p:cNvSpPr/>
              <p:nvPr/>
            </p:nvSpPr>
            <p:spPr>
              <a:xfrm>
                <a:off x="12625896" y="6101754"/>
                <a:ext cx="51650" cy="51650"/>
              </a:xfrm>
              <a:custGeom>
                <a:avLst/>
                <a:gdLst/>
                <a:ahLst/>
                <a:cxnLst/>
                <a:rect l="l" t="t" r="r" b="b"/>
                <a:pathLst>
                  <a:path w="51650" h="51650" extrusionOk="0">
                    <a:moveTo>
                      <a:pt x="51597" y="27543"/>
                    </a:moveTo>
                    <a:cubicBezTo>
                      <a:pt x="52501" y="13256"/>
                      <a:pt x="41831" y="958"/>
                      <a:pt x="27544" y="54"/>
                    </a:cubicBezTo>
                    <a:cubicBezTo>
                      <a:pt x="13256" y="-851"/>
                      <a:pt x="958" y="9819"/>
                      <a:pt x="53" y="24107"/>
                    </a:cubicBezTo>
                    <a:cubicBezTo>
                      <a:pt x="-851" y="38395"/>
                      <a:pt x="9820" y="50693"/>
                      <a:pt x="24107" y="51597"/>
                    </a:cubicBezTo>
                    <a:cubicBezTo>
                      <a:pt x="38395" y="52501"/>
                      <a:pt x="50693" y="41831"/>
                      <a:pt x="51597" y="275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1" name="Google Shape;381;p21"/>
              <p:cNvSpPr/>
              <p:nvPr/>
            </p:nvSpPr>
            <p:spPr>
              <a:xfrm>
                <a:off x="11882970" y="5710228"/>
                <a:ext cx="33697" cy="33697"/>
              </a:xfrm>
              <a:custGeom>
                <a:avLst/>
                <a:gdLst/>
                <a:ahLst/>
                <a:cxnLst/>
                <a:rect l="l" t="t" r="r" b="b"/>
                <a:pathLst>
                  <a:path w="33697" h="33697" extrusionOk="0">
                    <a:moveTo>
                      <a:pt x="33668" y="17934"/>
                    </a:moveTo>
                    <a:cubicBezTo>
                      <a:pt x="34211" y="8710"/>
                      <a:pt x="27157" y="572"/>
                      <a:pt x="17934" y="29"/>
                    </a:cubicBezTo>
                    <a:cubicBezTo>
                      <a:pt x="8711" y="-513"/>
                      <a:pt x="572" y="6540"/>
                      <a:pt x="29" y="15764"/>
                    </a:cubicBezTo>
                    <a:cubicBezTo>
                      <a:pt x="-513" y="24987"/>
                      <a:pt x="6540" y="33126"/>
                      <a:pt x="15764" y="33668"/>
                    </a:cubicBezTo>
                    <a:cubicBezTo>
                      <a:pt x="24987" y="34211"/>
                      <a:pt x="32945" y="27157"/>
                      <a:pt x="33668" y="179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2" name="Google Shape;382;p21"/>
              <p:cNvSpPr/>
              <p:nvPr/>
            </p:nvSpPr>
            <p:spPr>
              <a:xfrm>
                <a:off x="12339524" y="5743943"/>
                <a:ext cx="117640" cy="117641"/>
              </a:xfrm>
              <a:custGeom>
                <a:avLst/>
                <a:gdLst/>
                <a:ahLst/>
                <a:cxnLst/>
                <a:rect l="l" t="t" r="r" b="b"/>
                <a:pathLst>
                  <a:path w="117640" h="117641" extrusionOk="0">
                    <a:moveTo>
                      <a:pt x="117508" y="62709"/>
                    </a:moveTo>
                    <a:cubicBezTo>
                      <a:pt x="119678" y="30336"/>
                      <a:pt x="95082" y="2304"/>
                      <a:pt x="62709" y="133"/>
                    </a:cubicBezTo>
                    <a:cubicBezTo>
                      <a:pt x="30336" y="-2037"/>
                      <a:pt x="2303" y="22559"/>
                      <a:pt x="133" y="54932"/>
                    </a:cubicBezTo>
                    <a:cubicBezTo>
                      <a:pt x="-2037" y="87305"/>
                      <a:pt x="22559" y="115338"/>
                      <a:pt x="54932" y="117508"/>
                    </a:cubicBezTo>
                    <a:cubicBezTo>
                      <a:pt x="87305" y="119678"/>
                      <a:pt x="115337" y="95082"/>
                      <a:pt x="117508" y="627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3" name="Google Shape;383;p21"/>
              <p:cNvSpPr/>
              <p:nvPr/>
            </p:nvSpPr>
            <p:spPr>
              <a:xfrm>
                <a:off x="12508937" y="5655639"/>
                <a:ext cx="62575" cy="62575"/>
              </a:xfrm>
              <a:custGeom>
                <a:avLst/>
                <a:gdLst/>
                <a:ahLst/>
                <a:cxnLst/>
                <a:rect l="l" t="t" r="r" b="b"/>
                <a:pathLst>
                  <a:path w="62575" h="62575" extrusionOk="0">
                    <a:moveTo>
                      <a:pt x="62575" y="31288"/>
                    </a:moveTo>
                    <a:cubicBezTo>
                      <a:pt x="62575" y="48568"/>
                      <a:pt x="48568" y="62576"/>
                      <a:pt x="31287" y="62576"/>
                    </a:cubicBezTo>
                    <a:cubicBezTo>
                      <a:pt x="14008" y="62576"/>
                      <a:pt x="-1" y="48568"/>
                      <a:pt x="-1" y="31288"/>
                    </a:cubicBezTo>
                    <a:cubicBezTo>
                      <a:pt x="-1" y="14008"/>
                      <a:pt x="14007" y="0"/>
                      <a:pt x="31287" y="0"/>
                    </a:cubicBezTo>
                    <a:cubicBezTo>
                      <a:pt x="48567" y="0"/>
                      <a:pt x="62575" y="14008"/>
                      <a:pt x="62575" y="3128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4" name="Google Shape;384;p21"/>
              <p:cNvSpPr/>
              <p:nvPr/>
            </p:nvSpPr>
            <p:spPr>
              <a:xfrm>
                <a:off x="12474337" y="5733350"/>
                <a:ext cx="48400" cy="48400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400" extrusionOk="0">
                    <a:moveTo>
                      <a:pt x="48345" y="25737"/>
                    </a:moveTo>
                    <a:cubicBezTo>
                      <a:pt x="49249" y="12354"/>
                      <a:pt x="39121" y="960"/>
                      <a:pt x="25738" y="56"/>
                    </a:cubicBezTo>
                    <a:cubicBezTo>
                      <a:pt x="12355" y="-848"/>
                      <a:pt x="961" y="9280"/>
                      <a:pt x="56" y="22663"/>
                    </a:cubicBezTo>
                    <a:cubicBezTo>
                      <a:pt x="-848" y="36046"/>
                      <a:pt x="9280" y="47440"/>
                      <a:pt x="22663" y="48344"/>
                    </a:cubicBezTo>
                    <a:cubicBezTo>
                      <a:pt x="35866" y="49249"/>
                      <a:pt x="47440" y="39121"/>
                      <a:pt x="48345" y="257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5" name="Google Shape;385;p21"/>
              <p:cNvSpPr/>
              <p:nvPr/>
            </p:nvSpPr>
            <p:spPr>
              <a:xfrm>
                <a:off x="12368166" y="5772586"/>
                <a:ext cx="60175" cy="60175"/>
              </a:xfrm>
              <a:custGeom>
                <a:avLst/>
                <a:gdLst/>
                <a:ahLst/>
                <a:cxnLst/>
                <a:rect l="l" t="t" r="r" b="b"/>
                <a:pathLst>
                  <a:path w="60175" h="60175" extrusionOk="0">
                    <a:moveTo>
                      <a:pt x="60110" y="32077"/>
                    </a:moveTo>
                    <a:cubicBezTo>
                      <a:pt x="61195" y="15438"/>
                      <a:pt x="48716" y="1151"/>
                      <a:pt x="32077" y="66"/>
                    </a:cubicBezTo>
                    <a:cubicBezTo>
                      <a:pt x="15438" y="-1019"/>
                      <a:pt x="1151" y="11460"/>
                      <a:pt x="66" y="28098"/>
                    </a:cubicBezTo>
                    <a:cubicBezTo>
                      <a:pt x="-1019" y="44737"/>
                      <a:pt x="11460" y="59024"/>
                      <a:pt x="28098" y="60110"/>
                    </a:cubicBezTo>
                    <a:cubicBezTo>
                      <a:pt x="44737" y="61195"/>
                      <a:pt x="59024" y="48716"/>
                      <a:pt x="60110" y="320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6" name="Google Shape;386;p21"/>
              <p:cNvSpPr/>
              <p:nvPr/>
            </p:nvSpPr>
            <p:spPr>
              <a:xfrm>
                <a:off x="12635324" y="6111181"/>
                <a:ext cx="32615" cy="32637"/>
              </a:xfrm>
              <a:custGeom>
                <a:avLst/>
                <a:gdLst/>
                <a:ahLst/>
                <a:cxnLst/>
                <a:rect l="l" t="t" r="r" b="b"/>
                <a:pathLst>
                  <a:path w="32615" h="32637" extrusionOk="0">
                    <a:moveTo>
                      <a:pt x="32584" y="17393"/>
                    </a:moveTo>
                    <a:cubicBezTo>
                      <a:pt x="33127" y="8350"/>
                      <a:pt x="26435" y="573"/>
                      <a:pt x="17393" y="31"/>
                    </a:cubicBezTo>
                    <a:cubicBezTo>
                      <a:pt x="8350" y="-512"/>
                      <a:pt x="573" y="6180"/>
                      <a:pt x="31" y="15222"/>
                    </a:cubicBezTo>
                    <a:cubicBezTo>
                      <a:pt x="-512" y="24265"/>
                      <a:pt x="6180" y="32042"/>
                      <a:pt x="15223" y="32585"/>
                    </a:cubicBezTo>
                    <a:cubicBezTo>
                      <a:pt x="24265" y="33308"/>
                      <a:pt x="32042" y="26435"/>
                      <a:pt x="32584" y="173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7" name="Google Shape;387;p21"/>
              <p:cNvSpPr/>
              <p:nvPr/>
            </p:nvSpPr>
            <p:spPr>
              <a:xfrm>
                <a:off x="12438634" y="5697647"/>
                <a:ext cx="119808" cy="119807"/>
              </a:xfrm>
              <a:custGeom>
                <a:avLst/>
                <a:gdLst/>
                <a:ahLst/>
                <a:cxnLst/>
                <a:rect l="l" t="t" r="r" b="b"/>
                <a:pathLst>
                  <a:path w="119808" h="119807" extrusionOk="0">
                    <a:moveTo>
                      <a:pt x="119677" y="63792"/>
                    </a:moveTo>
                    <a:cubicBezTo>
                      <a:pt x="121847" y="30696"/>
                      <a:pt x="96889" y="2302"/>
                      <a:pt x="63793" y="131"/>
                    </a:cubicBezTo>
                    <a:cubicBezTo>
                      <a:pt x="30696" y="-2039"/>
                      <a:pt x="2302" y="22919"/>
                      <a:pt x="131" y="56016"/>
                    </a:cubicBezTo>
                    <a:cubicBezTo>
                      <a:pt x="-2039" y="89112"/>
                      <a:pt x="22919" y="117506"/>
                      <a:pt x="56015" y="119676"/>
                    </a:cubicBezTo>
                    <a:cubicBezTo>
                      <a:pt x="88931" y="121847"/>
                      <a:pt x="117506" y="96889"/>
                      <a:pt x="119677" y="637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8" name="Google Shape;388;p21"/>
              <p:cNvSpPr/>
              <p:nvPr/>
            </p:nvSpPr>
            <p:spPr>
              <a:xfrm>
                <a:off x="8220796" y="4186297"/>
                <a:ext cx="65631" cy="65631"/>
              </a:xfrm>
              <a:custGeom>
                <a:avLst/>
                <a:gdLst/>
                <a:ahLst/>
                <a:cxnLst/>
                <a:rect l="l" t="t" r="r" b="b"/>
                <a:pathLst>
                  <a:path w="65631" h="65631" extrusionOk="0">
                    <a:moveTo>
                      <a:pt x="65550" y="34986"/>
                    </a:moveTo>
                    <a:cubicBezTo>
                      <a:pt x="66816" y="16900"/>
                      <a:pt x="53071" y="1347"/>
                      <a:pt x="34986" y="81"/>
                    </a:cubicBezTo>
                    <a:cubicBezTo>
                      <a:pt x="16900" y="-1185"/>
                      <a:pt x="1347" y="12560"/>
                      <a:pt x="81" y="30645"/>
                    </a:cubicBezTo>
                    <a:cubicBezTo>
                      <a:pt x="-1185" y="48731"/>
                      <a:pt x="12560" y="64284"/>
                      <a:pt x="30645" y="65550"/>
                    </a:cubicBezTo>
                    <a:cubicBezTo>
                      <a:pt x="48731" y="66816"/>
                      <a:pt x="64284" y="53071"/>
                      <a:pt x="65550" y="349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89" name="Google Shape;389;p21"/>
              <p:cNvSpPr/>
              <p:nvPr/>
            </p:nvSpPr>
            <p:spPr>
              <a:xfrm>
                <a:off x="7599233" y="4523805"/>
                <a:ext cx="36445" cy="36445"/>
              </a:xfrm>
              <a:custGeom>
                <a:avLst/>
                <a:gdLst/>
                <a:ahLst/>
                <a:cxnLst/>
                <a:rect l="l" t="t" r="r" b="b"/>
                <a:pathLst>
                  <a:path w="36445" h="36445" extrusionOk="0">
                    <a:moveTo>
                      <a:pt x="36398" y="19398"/>
                    </a:moveTo>
                    <a:cubicBezTo>
                      <a:pt x="37122" y="9270"/>
                      <a:pt x="29345" y="589"/>
                      <a:pt x="19398" y="47"/>
                    </a:cubicBezTo>
                    <a:cubicBezTo>
                      <a:pt x="9270" y="-677"/>
                      <a:pt x="589" y="7100"/>
                      <a:pt x="47" y="17047"/>
                    </a:cubicBezTo>
                    <a:cubicBezTo>
                      <a:pt x="-677" y="27175"/>
                      <a:pt x="7100" y="35856"/>
                      <a:pt x="17047" y="36398"/>
                    </a:cubicBezTo>
                    <a:cubicBezTo>
                      <a:pt x="27175" y="37122"/>
                      <a:pt x="35856" y="29526"/>
                      <a:pt x="36398" y="193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0" name="Google Shape;390;p21"/>
              <p:cNvSpPr/>
              <p:nvPr/>
            </p:nvSpPr>
            <p:spPr>
              <a:xfrm>
                <a:off x="8239650" y="4205332"/>
                <a:ext cx="27741" cy="27902"/>
              </a:xfrm>
              <a:custGeom>
                <a:avLst/>
                <a:gdLst/>
                <a:ahLst/>
                <a:cxnLst/>
                <a:rect l="l" t="t" r="r" b="b"/>
                <a:pathLst>
                  <a:path w="27741" h="27902" extrusionOk="0">
                    <a:moveTo>
                      <a:pt x="27706" y="14865"/>
                    </a:moveTo>
                    <a:cubicBezTo>
                      <a:pt x="28249" y="7269"/>
                      <a:pt x="22461" y="578"/>
                      <a:pt x="14684" y="35"/>
                    </a:cubicBezTo>
                    <a:cubicBezTo>
                      <a:pt x="6908" y="-508"/>
                      <a:pt x="397" y="5280"/>
                      <a:pt x="35" y="13057"/>
                    </a:cubicBezTo>
                    <a:cubicBezTo>
                      <a:pt x="-507" y="20653"/>
                      <a:pt x="5280" y="27344"/>
                      <a:pt x="13057" y="27887"/>
                    </a:cubicBezTo>
                    <a:cubicBezTo>
                      <a:pt x="20653" y="28249"/>
                      <a:pt x="27344" y="22461"/>
                      <a:pt x="27706" y="148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1" name="Google Shape;391;p21"/>
              <p:cNvSpPr/>
              <p:nvPr/>
            </p:nvSpPr>
            <p:spPr>
              <a:xfrm>
                <a:off x="8217728" y="4183229"/>
                <a:ext cx="71767" cy="71768"/>
              </a:xfrm>
              <a:custGeom>
                <a:avLst/>
                <a:gdLst/>
                <a:ahLst/>
                <a:cxnLst/>
                <a:rect l="l" t="t" r="r" b="b"/>
                <a:pathLst>
                  <a:path w="71767" h="71768" extrusionOk="0">
                    <a:moveTo>
                      <a:pt x="71693" y="38235"/>
                    </a:moveTo>
                    <a:cubicBezTo>
                      <a:pt x="72959" y="18522"/>
                      <a:pt x="57948" y="1521"/>
                      <a:pt x="38235" y="75"/>
                    </a:cubicBezTo>
                    <a:cubicBezTo>
                      <a:pt x="18522" y="-1192"/>
                      <a:pt x="1521" y="13819"/>
                      <a:pt x="75" y="33532"/>
                    </a:cubicBezTo>
                    <a:cubicBezTo>
                      <a:pt x="-1191" y="53246"/>
                      <a:pt x="13819" y="70246"/>
                      <a:pt x="33533" y="71693"/>
                    </a:cubicBezTo>
                    <a:cubicBezTo>
                      <a:pt x="53246" y="72959"/>
                      <a:pt x="70246" y="58129"/>
                      <a:pt x="71693" y="382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2" name="Google Shape;392;p21"/>
              <p:cNvSpPr/>
              <p:nvPr/>
            </p:nvSpPr>
            <p:spPr>
              <a:xfrm>
                <a:off x="8341272" y="4427403"/>
                <a:ext cx="51469" cy="51450"/>
              </a:xfrm>
              <a:custGeom>
                <a:avLst/>
                <a:gdLst/>
                <a:ahLst/>
                <a:cxnLst/>
                <a:rect l="l" t="t" r="r" b="b"/>
                <a:pathLst>
                  <a:path w="51469" h="51450" extrusionOk="0">
                    <a:moveTo>
                      <a:pt x="51416" y="27362"/>
                    </a:moveTo>
                    <a:cubicBezTo>
                      <a:pt x="52320" y="13256"/>
                      <a:pt x="41650" y="958"/>
                      <a:pt x="27363" y="53"/>
                    </a:cubicBezTo>
                    <a:cubicBezTo>
                      <a:pt x="13256" y="-851"/>
                      <a:pt x="958" y="9819"/>
                      <a:pt x="53" y="24107"/>
                    </a:cubicBezTo>
                    <a:cubicBezTo>
                      <a:pt x="-851" y="38214"/>
                      <a:pt x="9820" y="50512"/>
                      <a:pt x="24107" y="51416"/>
                    </a:cubicBezTo>
                    <a:cubicBezTo>
                      <a:pt x="38395" y="52139"/>
                      <a:pt x="50512" y="41469"/>
                      <a:pt x="51416" y="273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3" name="Google Shape;393;p21"/>
              <p:cNvSpPr/>
              <p:nvPr/>
            </p:nvSpPr>
            <p:spPr>
              <a:xfrm>
                <a:off x="7598331" y="4522903"/>
                <a:ext cx="38430" cy="38430"/>
              </a:xfrm>
              <a:custGeom>
                <a:avLst/>
                <a:gdLst/>
                <a:ahLst/>
                <a:cxnLst/>
                <a:rect l="l" t="t" r="r" b="b"/>
                <a:pathLst>
                  <a:path w="38430" h="38430" extrusionOk="0">
                    <a:moveTo>
                      <a:pt x="38386" y="20481"/>
                    </a:moveTo>
                    <a:cubicBezTo>
                      <a:pt x="39109" y="9811"/>
                      <a:pt x="30971" y="768"/>
                      <a:pt x="20481" y="45"/>
                    </a:cubicBezTo>
                    <a:cubicBezTo>
                      <a:pt x="9811" y="-679"/>
                      <a:pt x="768" y="7460"/>
                      <a:pt x="45" y="17949"/>
                    </a:cubicBezTo>
                    <a:cubicBezTo>
                      <a:pt x="-679" y="28620"/>
                      <a:pt x="7460" y="37663"/>
                      <a:pt x="17949" y="38386"/>
                    </a:cubicBezTo>
                    <a:cubicBezTo>
                      <a:pt x="28439" y="39109"/>
                      <a:pt x="37662" y="30971"/>
                      <a:pt x="38386" y="204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4" name="Google Shape;394;p21"/>
              <p:cNvSpPr/>
              <p:nvPr/>
            </p:nvSpPr>
            <p:spPr>
              <a:xfrm>
                <a:off x="8216283" y="4181784"/>
                <a:ext cx="74837" cy="74857"/>
              </a:xfrm>
              <a:custGeom>
                <a:avLst/>
                <a:gdLst/>
                <a:ahLst/>
                <a:cxnLst/>
                <a:rect l="l" t="t" r="r" b="b"/>
                <a:pathLst>
                  <a:path w="74837" h="74857" extrusionOk="0">
                    <a:moveTo>
                      <a:pt x="74765" y="39860"/>
                    </a:moveTo>
                    <a:cubicBezTo>
                      <a:pt x="76031" y="19243"/>
                      <a:pt x="60478" y="1338"/>
                      <a:pt x="39860" y="72"/>
                    </a:cubicBezTo>
                    <a:cubicBezTo>
                      <a:pt x="19243" y="-1194"/>
                      <a:pt x="1338" y="14359"/>
                      <a:pt x="72" y="34977"/>
                    </a:cubicBezTo>
                    <a:cubicBezTo>
                      <a:pt x="-1194" y="55594"/>
                      <a:pt x="14360" y="73499"/>
                      <a:pt x="34977" y="74765"/>
                    </a:cubicBezTo>
                    <a:cubicBezTo>
                      <a:pt x="55594" y="76212"/>
                      <a:pt x="73318" y="60477"/>
                      <a:pt x="74765" y="398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5" name="Google Shape;395;p21"/>
              <p:cNvSpPr/>
              <p:nvPr/>
            </p:nvSpPr>
            <p:spPr>
              <a:xfrm>
                <a:off x="8602404" y="4131503"/>
                <a:ext cx="70143" cy="70143"/>
              </a:xfrm>
              <a:custGeom>
                <a:avLst/>
                <a:gdLst/>
                <a:ahLst/>
                <a:cxnLst/>
                <a:rect l="l" t="t" r="r" b="b"/>
                <a:pathLst>
                  <a:path w="70143" h="70143" extrusionOk="0">
                    <a:moveTo>
                      <a:pt x="70067" y="37332"/>
                    </a:moveTo>
                    <a:cubicBezTo>
                      <a:pt x="71333" y="17981"/>
                      <a:pt x="56684" y="1342"/>
                      <a:pt x="37332" y="76"/>
                    </a:cubicBezTo>
                    <a:cubicBezTo>
                      <a:pt x="17981" y="-1190"/>
                      <a:pt x="1342" y="13459"/>
                      <a:pt x="76" y="32811"/>
                    </a:cubicBezTo>
                    <a:cubicBezTo>
                      <a:pt x="-1190" y="52162"/>
                      <a:pt x="13459" y="68801"/>
                      <a:pt x="32811" y="70067"/>
                    </a:cubicBezTo>
                    <a:cubicBezTo>
                      <a:pt x="52162" y="71333"/>
                      <a:pt x="68801" y="56684"/>
                      <a:pt x="70067" y="37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6" name="Google Shape;396;p21"/>
              <p:cNvSpPr/>
              <p:nvPr/>
            </p:nvSpPr>
            <p:spPr>
              <a:xfrm>
                <a:off x="8236040" y="4201701"/>
                <a:ext cx="34962" cy="34982"/>
              </a:xfrm>
              <a:custGeom>
                <a:avLst/>
                <a:gdLst/>
                <a:ahLst/>
                <a:cxnLst/>
                <a:rect l="l" t="t" r="r" b="b"/>
                <a:pathLst>
                  <a:path w="34962" h="34982" extrusionOk="0">
                    <a:moveTo>
                      <a:pt x="34934" y="18677"/>
                    </a:moveTo>
                    <a:cubicBezTo>
                      <a:pt x="35476" y="9091"/>
                      <a:pt x="28242" y="772"/>
                      <a:pt x="18657" y="49"/>
                    </a:cubicBezTo>
                    <a:cubicBezTo>
                      <a:pt x="9071" y="-675"/>
                      <a:pt x="752" y="6741"/>
                      <a:pt x="29" y="16326"/>
                    </a:cubicBezTo>
                    <a:cubicBezTo>
                      <a:pt x="-514" y="25911"/>
                      <a:pt x="6720" y="34230"/>
                      <a:pt x="16306" y="34954"/>
                    </a:cubicBezTo>
                    <a:cubicBezTo>
                      <a:pt x="26072" y="35496"/>
                      <a:pt x="34391" y="28262"/>
                      <a:pt x="34934" y="186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7" name="Google Shape;397;p21"/>
              <p:cNvSpPr/>
              <p:nvPr/>
            </p:nvSpPr>
            <p:spPr>
              <a:xfrm>
                <a:off x="8604750" y="4133849"/>
                <a:ext cx="65631" cy="65631"/>
              </a:xfrm>
              <a:custGeom>
                <a:avLst/>
                <a:gdLst/>
                <a:ahLst/>
                <a:cxnLst/>
                <a:rect l="l" t="t" r="r" b="b"/>
                <a:pathLst>
                  <a:path w="65631" h="65631" extrusionOk="0">
                    <a:moveTo>
                      <a:pt x="65550" y="34986"/>
                    </a:moveTo>
                    <a:cubicBezTo>
                      <a:pt x="66816" y="16900"/>
                      <a:pt x="53071" y="1166"/>
                      <a:pt x="34986" y="81"/>
                    </a:cubicBezTo>
                    <a:cubicBezTo>
                      <a:pt x="16900" y="-1185"/>
                      <a:pt x="1166" y="12560"/>
                      <a:pt x="81" y="30645"/>
                    </a:cubicBezTo>
                    <a:cubicBezTo>
                      <a:pt x="-1185" y="48731"/>
                      <a:pt x="12560" y="64465"/>
                      <a:pt x="30645" y="65550"/>
                    </a:cubicBezTo>
                    <a:cubicBezTo>
                      <a:pt x="48731" y="66816"/>
                      <a:pt x="64284" y="53071"/>
                      <a:pt x="65550" y="349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8" name="Google Shape;398;p21"/>
              <p:cNvSpPr/>
              <p:nvPr/>
            </p:nvSpPr>
            <p:spPr>
              <a:xfrm>
                <a:off x="8354691" y="4440641"/>
                <a:ext cx="24813" cy="24812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2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0"/>
                      <a:pt x="18" y="11593"/>
                    </a:cubicBezTo>
                    <a:cubicBezTo>
                      <a:pt x="-343" y="18465"/>
                      <a:pt x="4720" y="24253"/>
                      <a:pt x="11593" y="24795"/>
                    </a:cubicBezTo>
                    <a:cubicBezTo>
                      <a:pt x="18465" y="25157"/>
                      <a:pt x="24253" y="19912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99" name="Google Shape;399;p21"/>
              <p:cNvSpPr/>
              <p:nvPr/>
            </p:nvSpPr>
            <p:spPr>
              <a:xfrm>
                <a:off x="10160339" y="2712755"/>
                <a:ext cx="20478" cy="20478"/>
              </a:xfrm>
              <a:custGeom>
                <a:avLst/>
                <a:gdLst/>
                <a:ahLst/>
                <a:cxnLst/>
                <a:rect l="l" t="t" r="r" b="b"/>
                <a:pathLst>
                  <a:path w="20478" h="20478" extrusionOk="0">
                    <a:moveTo>
                      <a:pt x="20458" y="10872"/>
                    </a:moveTo>
                    <a:cubicBezTo>
                      <a:pt x="20819" y="5266"/>
                      <a:pt x="16479" y="383"/>
                      <a:pt x="10872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0" y="15213"/>
                      <a:pt x="4000" y="20096"/>
                      <a:pt x="9607" y="20458"/>
                    </a:cubicBezTo>
                    <a:cubicBezTo>
                      <a:pt x="15213" y="20819"/>
                      <a:pt x="20096" y="16479"/>
                      <a:pt x="20458" y="108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0" name="Google Shape;400;p21"/>
              <p:cNvSpPr/>
              <p:nvPr/>
            </p:nvSpPr>
            <p:spPr>
              <a:xfrm>
                <a:off x="10215322" y="3544326"/>
                <a:ext cx="24813" cy="2481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3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0"/>
                      <a:pt x="18" y="11593"/>
                    </a:cubicBezTo>
                    <a:cubicBezTo>
                      <a:pt x="-344" y="18465"/>
                      <a:pt x="4720" y="24253"/>
                      <a:pt x="11593" y="24795"/>
                    </a:cubicBezTo>
                    <a:cubicBezTo>
                      <a:pt x="18465" y="25157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1" name="Google Shape;401;p21"/>
              <p:cNvSpPr/>
              <p:nvPr/>
            </p:nvSpPr>
            <p:spPr>
              <a:xfrm>
                <a:off x="10216225" y="3545229"/>
                <a:ext cx="23188" cy="23187"/>
              </a:xfrm>
              <a:custGeom>
                <a:avLst/>
                <a:gdLst/>
                <a:ahLst/>
                <a:cxnLst/>
                <a:rect l="l" t="t" r="r" b="b"/>
                <a:pathLst>
                  <a:path w="23188" h="23187" extrusionOk="0">
                    <a:moveTo>
                      <a:pt x="23169" y="12318"/>
                    </a:moveTo>
                    <a:cubicBezTo>
                      <a:pt x="23530" y="5988"/>
                      <a:pt x="18828" y="381"/>
                      <a:pt x="12318" y="20"/>
                    </a:cubicBezTo>
                    <a:cubicBezTo>
                      <a:pt x="5988" y="-342"/>
                      <a:pt x="381" y="4360"/>
                      <a:pt x="20" y="10871"/>
                    </a:cubicBezTo>
                    <a:cubicBezTo>
                      <a:pt x="-342" y="17201"/>
                      <a:pt x="4360" y="22807"/>
                      <a:pt x="10871" y="23169"/>
                    </a:cubicBezTo>
                    <a:cubicBezTo>
                      <a:pt x="17201" y="23531"/>
                      <a:pt x="22626" y="18648"/>
                      <a:pt x="23169" y="123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2" name="Google Shape;402;p21"/>
              <p:cNvSpPr/>
              <p:nvPr/>
            </p:nvSpPr>
            <p:spPr>
              <a:xfrm>
                <a:off x="10141484" y="2693899"/>
                <a:ext cx="58189" cy="58169"/>
              </a:xfrm>
              <a:custGeom>
                <a:avLst/>
                <a:gdLst/>
                <a:ahLst/>
                <a:cxnLst/>
                <a:rect l="l" t="t" r="r" b="b"/>
                <a:pathLst>
                  <a:path w="58189" h="58169" extrusionOk="0">
                    <a:moveTo>
                      <a:pt x="58122" y="30994"/>
                    </a:moveTo>
                    <a:cubicBezTo>
                      <a:pt x="59207" y="14898"/>
                      <a:pt x="47090" y="1153"/>
                      <a:pt x="30994" y="68"/>
                    </a:cubicBezTo>
                    <a:cubicBezTo>
                      <a:pt x="14898" y="-1018"/>
                      <a:pt x="1153" y="11100"/>
                      <a:pt x="68" y="27196"/>
                    </a:cubicBezTo>
                    <a:cubicBezTo>
                      <a:pt x="-1018" y="43292"/>
                      <a:pt x="11100" y="57037"/>
                      <a:pt x="27196" y="58122"/>
                    </a:cubicBezTo>
                    <a:cubicBezTo>
                      <a:pt x="43292" y="59026"/>
                      <a:pt x="57037" y="46909"/>
                      <a:pt x="58122" y="309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3" name="Google Shape;403;p21"/>
              <p:cNvSpPr/>
              <p:nvPr/>
            </p:nvSpPr>
            <p:spPr>
              <a:xfrm>
                <a:off x="8631588" y="4160687"/>
                <a:ext cx="11954" cy="11954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54" extrusionOk="0">
                    <a:moveTo>
                      <a:pt x="11945" y="6339"/>
                    </a:moveTo>
                    <a:cubicBezTo>
                      <a:pt x="12126" y="3084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2" y="8871"/>
                      <a:pt x="2360" y="11765"/>
                      <a:pt x="5616" y="11945"/>
                    </a:cubicBezTo>
                    <a:cubicBezTo>
                      <a:pt x="8871" y="12126"/>
                      <a:pt x="11765" y="9594"/>
                      <a:pt x="11945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4" name="Google Shape;404;p21"/>
              <p:cNvSpPr/>
              <p:nvPr/>
            </p:nvSpPr>
            <p:spPr>
              <a:xfrm>
                <a:off x="9906384" y="3877422"/>
                <a:ext cx="48581" cy="48581"/>
              </a:xfrm>
              <a:custGeom>
                <a:avLst/>
                <a:gdLst/>
                <a:ahLst/>
                <a:cxnLst/>
                <a:rect l="l" t="t" r="r" b="b"/>
                <a:pathLst>
                  <a:path w="48581" h="48581" extrusionOk="0">
                    <a:moveTo>
                      <a:pt x="48525" y="25918"/>
                    </a:moveTo>
                    <a:cubicBezTo>
                      <a:pt x="49429" y="12535"/>
                      <a:pt x="39302" y="960"/>
                      <a:pt x="25918" y="56"/>
                    </a:cubicBezTo>
                    <a:cubicBezTo>
                      <a:pt x="12535" y="-848"/>
                      <a:pt x="960" y="9280"/>
                      <a:pt x="56" y="22663"/>
                    </a:cubicBezTo>
                    <a:cubicBezTo>
                      <a:pt x="-848" y="36046"/>
                      <a:pt x="9280" y="47621"/>
                      <a:pt x="22663" y="48525"/>
                    </a:cubicBezTo>
                    <a:cubicBezTo>
                      <a:pt x="36046" y="49429"/>
                      <a:pt x="47621" y="39302"/>
                      <a:pt x="48525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5" name="Google Shape;405;p21"/>
              <p:cNvSpPr/>
              <p:nvPr/>
            </p:nvSpPr>
            <p:spPr>
              <a:xfrm>
                <a:off x="9922331" y="3893369"/>
                <a:ext cx="16688" cy="16689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89" extrusionOk="0">
                    <a:moveTo>
                      <a:pt x="16664" y="8887"/>
                    </a:moveTo>
                    <a:cubicBezTo>
                      <a:pt x="17025" y="4185"/>
                      <a:pt x="13408" y="206"/>
                      <a:pt x="8887" y="25"/>
                    </a:cubicBezTo>
                    <a:cubicBezTo>
                      <a:pt x="4185" y="-337"/>
                      <a:pt x="206" y="3280"/>
                      <a:pt x="25" y="7802"/>
                    </a:cubicBezTo>
                    <a:cubicBezTo>
                      <a:pt x="-337" y="12504"/>
                      <a:pt x="3280" y="16483"/>
                      <a:pt x="7802" y="16664"/>
                    </a:cubicBezTo>
                    <a:cubicBezTo>
                      <a:pt x="12323" y="17025"/>
                      <a:pt x="16302" y="13589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6" name="Google Shape;406;p21"/>
              <p:cNvSpPr/>
              <p:nvPr/>
            </p:nvSpPr>
            <p:spPr>
              <a:xfrm>
                <a:off x="9810864" y="4541309"/>
                <a:ext cx="81918" cy="81917"/>
              </a:xfrm>
              <a:custGeom>
                <a:avLst/>
                <a:gdLst/>
                <a:ahLst/>
                <a:cxnLst/>
                <a:rect l="l" t="t" r="r" b="b"/>
                <a:pathLst>
                  <a:path w="81918" h="81917" extrusionOk="0">
                    <a:moveTo>
                      <a:pt x="81832" y="43672"/>
                    </a:moveTo>
                    <a:cubicBezTo>
                      <a:pt x="83279" y="21065"/>
                      <a:pt x="66279" y="1714"/>
                      <a:pt x="43672" y="86"/>
                    </a:cubicBezTo>
                    <a:cubicBezTo>
                      <a:pt x="21065" y="-1361"/>
                      <a:pt x="1714" y="15639"/>
                      <a:pt x="86" y="38246"/>
                    </a:cubicBezTo>
                    <a:cubicBezTo>
                      <a:pt x="-1361" y="60853"/>
                      <a:pt x="15639" y="80205"/>
                      <a:pt x="38246" y="81832"/>
                    </a:cubicBezTo>
                    <a:cubicBezTo>
                      <a:pt x="60853" y="83279"/>
                      <a:pt x="80385" y="66098"/>
                      <a:pt x="81832" y="436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7" name="Google Shape;407;p21"/>
              <p:cNvSpPr/>
              <p:nvPr/>
            </p:nvSpPr>
            <p:spPr>
              <a:xfrm>
                <a:off x="12114807" y="3406305"/>
                <a:ext cx="36447" cy="3642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26" extrusionOk="0">
                    <a:moveTo>
                      <a:pt x="36400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452" y="-676"/>
                      <a:pt x="771" y="6920"/>
                      <a:pt x="48" y="17048"/>
                    </a:cubicBezTo>
                    <a:cubicBezTo>
                      <a:pt x="-675" y="26995"/>
                      <a:pt x="6920" y="35676"/>
                      <a:pt x="17048" y="36399"/>
                    </a:cubicBezTo>
                    <a:cubicBezTo>
                      <a:pt x="26995" y="36942"/>
                      <a:pt x="35676" y="29346"/>
                      <a:pt x="36400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8" name="Google Shape;408;p21"/>
              <p:cNvSpPr/>
              <p:nvPr/>
            </p:nvSpPr>
            <p:spPr>
              <a:xfrm>
                <a:off x="11108182" y="3966422"/>
                <a:ext cx="26296" cy="26276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6" extrusionOk="0">
                    <a:moveTo>
                      <a:pt x="26260" y="13962"/>
                    </a:moveTo>
                    <a:cubicBezTo>
                      <a:pt x="26803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5" y="26260"/>
                    </a:cubicBezTo>
                    <a:cubicBezTo>
                      <a:pt x="19388" y="26622"/>
                      <a:pt x="25718" y="21015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09" name="Google Shape;409;p21"/>
              <p:cNvSpPr/>
              <p:nvPr/>
            </p:nvSpPr>
            <p:spPr>
              <a:xfrm>
                <a:off x="12117897" y="3409395"/>
                <a:ext cx="30267" cy="30267"/>
              </a:xfrm>
              <a:custGeom>
                <a:avLst/>
                <a:gdLst/>
                <a:ahLst/>
                <a:cxnLst/>
                <a:rect l="l" t="t" r="r" b="b"/>
                <a:pathLst>
                  <a:path w="30267" h="30267" extrusionOk="0">
                    <a:moveTo>
                      <a:pt x="30235" y="16128"/>
                    </a:moveTo>
                    <a:cubicBezTo>
                      <a:pt x="30778" y="7809"/>
                      <a:pt x="24448" y="575"/>
                      <a:pt x="16129" y="32"/>
                    </a:cubicBezTo>
                    <a:cubicBezTo>
                      <a:pt x="7809" y="-510"/>
                      <a:pt x="575" y="5820"/>
                      <a:pt x="32" y="14139"/>
                    </a:cubicBezTo>
                    <a:cubicBezTo>
                      <a:pt x="-510" y="22458"/>
                      <a:pt x="5820" y="29693"/>
                      <a:pt x="14139" y="30235"/>
                    </a:cubicBezTo>
                    <a:cubicBezTo>
                      <a:pt x="22458" y="30778"/>
                      <a:pt x="29693" y="24448"/>
                      <a:pt x="30235" y="161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0" name="Google Shape;410;p21"/>
              <p:cNvSpPr/>
              <p:nvPr/>
            </p:nvSpPr>
            <p:spPr>
              <a:xfrm>
                <a:off x="12301822" y="3910538"/>
                <a:ext cx="26296" cy="26277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7" extrusionOk="0">
                    <a:moveTo>
                      <a:pt x="26260" y="13962"/>
                    </a:moveTo>
                    <a:cubicBezTo>
                      <a:pt x="26802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4" y="26260"/>
                    </a:cubicBezTo>
                    <a:cubicBezTo>
                      <a:pt x="19568" y="26622"/>
                      <a:pt x="25717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1" name="Google Shape;411;p21"/>
              <p:cNvSpPr/>
              <p:nvPr/>
            </p:nvSpPr>
            <p:spPr>
              <a:xfrm>
                <a:off x="11092778" y="3951017"/>
                <a:ext cx="56925" cy="56905"/>
              </a:xfrm>
              <a:custGeom>
                <a:avLst/>
                <a:gdLst/>
                <a:ahLst/>
                <a:cxnLst/>
                <a:rect l="l" t="t" r="r" b="b"/>
                <a:pathLst>
                  <a:path w="56925" h="56905" extrusionOk="0">
                    <a:moveTo>
                      <a:pt x="56857" y="30271"/>
                    </a:moveTo>
                    <a:cubicBezTo>
                      <a:pt x="57942" y="14537"/>
                      <a:pt x="46005" y="973"/>
                      <a:pt x="30271" y="68"/>
                    </a:cubicBezTo>
                    <a:cubicBezTo>
                      <a:pt x="14537" y="-1017"/>
                      <a:pt x="973" y="10920"/>
                      <a:pt x="69" y="26654"/>
                    </a:cubicBezTo>
                    <a:cubicBezTo>
                      <a:pt x="-1017" y="42389"/>
                      <a:pt x="10920" y="55953"/>
                      <a:pt x="26654" y="56857"/>
                    </a:cubicBezTo>
                    <a:cubicBezTo>
                      <a:pt x="42388" y="57761"/>
                      <a:pt x="55953" y="46006"/>
                      <a:pt x="56857" y="302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2" name="Google Shape;412;p21"/>
              <p:cNvSpPr/>
              <p:nvPr/>
            </p:nvSpPr>
            <p:spPr>
              <a:xfrm>
                <a:off x="12111920" y="3403418"/>
                <a:ext cx="42221" cy="42222"/>
              </a:xfrm>
              <a:custGeom>
                <a:avLst/>
                <a:gdLst/>
                <a:ahLst/>
                <a:cxnLst/>
                <a:rect l="l" t="t" r="r" b="b"/>
                <a:pathLst>
                  <a:path w="42221" h="42222" extrusionOk="0">
                    <a:moveTo>
                      <a:pt x="42180" y="22467"/>
                    </a:moveTo>
                    <a:cubicBezTo>
                      <a:pt x="42904" y="10712"/>
                      <a:pt x="34042" y="765"/>
                      <a:pt x="22467" y="41"/>
                    </a:cubicBezTo>
                    <a:cubicBezTo>
                      <a:pt x="10892" y="-682"/>
                      <a:pt x="764" y="8180"/>
                      <a:pt x="41" y="19754"/>
                    </a:cubicBezTo>
                    <a:cubicBezTo>
                      <a:pt x="-682" y="31510"/>
                      <a:pt x="8179" y="41457"/>
                      <a:pt x="19754" y="42180"/>
                    </a:cubicBezTo>
                    <a:cubicBezTo>
                      <a:pt x="31329" y="42904"/>
                      <a:pt x="41457" y="34223"/>
                      <a:pt x="42180" y="2246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3" name="Google Shape;413;p21"/>
              <p:cNvSpPr/>
              <p:nvPr/>
            </p:nvSpPr>
            <p:spPr>
              <a:xfrm>
                <a:off x="12180610" y="3131739"/>
                <a:ext cx="69962" cy="69984"/>
              </a:xfrm>
              <a:custGeom>
                <a:avLst/>
                <a:gdLst/>
                <a:ahLst/>
                <a:cxnLst/>
                <a:rect l="l" t="t" r="r" b="b"/>
                <a:pathLst>
                  <a:path w="69962" h="69984" extrusionOk="0">
                    <a:moveTo>
                      <a:pt x="69886" y="37332"/>
                    </a:moveTo>
                    <a:cubicBezTo>
                      <a:pt x="71152" y="17981"/>
                      <a:pt x="56503" y="1342"/>
                      <a:pt x="37332" y="76"/>
                    </a:cubicBezTo>
                    <a:cubicBezTo>
                      <a:pt x="17981" y="-1190"/>
                      <a:pt x="1342" y="13459"/>
                      <a:pt x="76" y="32630"/>
                    </a:cubicBezTo>
                    <a:cubicBezTo>
                      <a:pt x="-1190" y="51982"/>
                      <a:pt x="13459" y="68620"/>
                      <a:pt x="32630" y="69886"/>
                    </a:cubicBezTo>
                    <a:cubicBezTo>
                      <a:pt x="51981" y="71333"/>
                      <a:pt x="68620" y="56684"/>
                      <a:pt x="69886" y="37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4" name="Google Shape;414;p21"/>
              <p:cNvSpPr/>
              <p:nvPr/>
            </p:nvSpPr>
            <p:spPr>
              <a:xfrm>
                <a:off x="12084540" y="3376038"/>
                <a:ext cx="96981" cy="96981"/>
              </a:xfrm>
              <a:custGeom>
                <a:avLst/>
                <a:gdLst/>
                <a:ahLst/>
                <a:cxnLst/>
                <a:rect l="l" t="t" r="r" b="b"/>
                <a:pathLst>
                  <a:path w="96981" h="96981" extrusionOk="0">
                    <a:moveTo>
                      <a:pt x="96870" y="51656"/>
                    </a:moveTo>
                    <a:cubicBezTo>
                      <a:pt x="98678" y="24889"/>
                      <a:pt x="78422" y="1740"/>
                      <a:pt x="51656" y="112"/>
                    </a:cubicBezTo>
                    <a:cubicBezTo>
                      <a:pt x="24889" y="-1696"/>
                      <a:pt x="1740" y="18559"/>
                      <a:pt x="112" y="45326"/>
                    </a:cubicBezTo>
                    <a:cubicBezTo>
                      <a:pt x="-1696" y="72092"/>
                      <a:pt x="18559" y="95242"/>
                      <a:pt x="45326" y="96869"/>
                    </a:cubicBezTo>
                    <a:cubicBezTo>
                      <a:pt x="72093" y="98678"/>
                      <a:pt x="95061" y="78422"/>
                      <a:pt x="96870" y="516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5" name="Google Shape;415;p21"/>
              <p:cNvSpPr/>
              <p:nvPr/>
            </p:nvSpPr>
            <p:spPr>
              <a:xfrm>
                <a:off x="12196014" y="3147324"/>
                <a:ext cx="39154" cy="39153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53" extrusionOk="0">
                    <a:moveTo>
                      <a:pt x="39109" y="20843"/>
                    </a:moveTo>
                    <a:cubicBezTo>
                      <a:pt x="39832" y="9992"/>
                      <a:pt x="31694" y="768"/>
                      <a:pt x="20843" y="45"/>
                    </a:cubicBezTo>
                    <a:cubicBezTo>
                      <a:pt x="9992" y="-679"/>
                      <a:pt x="768" y="7460"/>
                      <a:pt x="45" y="18311"/>
                    </a:cubicBezTo>
                    <a:cubicBezTo>
                      <a:pt x="-679" y="29162"/>
                      <a:pt x="7460" y="38386"/>
                      <a:pt x="18311" y="39109"/>
                    </a:cubicBezTo>
                    <a:cubicBezTo>
                      <a:pt x="28982" y="39833"/>
                      <a:pt x="38386" y="31513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6" name="Google Shape;416;p21"/>
              <p:cNvSpPr/>
              <p:nvPr/>
            </p:nvSpPr>
            <p:spPr>
              <a:xfrm>
                <a:off x="12099945" y="3391442"/>
                <a:ext cx="65990" cy="65991"/>
              </a:xfrm>
              <a:custGeom>
                <a:avLst/>
                <a:gdLst/>
                <a:ahLst/>
                <a:cxnLst/>
                <a:rect l="l" t="t" r="r" b="b"/>
                <a:pathLst>
                  <a:path w="65990" h="65991" extrusionOk="0">
                    <a:moveTo>
                      <a:pt x="65911" y="35166"/>
                    </a:moveTo>
                    <a:cubicBezTo>
                      <a:pt x="67177" y="16899"/>
                      <a:pt x="53251" y="1346"/>
                      <a:pt x="35166" y="80"/>
                    </a:cubicBezTo>
                    <a:cubicBezTo>
                      <a:pt x="16899" y="-1186"/>
                      <a:pt x="1346" y="12740"/>
                      <a:pt x="80" y="30825"/>
                    </a:cubicBezTo>
                    <a:cubicBezTo>
                      <a:pt x="-1186" y="49091"/>
                      <a:pt x="12739" y="64645"/>
                      <a:pt x="30825" y="65911"/>
                    </a:cubicBezTo>
                    <a:cubicBezTo>
                      <a:pt x="49091" y="67177"/>
                      <a:pt x="64826" y="53432"/>
                      <a:pt x="65911" y="351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7" name="Google Shape;417;p21"/>
              <p:cNvSpPr/>
              <p:nvPr/>
            </p:nvSpPr>
            <p:spPr>
              <a:xfrm>
                <a:off x="12307257" y="3915973"/>
                <a:ext cx="15427" cy="15427"/>
              </a:xfrm>
              <a:custGeom>
                <a:avLst/>
                <a:gdLst/>
                <a:ahLst/>
                <a:cxnLst/>
                <a:rect l="l" t="t" r="r" b="b"/>
                <a:pathLst>
                  <a:path w="15427" h="15427" extrusionOk="0">
                    <a:moveTo>
                      <a:pt x="15400" y="8166"/>
                    </a:moveTo>
                    <a:cubicBezTo>
                      <a:pt x="15762" y="3825"/>
                      <a:pt x="12506" y="208"/>
                      <a:pt x="8166" y="27"/>
                    </a:cubicBezTo>
                    <a:cubicBezTo>
                      <a:pt x="3825" y="-334"/>
                      <a:pt x="208" y="2921"/>
                      <a:pt x="27" y="7262"/>
                    </a:cubicBezTo>
                    <a:cubicBezTo>
                      <a:pt x="-334" y="11602"/>
                      <a:pt x="2921" y="15219"/>
                      <a:pt x="7261" y="15400"/>
                    </a:cubicBezTo>
                    <a:cubicBezTo>
                      <a:pt x="11421" y="15762"/>
                      <a:pt x="15038" y="12506"/>
                      <a:pt x="15400" y="81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8" name="Google Shape;418;p21"/>
              <p:cNvSpPr/>
              <p:nvPr/>
            </p:nvSpPr>
            <p:spPr>
              <a:xfrm>
                <a:off x="12102854" y="3394351"/>
                <a:ext cx="60354" cy="60354"/>
              </a:xfrm>
              <a:custGeom>
                <a:avLst/>
                <a:gdLst/>
                <a:ahLst/>
                <a:cxnLst/>
                <a:rect l="l" t="t" r="r" b="b"/>
                <a:pathLst>
                  <a:path w="60354" h="60354" extrusionOk="0">
                    <a:moveTo>
                      <a:pt x="60289" y="32076"/>
                    </a:moveTo>
                    <a:cubicBezTo>
                      <a:pt x="61374" y="15437"/>
                      <a:pt x="48715" y="1150"/>
                      <a:pt x="32076" y="65"/>
                    </a:cubicBezTo>
                    <a:cubicBezTo>
                      <a:pt x="15437" y="-1020"/>
                      <a:pt x="1150" y="11640"/>
                      <a:pt x="65" y="28278"/>
                    </a:cubicBezTo>
                    <a:cubicBezTo>
                      <a:pt x="-1020" y="44917"/>
                      <a:pt x="11639" y="59204"/>
                      <a:pt x="28278" y="60289"/>
                    </a:cubicBezTo>
                    <a:cubicBezTo>
                      <a:pt x="44736" y="61375"/>
                      <a:pt x="59204" y="48715"/>
                      <a:pt x="60289" y="320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19" name="Google Shape;419;p21"/>
              <p:cNvSpPr/>
              <p:nvPr/>
            </p:nvSpPr>
            <p:spPr>
              <a:xfrm>
                <a:off x="9111530" y="4170226"/>
                <a:ext cx="49483" cy="49464"/>
              </a:xfrm>
              <a:custGeom>
                <a:avLst/>
                <a:gdLst/>
                <a:ahLst/>
                <a:cxnLst/>
                <a:rect l="l" t="t" r="r" b="b"/>
                <a:pathLst>
                  <a:path w="49483" h="49464" extrusionOk="0">
                    <a:moveTo>
                      <a:pt x="49428" y="26279"/>
                    </a:moveTo>
                    <a:cubicBezTo>
                      <a:pt x="50333" y="12715"/>
                      <a:pt x="40024" y="779"/>
                      <a:pt x="26279" y="55"/>
                    </a:cubicBezTo>
                    <a:cubicBezTo>
                      <a:pt x="12715" y="-849"/>
                      <a:pt x="779" y="9459"/>
                      <a:pt x="55" y="23205"/>
                    </a:cubicBezTo>
                    <a:cubicBezTo>
                      <a:pt x="-849" y="36769"/>
                      <a:pt x="9460" y="48705"/>
                      <a:pt x="23205" y="49428"/>
                    </a:cubicBezTo>
                    <a:cubicBezTo>
                      <a:pt x="36769" y="50152"/>
                      <a:pt x="48524" y="39843"/>
                      <a:pt x="4942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0" name="Google Shape;420;p21"/>
              <p:cNvSpPr/>
              <p:nvPr/>
            </p:nvSpPr>
            <p:spPr>
              <a:xfrm>
                <a:off x="8618891" y="4148171"/>
                <a:ext cx="37168" cy="37148"/>
              </a:xfrm>
              <a:custGeom>
                <a:avLst/>
                <a:gdLst/>
                <a:ahLst/>
                <a:cxnLst/>
                <a:rect l="l" t="t" r="r" b="b"/>
                <a:pathLst>
                  <a:path w="37168" h="37148" extrusionOk="0">
                    <a:moveTo>
                      <a:pt x="37122" y="19760"/>
                    </a:moveTo>
                    <a:cubicBezTo>
                      <a:pt x="37845" y="9632"/>
                      <a:pt x="30069" y="770"/>
                      <a:pt x="19760" y="47"/>
                    </a:cubicBezTo>
                    <a:cubicBezTo>
                      <a:pt x="9632" y="-677"/>
                      <a:pt x="770" y="7100"/>
                      <a:pt x="47" y="17409"/>
                    </a:cubicBezTo>
                    <a:cubicBezTo>
                      <a:pt x="-677" y="27537"/>
                      <a:pt x="7100" y="36398"/>
                      <a:pt x="17409" y="37122"/>
                    </a:cubicBezTo>
                    <a:cubicBezTo>
                      <a:pt x="27537" y="37664"/>
                      <a:pt x="36398" y="29888"/>
                      <a:pt x="37122" y="197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1" name="Google Shape;421;p21"/>
              <p:cNvSpPr/>
              <p:nvPr/>
            </p:nvSpPr>
            <p:spPr>
              <a:xfrm>
                <a:off x="8341814" y="4427764"/>
                <a:ext cx="50386" cy="50386"/>
              </a:xfrm>
              <a:custGeom>
                <a:avLst/>
                <a:gdLst/>
                <a:ahLst/>
                <a:cxnLst/>
                <a:rect l="l" t="t" r="r" b="b"/>
                <a:pathLst>
                  <a:path w="50386" h="50386" extrusionOk="0">
                    <a:moveTo>
                      <a:pt x="50332" y="26821"/>
                    </a:moveTo>
                    <a:cubicBezTo>
                      <a:pt x="51236" y="12895"/>
                      <a:pt x="40747" y="959"/>
                      <a:pt x="26821" y="54"/>
                    </a:cubicBezTo>
                    <a:cubicBezTo>
                      <a:pt x="12895" y="-850"/>
                      <a:pt x="959" y="9640"/>
                      <a:pt x="54" y="23565"/>
                    </a:cubicBezTo>
                    <a:cubicBezTo>
                      <a:pt x="-850" y="37491"/>
                      <a:pt x="9640" y="49428"/>
                      <a:pt x="23565" y="50332"/>
                    </a:cubicBezTo>
                    <a:cubicBezTo>
                      <a:pt x="37491" y="51236"/>
                      <a:pt x="49428" y="40747"/>
                      <a:pt x="50332" y="268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2" name="Google Shape;422;p21"/>
              <p:cNvSpPr/>
              <p:nvPr/>
            </p:nvSpPr>
            <p:spPr>
              <a:xfrm>
                <a:off x="9103567" y="4162243"/>
                <a:ext cx="65229" cy="65269"/>
              </a:xfrm>
              <a:custGeom>
                <a:avLst/>
                <a:gdLst/>
                <a:ahLst/>
                <a:cxnLst/>
                <a:rect l="l" t="t" r="r" b="b"/>
                <a:pathLst>
                  <a:path w="65229" h="65269" extrusionOk="0">
                    <a:moveTo>
                      <a:pt x="65168" y="34805"/>
                    </a:moveTo>
                    <a:cubicBezTo>
                      <a:pt x="66253" y="16900"/>
                      <a:pt x="52689" y="1347"/>
                      <a:pt x="34785" y="81"/>
                    </a:cubicBezTo>
                    <a:cubicBezTo>
                      <a:pt x="16880" y="-1185"/>
                      <a:pt x="1327" y="12560"/>
                      <a:pt x="61" y="30464"/>
                    </a:cubicBezTo>
                    <a:cubicBezTo>
                      <a:pt x="-1024" y="48369"/>
                      <a:pt x="12540" y="63923"/>
                      <a:pt x="30444" y="65188"/>
                    </a:cubicBezTo>
                    <a:cubicBezTo>
                      <a:pt x="48530" y="66454"/>
                      <a:pt x="64083" y="52710"/>
                      <a:pt x="65168" y="348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3" name="Google Shape;423;p21"/>
              <p:cNvSpPr/>
              <p:nvPr/>
            </p:nvSpPr>
            <p:spPr>
              <a:xfrm>
                <a:off x="8929071" y="4966552"/>
                <a:ext cx="31351" cy="31350"/>
              </a:xfrm>
              <a:custGeom>
                <a:avLst/>
                <a:gdLst/>
                <a:ahLst/>
                <a:cxnLst/>
                <a:rect l="l" t="t" r="r" b="b"/>
                <a:pathLst>
                  <a:path w="31351" h="31350" extrusionOk="0">
                    <a:moveTo>
                      <a:pt x="31319" y="16670"/>
                    </a:moveTo>
                    <a:cubicBezTo>
                      <a:pt x="31862" y="7989"/>
                      <a:pt x="25351" y="574"/>
                      <a:pt x="16670" y="32"/>
                    </a:cubicBezTo>
                    <a:cubicBezTo>
                      <a:pt x="7989" y="-511"/>
                      <a:pt x="574" y="6000"/>
                      <a:pt x="32" y="14681"/>
                    </a:cubicBezTo>
                    <a:cubicBezTo>
                      <a:pt x="-511" y="23362"/>
                      <a:pt x="6000" y="30777"/>
                      <a:pt x="14681" y="31319"/>
                    </a:cubicBezTo>
                    <a:cubicBezTo>
                      <a:pt x="23181" y="31862"/>
                      <a:pt x="30777" y="25351"/>
                      <a:pt x="31319" y="166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4" name="Google Shape;424;p21"/>
              <p:cNvSpPr/>
              <p:nvPr/>
            </p:nvSpPr>
            <p:spPr>
              <a:xfrm>
                <a:off x="8355775" y="4441725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6"/>
                    </a:cubicBezTo>
                    <a:cubicBezTo>
                      <a:pt x="16839" y="22807"/>
                      <a:pt x="22084" y="18286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5" name="Google Shape;425;p21"/>
              <p:cNvSpPr/>
              <p:nvPr/>
            </p:nvSpPr>
            <p:spPr>
              <a:xfrm>
                <a:off x="9116243" y="4174759"/>
                <a:ext cx="40056" cy="40078"/>
              </a:xfrm>
              <a:custGeom>
                <a:avLst/>
                <a:gdLst/>
                <a:ahLst/>
                <a:cxnLst/>
                <a:rect l="l" t="t" r="r" b="b"/>
                <a:pathLst>
                  <a:path w="40056" h="40078" extrusionOk="0">
                    <a:moveTo>
                      <a:pt x="40013" y="21385"/>
                    </a:moveTo>
                    <a:cubicBezTo>
                      <a:pt x="40736" y="10352"/>
                      <a:pt x="32417" y="767"/>
                      <a:pt x="21385" y="44"/>
                    </a:cubicBezTo>
                    <a:cubicBezTo>
                      <a:pt x="10353" y="-680"/>
                      <a:pt x="767" y="7640"/>
                      <a:pt x="44" y="18672"/>
                    </a:cubicBezTo>
                    <a:cubicBezTo>
                      <a:pt x="-680" y="29704"/>
                      <a:pt x="7640" y="39289"/>
                      <a:pt x="18672" y="40013"/>
                    </a:cubicBezTo>
                    <a:cubicBezTo>
                      <a:pt x="29704" y="40917"/>
                      <a:pt x="39289" y="32417"/>
                      <a:pt x="40013" y="21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6" name="Google Shape;426;p21"/>
              <p:cNvSpPr/>
              <p:nvPr/>
            </p:nvSpPr>
            <p:spPr>
              <a:xfrm>
                <a:off x="8628680" y="4157779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205"/>
                      <a:pt x="9428" y="24"/>
                    </a:cubicBezTo>
                    <a:cubicBezTo>
                      <a:pt x="4545" y="-338"/>
                      <a:pt x="205" y="3460"/>
                      <a:pt x="24" y="8343"/>
                    </a:cubicBezTo>
                    <a:cubicBezTo>
                      <a:pt x="-338" y="13226"/>
                      <a:pt x="3460" y="17567"/>
                      <a:pt x="8343" y="17748"/>
                    </a:cubicBezTo>
                    <a:cubicBezTo>
                      <a:pt x="13226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7" name="Google Shape;427;p21"/>
              <p:cNvSpPr/>
              <p:nvPr/>
            </p:nvSpPr>
            <p:spPr>
              <a:xfrm>
                <a:off x="9108260" y="4166957"/>
                <a:ext cx="55842" cy="55842"/>
              </a:xfrm>
              <a:custGeom>
                <a:avLst/>
                <a:gdLst/>
                <a:ahLst/>
                <a:cxnLst/>
                <a:rect l="l" t="t" r="r" b="b"/>
                <a:pathLst>
                  <a:path w="55842" h="55842" extrusionOk="0">
                    <a:moveTo>
                      <a:pt x="55773" y="29730"/>
                    </a:moveTo>
                    <a:cubicBezTo>
                      <a:pt x="56858" y="14357"/>
                      <a:pt x="45102" y="1155"/>
                      <a:pt x="29730" y="69"/>
                    </a:cubicBezTo>
                    <a:cubicBezTo>
                      <a:pt x="14357" y="-1016"/>
                      <a:pt x="1155" y="10740"/>
                      <a:pt x="69" y="26113"/>
                    </a:cubicBezTo>
                    <a:cubicBezTo>
                      <a:pt x="-1016" y="41485"/>
                      <a:pt x="10740" y="54688"/>
                      <a:pt x="26112" y="55773"/>
                    </a:cubicBezTo>
                    <a:cubicBezTo>
                      <a:pt x="41485" y="56858"/>
                      <a:pt x="54868" y="45102"/>
                      <a:pt x="55773" y="297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8" name="Google Shape;428;p21"/>
              <p:cNvSpPr/>
              <p:nvPr/>
            </p:nvSpPr>
            <p:spPr>
              <a:xfrm>
                <a:off x="9824081" y="4554527"/>
                <a:ext cx="55482" cy="55461"/>
              </a:xfrm>
              <a:custGeom>
                <a:avLst/>
                <a:gdLst/>
                <a:ahLst/>
                <a:cxnLst/>
                <a:rect l="l" t="t" r="r" b="b"/>
                <a:pathLst>
                  <a:path w="55482" h="55461" extrusionOk="0">
                    <a:moveTo>
                      <a:pt x="55412" y="29550"/>
                    </a:moveTo>
                    <a:cubicBezTo>
                      <a:pt x="56497" y="14358"/>
                      <a:pt x="44922" y="1156"/>
                      <a:pt x="29550" y="70"/>
                    </a:cubicBezTo>
                    <a:cubicBezTo>
                      <a:pt x="14358" y="-1015"/>
                      <a:pt x="1156" y="10560"/>
                      <a:pt x="70" y="25933"/>
                    </a:cubicBezTo>
                    <a:cubicBezTo>
                      <a:pt x="-1015" y="41124"/>
                      <a:pt x="10560" y="54327"/>
                      <a:pt x="25933" y="55412"/>
                    </a:cubicBezTo>
                    <a:cubicBezTo>
                      <a:pt x="41305" y="56316"/>
                      <a:pt x="54327" y="44742"/>
                      <a:pt x="55412" y="2955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29" name="Google Shape;429;p21"/>
              <p:cNvSpPr/>
              <p:nvPr/>
            </p:nvSpPr>
            <p:spPr>
              <a:xfrm>
                <a:off x="8892646" y="4930308"/>
                <a:ext cx="104021" cy="104020"/>
              </a:xfrm>
              <a:custGeom>
                <a:avLst/>
                <a:gdLst/>
                <a:ahLst/>
                <a:cxnLst/>
                <a:rect l="l" t="t" r="r" b="b"/>
                <a:pathLst>
                  <a:path w="104021" h="104020" extrusionOk="0">
                    <a:moveTo>
                      <a:pt x="103916" y="55447"/>
                    </a:moveTo>
                    <a:cubicBezTo>
                      <a:pt x="105724" y="26691"/>
                      <a:pt x="84022" y="1914"/>
                      <a:pt x="55447" y="105"/>
                    </a:cubicBezTo>
                    <a:cubicBezTo>
                      <a:pt x="26691" y="-1703"/>
                      <a:pt x="1914" y="19999"/>
                      <a:pt x="105" y="48574"/>
                    </a:cubicBezTo>
                    <a:cubicBezTo>
                      <a:pt x="-1703" y="77330"/>
                      <a:pt x="19999" y="102107"/>
                      <a:pt x="48574" y="103916"/>
                    </a:cubicBezTo>
                    <a:cubicBezTo>
                      <a:pt x="77330" y="105724"/>
                      <a:pt x="102107" y="84022"/>
                      <a:pt x="103916" y="5544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0" name="Google Shape;430;p21"/>
              <p:cNvSpPr/>
              <p:nvPr/>
            </p:nvSpPr>
            <p:spPr>
              <a:xfrm>
                <a:off x="9104830" y="4163346"/>
                <a:ext cx="62882" cy="62903"/>
              </a:xfrm>
              <a:custGeom>
                <a:avLst/>
                <a:gdLst/>
                <a:ahLst/>
                <a:cxnLst/>
                <a:rect l="l" t="t" r="r" b="b"/>
                <a:pathLst>
                  <a:path w="62882" h="62903" extrusionOk="0">
                    <a:moveTo>
                      <a:pt x="62820" y="33521"/>
                    </a:moveTo>
                    <a:cubicBezTo>
                      <a:pt x="63905" y="16159"/>
                      <a:pt x="50883" y="1148"/>
                      <a:pt x="33521" y="63"/>
                    </a:cubicBezTo>
                    <a:cubicBezTo>
                      <a:pt x="16159" y="-1022"/>
                      <a:pt x="1148" y="12000"/>
                      <a:pt x="63" y="29361"/>
                    </a:cubicBezTo>
                    <a:cubicBezTo>
                      <a:pt x="-1022" y="46724"/>
                      <a:pt x="11999" y="61735"/>
                      <a:pt x="29362" y="62820"/>
                    </a:cubicBezTo>
                    <a:cubicBezTo>
                      <a:pt x="46724" y="64086"/>
                      <a:pt x="61734" y="50883"/>
                      <a:pt x="62820" y="335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1" name="Google Shape;431;p21"/>
              <p:cNvSpPr/>
              <p:nvPr/>
            </p:nvSpPr>
            <p:spPr>
              <a:xfrm>
                <a:off x="9821374" y="4551820"/>
                <a:ext cx="60896" cy="60896"/>
              </a:xfrm>
              <a:custGeom>
                <a:avLst/>
                <a:gdLst/>
                <a:ahLst/>
                <a:cxnLst/>
                <a:rect l="l" t="t" r="r" b="b"/>
                <a:pathLst>
                  <a:path w="60896" h="60896" extrusionOk="0">
                    <a:moveTo>
                      <a:pt x="60832" y="32438"/>
                    </a:moveTo>
                    <a:cubicBezTo>
                      <a:pt x="61917" y="15618"/>
                      <a:pt x="49257" y="1150"/>
                      <a:pt x="32438" y="65"/>
                    </a:cubicBezTo>
                    <a:cubicBezTo>
                      <a:pt x="15618" y="-1020"/>
                      <a:pt x="1150" y="11640"/>
                      <a:pt x="65" y="28459"/>
                    </a:cubicBezTo>
                    <a:cubicBezTo>
                      <a:pt x="-1020" y="45278"/>
                      <a:pt x="11640" y="59747"/>
                      <a:pt x="28459" y="60832"/>
                    </a:cubicBezTo>
                    <a:cubicBezTo>
                      <a:pt x="45278" y="61917"/>
                      <a:pt x="59747" y="49257"/>
                      <a:pt x="60832" y="32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2" name="Google Shape;432;p21"/>
              <p:cNvSpPr/>
              <p:nvPr/>
            </p:nvSpPr>
            <p:spPr>
              <a:xfrm>
                <a:off x="12098555" y="4500137"/>
                <a:ext cx="18673" cy="18674"/>
              </a:xfrm>
              <a:custGeom>
                <a:avLst/>
                <a:gdLst/>
                <a:ahLst/>
                <a:cxnLst/>
                <a:rect l="l" t="t" r="r" b="b"/>
                <a:pathLst>
                  <a:path w="18673" h="18674" extrusionOk="0">
                    <a:moveTo>
                      <a:pt x="18651" y="9970"/>
                    </a:moveTo>
                    <a:cubicBezTo>
                      <a:pt x="19013" y="4725"/>
                      <a:pt x="15034" y="385"/>
                      <a:pt x="9970" y="23"/>
                    </a:cubicBezTo>
                    <a:cubicBezTo>
                      <a:pt x="4725" y="-339"/>
                      <a:pt x="385" y="3640"/>
                      <a:pt x="23" y="8704"/>
                    </a:cubicBezTo>
                    <a:cubicBezTo>
                      <a:pt x="-339" y="13949"/>
                      <a:pt x="3640" y="18289"/>
                      <a:pt x="8704" y="18651"/>
                    </a:cubicBezTo>
                    <a:cubicBezTo>
                      <a:pt x="13949" y="19013"/>
                      <a:pt x="18289" y="15215"/>
                      <a:pt x="18651" y="99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3" name="Google Shape;433;p21"/>
              <p:cNvSpPr/>
              <p:nvPr/>
            </p:nvSpPr>
            <p:spPr>
              <a:xfrm>
                <a:off x="12297108" y="3906005"/>
                <a:ext cx="35364" cy="35343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3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0" y="34592"/>
                      <a:pt x="16507" y="35315"/>
                    </a:cubicBezTo>
                    <a:cubicBezTo>
                      <a:pt x="26453" y="35858"/>
                      <a:pt x="34773" y="28443"/>
                      <a:pt x="35316" y="1885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4" name="Google Shape;434;p21"/>
              <p:cNvSpPr/>
              <p:nvPr/>
            </p:nvSpPr>
            <p:spPr>
              <a:xfrm>
                <a:off x="11567717" y="4256135"/>
                <a:ext cx="51648" cy="51648"/>
              </a:xfrm>
              <a:custGeom>
                <a:avLst/>
                <a:gdLst/>
                <a:ahLst/>
                <a:cxnLst/>
                <a:rect l="l" t="t" r="r" b="b"/>
                <a:pathLst>
                  <a:path w="51648" h="51648" extrusionOk="0">
                    <a:moveTo>
                      <a:pt x="51596" y="27542"/>
                    </a:moveTo>
                    <a:cubicBezTo>
                      <a:pt x="52500" y="13255"/>
                      <a:pt x="41649" y="957"/>
                      <a:pt x="27543" y="53"/>
                    </a:cubicBezTo>
                    <a:cubicBezTo>
                      <a:pt x="13255" y="-852"/>
                      <a:pt x="957" y="10000"/>
                      <a:pt x="53" y="24106"/>
                    </a:cubicBezTo>
                    <a:cubicBezTo>
                      <a:pt x="-852" y="38394"/>
                      <a:pt x="10000" y="50692"/>
                      <a:pt x="24106" y="51596"/>
                    </a:cubicBezTo>
                    <a:cubicBezTo>
                      <a:pt x="38394" y="52500"/>
                      <a:pt x="50692" y="41649"/>
                      <a:pt x="51596" y="2754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5" name="Google Shape;435;p21"/>
              <p:cNvSpPr/>
              <p:nvPr/>
            </p:nvSpPr>
            <p:spPr>
              <a:xfrm>
                <a:off x="12083511" y="4485274"/>
                <a:ext cx="48762" cy="48742"/>
              </a:xfrm>
              <a:custGeom>
                <a:avLst/>
                <a:gdLst/>
                <a:ahLst/>
                <a:cxnLst/>
                <a:rect l="l" t="t" r="r" b="b"/>
                <a:pathLst>
                  <a:path w="48762" h="48742" extrusionOk="0">
                    <a:moveTo>
                      <a:pt x="48706" y="25918"/>
                    </a:moveTo>
                    <a:cubicBezTo>
                      <a:pt x="49610" y="12535"/>
                      <a:pt x="39482" y="779"/>
                      <a:pt x="25918" y="56"/>
                    </a:cubicBezTo>
                    <a:cubicBezTo>
                      <a:pt x="12535" y="-848"/>
                      <a:pt x="780" y="9280"/>
                      <a:pt x="56" y="22844"/>
                    </a:cubicBezTo>
                    <a:cubicBezTo>
                      <a:pt x="-848" y="36227"/>
                      <a:pt x="9280" y="47982"/>
                      <a:pt x="22844" y="48706"/>
                    </a:cubicBezTo>
                    <a:cubicBezTo>
                      <a:pt x="36227" y="49429"/>
                      <a:pt x="47801" y="39302"/>
                      <a:pt x="48706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6" name="Google Shape;436;p21"/>
              <p:cNvSpPr/>
              <p:nvPr/>
            </p:nvSpPr>
            <p:spPr>
              <a:xfrm>
                <a:off x="12716186" y="4390914"/>
                <a:ext cx="11232" cy="11232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32" extrusionOk="0">
                    <a:moveTo>
                      <a:pt x="11223" y="5978"/>
                    </a:moveTo>
                    <a:cubicBezTo>
                      <a:pt x="11404" y="2904"/>
                      <a:pt x="9052" y="191"/>
                      <a:pt x="5978" y="10"/>
                    </a:cubicBezTo>
                    <a:cubicBezTo>
                      <a:pt x="2903" y="-171"/>
                      <a:pt x="191" y="2180"/>
                      <a:pt x="10" y="5254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404"/>
                      <a:pt x="10861" y="9052"/>
                      <a:pt x="11223" y="597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7" name="Google Shape;437;p21"/>
              <p:cNvSpPr/>
              <p:nvPr/>
            </p:nvSpPr>
            <p:spPr>
              <a:xfrm>
                <a:off x="12284252" y="3892968"/>
                <a:ext cx="61256" cy="61279"/>
              </a:xfrm>
              <a:custGeom>
                <a:avLst/>
                <a:gdLst/>
                <a:ahLst/>
                <a:cxnLst/>
                <a:rect l="l" t="t" r="r" b="b"/>
                <a:pathLst>
                  <a:path w="61256" h="61279" extrusionOk="0">
                    <a:moveTo>
                      <a:pt x="61192" y="32618"/>
                    </a:moveTo>
                    <a:cubicBezTo>
                      <a:pt x="62278" y="15798"/>
                      <a:pt x="49437" y="1149"/>
                      <a:pt x="32618" y="64"/>
                    </a:cubicBezTo>
                    <a:cubicBezTo>
                      <a:pt x="15798" y="-1021"/>
                      <a:pt x="1149" y="11819"/>
                      <a:pt x="64" y="28639"/>
                    </a:cubicBezTo>
                    <a:cubicBezTo>
                      <a:pt x="-1021" y="45458"/>
                      <a:pt x="11819" y="60108"/>
                      <a:pt x="28639" y="61193"/>
                    </a:cubicBezTo>
                    <a:cubicBezTo>
                      <a:pt x="45639" y="62459"/>
                      <a:pt x="60107" y="49618"/>
                      <a:pt x="61192" y="326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8" name="Google Shape;438;p21"/>
              <p:cNvSpPr/>
              <p:nvPr/>
            </p:nvSpPr>
            <p:spPr>
              <a:xfrm>
                <a:off x="12050155" y="4451757"/>
                <a:ext cx="115655" cy="115795"/>
              </a:xfrm>
              <a:custGeom>
                <a:avLst/>
                <a:gdLst/>
                <a:ahLst/>
                <a:cxnLst/>
                <a:rect l="l" t="t" r="r" b="b"/>
                <a:pathLst>
                  <a:path w="115655" h="115795" extrusionOk="0">
                    <a:moveTo>
                      <a:pt x="115520" y="61606"/>
                    </a:moveTo>
                    <a:cubicBezTo>
                      <a:pt x="117691" y="29775"/>
                      <a:pt x="93456" y="2104"/>
                      <a:pt x="61626" y="115"/>
                    </a:cubicBezTo>
                    <a:cubicBezTo>
                      <a:pt x="29795" y="-1874"/>
                      <a:pt x="2124" y="22179"/>
                      <a:pt x="135" y="54191"/>
                    </a:cubicBezTo>
                    <a:cubicBezTo>
                      <a:pt x="-2035" y="86021"/>
                      <a:pt x="22199" y="113692"/>
                      <a:pt x="54029" y="115681"/>
                    </a:cubicBezTo>
                    <a:cubicBezTo>
                      <a:pt x="85860" y="117670"/>
                      <a:pt x="113350" y="93436"/>
                      <a:pt x="115520" y="616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39" name="Google Shape;439;p21"/>
              <p:cNvSpPr/>
              <p:nvPr/>
            </p:nvSpPr>
            <p:spPr>
              <a:xfrm>
                <a:off x="12464246" y="5173100"/>
                <a:ext cx="23188" cy="23187"/>
              </a:xfrm>
              <a:custGeom>
                <a:avLst/>
                <a:gdLst/>
                <a:ahLst/>
                <a:cxnLst/>
                <a:rect l="l" t="t" r="r" b="b"/>
                <a:pathLst>
                  <a:path w="23188" h="23187" extrusionOk="0">
                    <a:moveTo>
                      <a:pt x="23169" y="12318"/>
                    </a:moveTo>
                    <a:cubicBezTo>
                      <a:pt x="23531" y="5988"/>
                      <a:pt x="18829" y="381"/>
                      <a:pt x="12317" y="20"/>
                    </a:cubicBezTo>
                    <a:cubicBezTo>
                      <a:pt x="5988" y="-342"/>
                      <a:pt x="382" y="4360"/>
                      <a:pt x="20" y="10871"/>
                    </a:cubicBezTo>
                    <a:cubicBezTo>
                      <a:pt x="-342" y="17201"/>
                      <a:pt x="4360" y="22807"/>
                      <a:pt x="10871" y="23169"/>
                    </a:cubicBezTo>
                    <a:cubicBezTo>
                      <a:pt x="17201" y="23531"/>
                      <a:pt x="22626" y="18648"/>
                      <a:pt x="23169" y="123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40" name="Google Shape;440;p21"/>
              <p:cNvSpPr/>
              <p:nvPr/>
            </p:nvSpPr>
            <p:spPr>
              <a:xfrm>
                <a:off x="12078256" y="4480019"/>
                <a:ext cx="59270" cy="59252"/>
              </a:xfrm>
              <a:custGeom>
                <a:avLst/>
                <a:gdLst/>
                <a:ahLst/>
                <a:cxnLst/>
                <a:rect l="l" t="t" r="r" b="b"/>
                <a:pathLst>
                  <a:path w="59270" h="59252" extrusionOk="0">
                    <a:moveTo>
                      <a:pt x="59205" y="31535"/>
                    </a:moveTo>
                    <a:cubicBezTo>
                      <a:pt x="60291" y="15258"/>
                      <a:pt x="47812" y="1151"/>
                      <a:pt x="31534" y="66"/>
                    </a:cubicBezTo>
                    <a:cubicBezTo>
                      <a:pt x="15257" y="-1019"/>
                      <a:pt x="1151" y="11460"/>
                      <a:pt x="66" y="27736"/>
                    </a:cubicBezTo>
                    <a:cubicBezTo>
                      <a:pt x="-1019" y="44014"/>
                      <a:pt x="11460" y="58120"/>
                      <a:pt x="27736" y="59205"/>
                    </a:cubicBezTo>
                    <a:cubicBezTo>
                      <a:pt x="44013" y="60110"/>
                      <a:pt x="58120" y="47811"/>
                      <a:pt x="59205" y="315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41" name="Google Shape;441;p21"/>
              <p:cNvSpPr/>
              <p:nvPr/>
            </p:nvSpPr>
            <p:spPr>
              <a:xfrm>
                <a:off x="12702587" y="4377315"/>
                <a:ext cx="38431" cy="38431"/>
              </a:xfrm>
              <a:custGeom>
                <a:avLst/>
                <a:gdLst/>
                <a:ahLst/>
                <a:cxnLst/>
                <a:rect l="l" t="t" r="r" b="b"/>
                <a:pathLst>
                  <a:path w="38431" h="38431" extrusionOk="0">
                    <a:moveTo>
                      <a:pt x="38386" y="20481"/>
                    </a:moveTo>
                    <a:cubicBezTo>
                      <a:pt x="39109" y="9811"/>
                      <a:pt x="30971" y="768"/>
                      <a:pt x="20481" y="45"/>
                    </a:cubicBezTo>
                    <a:cubicBezTo>
                      <a:pt x="9811" y="-679"/>
                      <a:pt x="768" y="7460"/>
                      <a:pt x="45" y="17949"/>
                    </a:cubicBezTo>
                    <a:cubicBezTo>
                      <a:pt x="-678" y="28620"/>
                      <a:pt x="7460" y="37663"/>
                      <a:pt x="17950" y="38386"/>
                    </a:cubicBezTo>
                    <a:cubicBezTo>
                      <a:pt x="28439" y="39109"/>
                      <a:pt x="37663" y="31152"/>
                      <a:pt x="38386" y="204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42" name="Google Shape;442;p21"/>
              <p:cNvSpPr/>
              <p:nvPr/>
            </p:nvSpPr>
            <p:spPr>
              <a:xfrm>
                <a:off x="10158534" y="2710949"/>
                <a:ext cx="24090" cy="24090"/>
              </a:xfrm>
              <a:custGeom>
                <a:avLst/>
                <a:gdLst/>
                <a:ahLst/>
                <a:cxnLst/>
                <a:rect l="l" t="t" r="r" b="b"/>
                <a:pathLst>
                  <a:path w="24090" h="24090" extrusionOk="0">
                    <a:moveTo>
                      <a:pt x="24072" y="12859"/>
                    </a:moveTo>
                    <a:cubicBezTo>
                      <a:pt x="24433" y="6167"/>
                      <a:pt x="19370" y="380"/>
                      <a:pt x="12859" y="18"/>
                    </a:cubicBezTo>
                    <a:cubicBezTo>
                      <a:pt x="6167" y="-344"/>
                      <a:pt x="380" y="4720"/>
                      <a:pt x="18" y="11231"/>
                    </a:cubicBezTo>
                    <a:cubicBezTo>
                      <a:pt x="-344" y="17923"/>
                      <a:pt x="4720" y="23710"/>
                      <a:pt x="11231" y="24072"/>
                    </a:cubicBezTo>
                    <a:cubicBezTo>
                      <a:pt x="17923" y="24434"/>
                      <a:pt x="23710" y="19370"/>
                      <a:pt x="24072" y="128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443" name="Google Shape;443;p21"/>
              <p:cNvSpPr/>
              <p:nvPr/>
            </p:nvSpPr>
            <p:spPr>
              <a:xfrm>
                <a:off x="10161783" y="2714018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385"/>
                      <a:pt x="9428" y="24"/>
                    </a:cubicBezTo>
                    <a:cubicBezTo>
                      <a:pt x="4545" y="-338"/>
                      <a:pt x="386" y="3460"/>
                      <a:pt x="24" y="8343"/>
                    </a:cubicBezTo>
                    <a:cubicBezTo>
                      <a:pt x="-338" y="13226"/>
                      <a:pt x="3460" y="17386"/>
                      <a:pt x="8343" y="17748"/>
                    </a:cubicBezTo>
                    <a:cubicBezTo>
                      <a:pt x="13045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grpSp>
            <p:nvGrpSpPr>
              <p:cNvPr id="444" name="Google Shape;444;p21"/>
              <p:cNvGrpSpPr/>
              <p:nvPr/>
            </p:nvGrpSpPr>
            <p:grpSpPr>
              <a:xfrm>
                <a:off x="9214555" y="1244711"/>
                <a:ext cx="2483318" cy="2784621"/>
                <a:chOff x="9214555" y="1244711"/>
                <a:chExt cx="2483318" cy="2784621"/>
              </a:xfrm>
            </p:grpSpPr>
            <p:sp>
              <p:nvSpPr>
                <p:cNvPr id="445" name="Google Shape;445;p21"/>
                <p:cNvSpPr/>
                <p:nvPr/>
              </p:nvSpPr>
              <p:spPr>
                <a:xfrm>
                  <a:off x="11478884" y="1352121"/>
                  <a:ext cx="80292" cy="80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292" h="80292" extrusionOk="0">
                      <a:moveTo>
                        <a:pt x="80205" y="42768"/>
                      </a:moveTo>
                      <a:cubicBezTo>
                        <a:pt x="81652" y="20704"/>
                        <a:pt x="64833" y="1534"/>
                        <a:pt x="42768" y="87"/>
                      </a:cubicBezTo>
                      <a:cubicBezTo>
                        <a:pt x="20704" y="-1360"/>
                        <a:pt x="1534" y="15459"/>
                        <a:pt x="87" y="37524"/>
                      </a:cubicBezTo>
                      <a:cubicBezTo>
                        <a:pt x="-1360" y="59588"/>
                        <a:pt x="15460" y="78758"/>
                        <a:pt x="37524" y="80205"/>
                      </a:cubicBezTo>
                      <a:cubicBezTo>
                        <a:pt x="59588" y="81652"/>
                        <a:pt x="78759" y="64833"/>
                        <a:pt x="80205" y="427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46" name="Google Shape;446;p21"/>
                <p:cNvSpPr/>
                <p:nvPr/>
              </p:nvSpPr>
              <p:spPr>
                <a:xfrm>
                  <a:off x="11653826" y="1256686"/>
                  <a:ext cx="31892" cy="319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892" h="31914" extrusionOk="0">
                      <a:moveTo>
                        <a:pt x="31861" y="17031"/>
                      </a:moveTo>
                      <a:cubicBezTo>
                        <a:pt x="32404" y="8169"/>
                        <a:pt x="25712" y="573"/>
                        <a:pt x="17031" y="31"/>
                      </a:cubicBezTo>
                      <a:cubicBezTo>
                        <a:pt x="8169" y="-512"/>
                        <a:pt x="573" y="6180"/>
                        <a:pt x="31" y="14861"/>
                      </a:cubicBezTo>
                      <a:cubicBezTo>
                        <a:pt x="-512" y="23723"/>
                        <a:pt x="6180" y="31319"/>
                        <a:pt x="14861" y="31861"/>
                      </a:cubicBezTo>
                      <a:cubicBezTo>
                        <a:pt x="23723" y="32585"/>
                        <a:pt x="31319" y="25893"/>
                        <a:pt x="31861" y="1703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47" name="Google Shape;447;p21"/>
                <p:cNvSpPr/>
                <p:nvPr/>
              </p:nvSpPr>
              <p:spPr>
                <a:xfrm>
                  <a:off x="11496293" y="1369531"/>
                  <a:ext cx="45291" cy="4529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91" h="45291" extrusionOk="0">
                      <a:moveTo>
                        <a:pt x="45253" y="24093"/>
                      </a:moveTo>
                      <a:cubicBezTo>
                        <a:pt x="45976" y="11614"/>
                        <a:pt x="36572" y="943"/>
                        <a:pt x="24093" y="39"/>
                      </a:cubicBezTo>
                      <a:cubicBezTo>
                        <a:pt x="11614" y="-684"/>
                        <a:pt x="943" y="8720"/>
                        <a:pt x="39" y="21199"/>
                      </a:cubicBezTo>
                      <a:cubicBezTo>
                        <a:pt x="-684" y="33678"/>
                        <a:pt x="8720" y="44348"/>
                        <a:pt x="21199" y="45253"/>
                      </a:cubicBezTo>
                      <a:cubicBezTo>
                        <a:pt x="33678" y="45976"/>
                        <a:pt x="44348" y="36572"/>
                        <a:pt x="45253" y="2409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48" name="Google Shape;448;p21"/>
                <p:cNvSpPr/>
                <p:nvPr/>
              </p:nvSpPr>
              <p:spPr>
                <a:xfrm>
                  <a:off x="9648838" y="2511962"/>
                  <a:ext cx="60175" cy="601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175" h="60175" extrusionOk="0">
                      <a:moveTo>
                        <a:pt x="60109" y="32077"/>
                      </a:moveTo>
                      <a:cubicBezTo>
                        <a:pt x="61195" y="15438"/>
                        <a:pt x="48716" y="1151"/>
                        <a:pt x="32077" y="66"/>
                      </a:cubicBezTo>
                      <a:cubicBezTo>
                        <a:pt x="15438" y="-1019"/>
                        <a:pt x="1151" y="11460"/>
                        <a:pt x="66" y="28098"/>
                      </a:cubicBezTo>
                      <a:cubicBezTo>
                        <a:pt x="-1019" y="44737"/>
                        <a:pt x="11460" y="59024"/>
                        <a:pt x="28098" y="60109"/>
                      </a:cubicBezTo>
                      <a:cubicBezTo>
                        <a:pt x="44737" y="61194"/>
                        <a:pt x="59024" y="48715"/>
                        <a:pt x="60109" y="320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49" name="Google Shape;449;p21"/>
                <p:cNvSpPr/>
                <p:nvPr/>
              </p:nvSpPr>
              <p:spPr>
                <a:xfrm>
                  <a:off x="11641670" y="1244711"/>
                  <a:ext cx="56203" cy="561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203" h="56183" extrusionOk="0">
                      <a:moveTo>
                        <a:pt x="56134" y="29910"/>
                      </a:moveTo>
                      <a:cubicBezTo>
                        <a:pt x="57220" y="14357"/>
                        <a:pt x="45464" y="974"/>
                        <a:pt x="29911" y="69"/>
                      </a:cubicBezTo>
                      <a:cubicBezTo>
                        <a:pt x="14357" y="-1016"/>
                        <a:pt x="974" y="10740"/>
                        <a:pt x="69" y="26293"/>
                      </a:cubicBezTo>
                      <a:cubicBezTo>
                        <a:pt x="-1016" y="41847"/>
                        <a:pt x="10740" y="55230"/>
                        <a:pt x="26293" y="56134"/>
                      </a:cubicBezTo>
                      <a:cubicBezTo>
                        <a:pt x="41847" y="57039"/>
                        <a:pt x="55230" y="45283"/>
                        <a:pt x="56134" y="2991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0" name="Google Shape;450;p21"/>
                <p:cNvSpPr/>
                <p:nvPr/>
              </p:nvSpPr>
              <p:spPr>
                <a:xfrm>
                  <a:off x="11376146" y="3027363"/>
                  <a:ext cx="89178" cy="891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178" h="89178" extrusionOk="0">
                      <a:moveTo>
                        <a:pt x="89079" y="47483"/>
                      </a:moveTo>
                      <a:cubicBezTo>
                        <a:pt x="90707" y="22887"/>
                        <a:pt x="72079" y="1727"/>
                        <a:pt x="47483" y="99"/>
                      </a:cubicBezTo>
                      <a:cubicBezTo>
                        <a:pt x="22887" y="-1529"/>
                        <a:pt x="1727" y="17099"/>
                        <a:pt x="99" y="41695"/>
                      </a:cubicBezTo>
                      <a:cubicBezTo>
                        <a:pt x="-1529" y="66292"/>
                        <a:pt x="17099" y="87452"/>
                        <a:pt x="41696" y="89079"/>
                      </a:cubicBezTo>
                      <a:cubicBezTo>
                        <a:pt x="66292" y="90707"/>
                        <a:pt x="87633" y="72079"/>
                        <a:pt x="89079" y="474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1" name="Google Shape;451;p21"/>
                <p:cNvSpPr/>
                <p:nvPr/>
              </p:nvSpPr>
              <p:spPr>
                <a:xfrm>
                  <a:off x="9641757" y="3648604"/>
                  <a:ext cx="95315" cy="95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315" h="95336" extrusionOk="0">
                      <a:moveTo>
                        <a:pt x="95223" y="50732"/>
                      </a:moveTo>
                      <a:cubicBezTo>
                        <a:pt x="96850" y="24509"/>
                        <a:pt x="76956" y="1721"/>
                        <a:pt x="50732" y="93"/>
                      </a:cubicBezTo>
                      <a:cubicBezTo>
                        <a:pt x="24509" y="-1534"/>
                        <a:pt x="1721" y="18360"/>
                        <a:pt x="93" y="44583"/>
                      </a:cubicBezTo>
                      <a:cubicBezTo>
                        <a:pt x="-1535" y="70807"/>
                        <a:pt x="18359" y="93595"/>
                        <a:pt x="44583" y="95223"/>
                      </a:cubicBezTo>
                      <a:cubicBezTo>
                        <a:pt x="70807" y="97031"/>
                        <a:pt x="93595" y="77137"/>
                        <a:pt x="95223" y="507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2" name="Google Shape;452;p21"/>
                <p:cNvSpPr/>
                <p:nvPr/>
              </p:nvSpPr>
              <p:spPr>
                <a:xfrm>
                  <a:off x="9622753" y="3536641"/>
                  <a:ext cx="101674" cy="1016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674" h="101674" extrusionOk="0">
                      <a:moveTo>
                        <a:pt x="101567" y="54183"/>
                      </a:moveTo>
                      <a:cubicBezTo>
                        <a:pt x="103376" y="26151"/>
                        <a:pt x="82216" y="1916"/>
                        <a:pt x="54183" y="108"/>
                      </a:cubicBezTo>
                      <a:cubicBezTo>
                        <a:pt x="26151" y="-1701"/>
                        <a:pt x="1916" y="19459"/>
                        <a:pt x="108" y="47492"/>
                      </a:cubicBezTo>
                      <a:cubicBezTo>
                        <a:pt x="-1701" y="75524"/>
                        <a:pt x="19459" y="99759"/>
                        <a:pt x="47492" y="101567"/>
                      </a:cubicBezTo>
                      <a:cubicBezTo>
                        <a:pt x="75524" y="103376"/>
                        <a:pt x="99759" y="82035"/>
                        <a:pt x="101567" y="541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3" name="Google Shape;453;p21"/>
                <p:cNvSpPr/>
                <p:nvPr/>
              </p:nvSpPr>
              <p:spPr>
                <a:xfrm>
                  <a:off x="11402603" y="3053640"/>
                  <a:ext cx="36445" cy="364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445" h="36446" extrusionOk="0">
                      <a:moveTo>
                        <a:pt x="36399" y="19398"/>
                      </a:moveTo>
                      <a:cubicBezTo>
                        <a:pt x="37122" y="9270"/>
                        <a:pt x="29345" y="589"/>
                        <a:pt x="19398" y="47"/>
                      </a:cubicBezTo>
                      <a:cubicBezTo>
                        <a:pt x="9270" y="-677"/>
                        <a:pt x="589" y="7100"/>
                        <a:pt x="47" y="17047"/>
                      </a:cubicBezTo>
                      <a:cubicBezTo>
                        <a:pt x="-677" y="27175"/>
                        <a:pt x="7100" y="35856"/>
                        <a:pt x="17047" y="36398"/>
                      </a:cubicBezTo>
                      <a:cubicBezTo>
                        <a:pt x="26994" y="37122"/>
                        <a:pt x="35675" y="29526"/>
                        <a:pt x="36399" y="1939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4" name="Google Shape;454;p21"/>
                <p:cNvSpPr/>
                <p:nvPr/>
              </p:nvSpPr>
              <p:spPr>
                <a:xfrm>
                  <a:off x="11431758" y="2767565"/>
                  <a:ext cx="11232" cy="112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32" h="11233" extrusionOk="0">
                      <a:moveTo>
                        <a:pt x="11223" y="5978"/>
                      </a:moveTo>
                      <a:cubicBezTo>
                        <a:pt x="11404" y="2904"/>
                        <a:pt x="9052" y="191"/>
                        <a:pt x="5978" y="10"/>
                      </a:cubicBezTo>
                      <a:cubicBezTo>
                        <a:pt x="2904" y="-171"/>
                        <a:pt x="191" y="2180"/>
                        <a:pt x="10" y="5255"/>
                      </a:cubicBezTo>
                      <a:cubicBezTo>
                        <a:pt x="-171" y="8329"/>
                        <a:pt x="2180" y="11042"/>
                        <a:pt x="5255" y="11223"/>
                      </a:cubicBezTo>
                      <a:cubicBezTo>
                        <a:pt x="8329" y="11404"/>
                        <a:pt x="11042" y="9233"/>
                        <a:pt x="11223" y="59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5" name="Google Shape;455;p21"/>
                <p:cNvSpPr/>
                <p:nvPr/>
              </p:nvSpPr>
              <p:spPr>
                <a:xfrm>
                  <a:off x="11409683" y="3060900"/>
                  <a:ext cx="22104" cy="2208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04" h="22089" extrusionOk="0">
                      <a:moveTo>
                        <a:pt x="22085" y="11776"/>
                      </a:moveTo>
                      <a:cubicBezTo>
                        <a:pt x="22446" y="5808"/>
                        <a:pt x="17925" y="563"/>
                        <a:pt x="11776" y="20"/>
                      </a:cubicBezTo>
                      <a:cubicBezTo>
                        <a:pt x="5808" y="-341"/>
                        <a:pt x="563" y="4180"/>
                        <a:pt x="20" y="10329"/>
                      </a:cubicBezTo>
                      <a:cubicBezTo>
                        <a:pt x="-341" y="16297"/>
                        <a:pt x="4180" y="21542"/>
                        <a:pt x="10329" y="22085"/>
                      </a:cubicBezTo>
                      <a:cubicBezTo>
                        <a:pt x="16478" y="22265"/>
                        <a:pt x="21723" y="17744"/>
                        <a:pt x="22085" y="117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6" name="Google Shape;456;p21"/>
                <p:cNvSpPr/>
                <p:nvPr/>
              </p:nvSpPr>
              <p:spPr>
                <a:xfrm>
                  <a:off x="11413083" y="2749071"/>
                  <a:ext cx="48400" cy="4838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400" h="48381" extrusionOk="0">
                      <a:moveTo>
                        <a:pt x="48344" y="25737"/>
                      </a:moveTo>
                      <a:cubicBezTo>
                        <a:pt x="49249" y="12354"/>
                        <a:pt x="39121" y="960"/>
                        <a:pt x="25737" y="56"/>
                      </a:cubicBezTo>
                      <a:cubicBezTo>
                        <a:pt x="12354" y="-848"/>
                        <a:pt x="960" y="9280"/>
                        <a:pt x="56" y="22663"/>
                      </a:cubicBezTo>
                      <a:cubicBezTo>
                        <a:pt x="-848" y="36046"/>
                        <a:pt x="9280" y="47440"/>
                        <a:pt x="22482" y="48344"/>
                      </a:cubicBezTo>
                      <a:cubicBezTo>
                        <a:pt x="36046" y="49068"/>
                        <a:pt x="47621" y="39121"/>
                        <a:pt x="48344" y="2573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7" name="Google Shape;457;p21"/>
                <p:cNvSpPr/>
                <p:nvPr/>
              </p:nvSpPr>
              <p:spPr>
                <a:xfrm>
                  <a:off x="11499904" y="1373141"/>
                  <a:ext cx="38251" cy="382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251" h="38232" extrusionOk="0">
                      <a:moveTo>
                        <a:pt x="38206" y="20301"/>
                      </a:moveTo>
                      <a:cubicBezTo>
                        <a:pt x="38929" y="9812"/>
                        <a:pt x="30972" y="769"/>
                        <a:pt x="20301" y="46"/>
                      </a:cubicBezTo>
                      <a:cubicBezTo>
                        <a:pt x="9812" y="-678"/>
                        <a:pt x="769" y="7280"/>
                        <a:pt x="46" y="17950"/>
                      </a:cubicBezTo>
                      <a:cubicBezTo>
                        <a:pt x="-678" y="28621"/>
                        <a:pt x="7280" y="37483"/>
                        <a:pt x="17950" y="38206"/>
                      </a:cubicBezTo>
                      <a:cubicBezTo>
                        <a:pt x="28259" y="38749"/>
                        <a:pt x="37482" y="30791"/>
                        <a:pt x="38206" y="2030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8" name="Google Shape;458;p21"/>
                <p:cNvSpPr/>
                <p:nvPr/>
              </p:nvSpPr>
              <p:spPr>
                <a:xfrm>
                  <a:off x="11360893" y="2696700"/>
                  <a:ext cx="153143" cy="1531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143" h="153142" extrusionOk="0">
                      <a:moveTo>
                        <a:pt x="152983" y="81545"/>
                      </a:moveTo>
                      <a:cubicBezTo>
                        <a:pt x="155695" y="39406"/>
                        <a:pt x="123684" y="2873"/>
                        <a:pt x="81545" y="160"/>
                      </a:cubicBezTo>
                      <a:cubicBezTo>
                        <a:pt x="39406" y="-2552"/>
                        <a:pt x="2873" y="29459"/>
                        <a:pt x="160" y="71598"/>
                      </a:cubicBezTo>
                      <a:cubicBezTo>
                        <a:pt x="-2552" y="113737"/>
                        <a:pt x="29459" y="150270"/>
                        <a:pt x="71598" y="152982"/>
                      </a:cubicBezTo>
                      <a:cubicBezTo>
                        <a:pt x="113737" y="155695"/>
                        <a:pt x="150270" y="123684"/>
                        <a:pt x="152983" y="8154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59" name="Google Shape;459;p21"/>
                <p:cNvSpPr/>
                <p:nvPr/>
              </p:nvSpPr>
              <p:spPr>
                <a:xfrm>
                  <a:off x="11403325" y="3054361"/>
                  <a:ext cx="34982" cy="349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982" h="34982" extrusionOk="0">
                      <a:moveTo>
                        <a:pt x="34954" y="18677"/>
                      </a:moveTo>
                      <a:cubicBezTo>
                        <a:pt x="35496" y="9091"/>
                        <a:pt x="28262" y="772"/>
                        <a:pt x="18677" y="49"/>
                      </a:cubicBezTo>
                      <a:cubicBezTo>
                        <a:pt x="9092" y="-675"/>
                        <a:pt x="772" y="6740"/>
                        <a:pt x="49" y="16326"/>
                      </a:cubicBezTo>
                      <a:cubicBezTo>
                        <a:pt x="-675" y="25911"/>
                        <a:pt x="6740" y="34230"/>
                        <a:pt x="16326" y="34954"/>
                      </a:cubicBezTo>
                      <a:cubicBezTo>
                        <a:pt x="25911" y="35496"/>
                        <a:pt x="34230" y="28262"/>
                        <a:pt x="34954" y="186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0" name="Google Shape;460;p21"/>
                <p:cNvSpPr/>
                <p:nvPr/>
              </p:nvSpPr>
              <p:spPr>
                <a:xfrm>
                  <a:off x="11408550" y="2744358"/>
                  <a:ext cx="57827" cy="578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827" h="57827" extrusionOk="0">
                      <a:moveTo>
                        <a:pt x="57760" y="30813"/>
                      </a:moveTo>
                      <a:cubicBezTo>
                        <a:pt x="58845" y="14898"/>
                        <a:pt x="46728" y="1153"/>
                        <a:pt x="30813" y="68"/>
                      </a:cubicBezTo>
                      <a:cubicBezTo>
                        <a:pt x="14898" y="-1018"/>
                        <a:pt x="1153" y="11100"/>
                        <a:pt x="68" y="27015"/>
                      </a:cubicBezTo>
                      <a:cubicBezTo>
                        <a:pt x="-1018" y="42930"/>
                        <a:pt x="11100" y="56675"/>
                        <a:pt x="27015" y="57760"/>
                      </a:cubicBezTo>
                      <a:cubicBezTo>
                        <a:pt x="42930" y="58845"/>
                        <a:pt x="56675" y="46728"/>
                        <a:pt x="57760" y="3081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1" name="Google Shape;461;p21"/>
                <p:cNvSpPr/>
                <p:nvPr/>
              </p:nvSpPr>
              <p:spPr>
                <a:xfrm>
                  <a:off x="9668033" y="3674880"/>
                  <a:ext cx="42945" cy="429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945" h="42944" extrusionOk="0">
                      <a:moveTo>
                        <a:pt x="42904" y="22829"/>
                      </a:moveTo>
                      <a:cubicBezTo>
                        <a:pt x="43627" y="10892"/>
                        <a:pt x="34765" y="765"/>
                        <a:pt x="22829" y="41"/>
                      </a:cubicBezTo>
                      <a:cubicBezTo>
                        <a:pt x="10893" y="-682"/>
                        <a:pt x="765" y="8180"/>
                        <a:pt x="41" y="20116"/>
                      </a:cubicBezTo>
                      <a:cubicBezTo>
                        <a:pt x="-682" y="32052"/>
                        <a:pt x="8180" y="42180"/>
                        <a:pt x="20116" y="42904"/>
                      </a:cubicBezTo>
                      <a:cubicBezTo>
                        <a:pt x="31872" y="43627"/>
                        <a:pt x="42180" y="34584"/>
                        <a:pt x="42904" y="2282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2" name="Google Shape;462;p21"/>
                <p:cNvSpPr/>
                <p:nvPr/>
              </p:nvSpPr>
              <p:spPr>
                <a:xfrm>
                  <a:off x="9651706" y="3658553"/>
                  <a:ext cx="75599" cy="755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599" h="75578" extrusionOk="0">
                      <a:moveTo>
                        <a:pt x="75508" y="40241"/>
                      </a:moveTo>
                      <a:cubicBezTo>
                        <a:pt x="76955" y="19443"/>
                        <a:pt x="61039" y="1357"/>
                        <a:pt x="40241" y="91"/>
                      </a:cubicBezTo>
                      <a:cubicBezTo>
                        <a:pt x="19443" y="-1356"/>
                        <a:pt x="1357" y="14560"/>
                        <a:pt x="91" y="35358"/>
                      </a:cubicBezTo>
                      <a:cubicBezTo>
                        <a:pt x="-1356" y="56156"/>
                        <a:pt x="14560" y="74242"/>
                        <a:pt x="35358" y="75508"/>
                      </a:cubicBezTo>
                      <a:cubicBezTo>
                        <a:pt x="56156" y="76774"/>
                        <a:pt x="74061" y="61039"/>
                        <a:pt x="75508" y="4024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3" name="Google Shape;463;p21"/>
                <p:cNvSpPr/>
                <p:nvPr/>
              </p:nvSpPr>
              <p:spPr>
                <a:xfrm>
                  <a:off x="10652036" y="2501109"/>
                  <a:ext cx="57646" cy="576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646" h="57627" extrusionOk="0">
                      <a:moveTo>
                        <a:pt x="57579" y="30632"/>
                      </a:moveTo>
                      <a:cubicBezTo>
                        <a:pt x="58665" y="14717"/>
                        <a:pt x="46547" y="972"/>
                        <a:pt x="30632" y="68"/>
                      </a:cubicBezTo>
                      <a:cubicBezTo>
                        <a:pt x="14717" y="-1018"/>
                        <a:pt x="972" y="11100"/>
                        <a:pt x="68" y="27015"/>
                      </a:cubicBezTo>
                      <a:cubicBezTo>
                        <a:pt x="-1018" y="42930"/>
                        <a:pt x="11100" y="56675"/>
                        <a:pt x="27015" y="57579"/>
                      </a:cubicBezTo>
                      <a:cubicBezTo>
                        <a:pt x="42930" y="58483"/>
                        <a:pt x="56675" y="46547"/>
                        <a:pt x="57579" y="306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4" name="Google Shape;464;p21"/>
                <p:cNvSpPr/>
                <p:nvPr/>
              </p:nvSpPr>
              <p:spPr>
                <a:xfrm>
                  <a:off x="10636451" y="2485343"/>
                  <a:ext cx="89178" cy="891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178" h="89178" extrusionOk="0">
                      <a:moveTo>
                        <a:pt x="89079" y="47483"/>
                      </a:moveTo>
                      <a:cubicBezTo>
                        <a:pt x="90707" y="22887"/>
                        <a:pt x="72079" y="1727"/>
                        <a:pt x="47483" y="99"/>
                      </a:cubicBezTo>
                      <a:cubicBezTo>
                        <a:pt x="22887" y="-1529"/>
                        <a:pt x="1727" y="17099"/>
                        <a:pt x="99" y="41696"/>
                      </a:cubicBezTo>
                      <a:cubicBezTo>
                        <a:pt x="-1529" y="66292"/>
                        <a:pt x="17099" y="87452"/>
                        <a:pt x="41696" y="89079"/>
                      </a:cubicBezTo>
                      <a:cubicBezTo>
                        <a:pt x="66111" y="90707"/>
                        <a:pt x="87452" y="72079"/>
                        <a:pt x="89079" y="474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5" name="Google Shape;465;p21"/>
                <p:cNvSpPr/>
                <p:nvPr/>
              </p:nvSpPr>
              <p:spPr>
                <a:xfrm>
                  <a:off x="11467831" y="1341069"/>
                  <a:ext cx="102396" cy="1023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396" h="102396" extrusionOk="0">
                      <a:moveTo>
                        <a:pt x="102290" y="54544"/>
                      </a:moveTo>
                      <a:cubicBezTo>
                        <a:pt x="104098" y="26331"/>
                        <a:pt x="82758" y="1916"/>
                        <a:pt x="54544" y="107"/>
                      </a:cubicBezTo>
                      <a:cubicBezTo>
                        <a:pt x="26331" y="-1702"/>
                        <a:pt x="1916" y="19639"/>
                        <a:pt x="107" y="47853"/>
                      </a:cubicBezTo>
                      <a:cubicBezTo>
                        <a:pt x="-1701" y="76066"/>
                        <a:pt x="19639" y="100481"/>
                        <a:pt x="47853" y="102290"/>
                      </a:cubicBezTo>
                      <a:cubicBezTo>
                        <a:pt x="76066" y="104098"/>
                        <a:pt x="100481" y="82757"/>
                        <a:pt x="102290" y="5454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6" name="Google Shape;466;p21"/>
                <p:cNvSpPr/>
                <p:nvPr/>
              </p:nvSpPr>
              <p:spPr>
                <a:xfrm>
                  <a:off x="10451430" y="1479222"/>
                  <a:ext cx="103118" cy="1031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18" h="103138" extrusionOk="0">
                      <a:moveTo>
                        <a:pt x="103012" y="54925"/>
                      </a:moveTo>
                      <a:cubicBezTo>
                        <a:pt x="104821" y="26531"/>
                        <a:pt x="83299" y="2116"/>
                        <a:pt x="54905" y="127"/>
                      </a:cubicBezTo>
                      <a:cubicBezTo>
                        <a:pt x="26511" y="-1863"/>
                        <a:pt x="2096" y="19840"/>
                        <a:pt x="106" y="48234"/>
                      </a:cubicBezTo>
                      <a:cubicBezTo>
                        <a:pt x="-1703" y="76628"/>
                        <a:pt x="19819" y="101043"/>
                        <a:pt x="48214" y="103033"/>
                      </a:cubicBezTo>
                      <a:cubicBezTo>
                        <a:pt x="76608" y="104841"/>
                        <a:pt x="101023" y="83320"/>
                        <a:pt x="103012" y="5492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7" name="Google Shape;467;p21"/>
                <p:cNvSpPr/>
                <p:nvPr/>
              </p:nvSpPr>
              <p:spPr>
                <a:xfrm>
                  <a:off x="10653861" y="2502753"/>
                  <a:ext cx="54177" cy="541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4177" h="54177" extrusionOk="0">
                      <a:moveTo>
                        <a:pt x="54127" y="28807"/>
                      </a:moveTo>
                      <a:cubicBezTo>
                        <a:pt x="55031" y="13796"/>
                        <a:pt x="43818" y="955"/>
                        <a:pt x="28807" y="51"/>
                      </a:cubicBezTo>
                      <a:cubicBezTo>
                        <a:pt x="13796" y="-853"/>
                        <a:pt x="955" y="10360"/>
                        <a:pt x="51" y="25371"/>
                      </a:cubicBezTo>
                      <a:cubicBezTo>
                        <a:pt x="-853" y="40382"/>
                        <a:pt x="10360" y="53222"/>
                        <a:pt x="25371" y="54126"/>
                      </a:cubicBezTo>
                      <a:cubicBezTo>
                        <a:pt x="40201" y="55031"/>
                        <a:pt x="53222" y="43818"/>
                        <a:pt x="54127" y="2880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8" name="Google Shape;468;p21"/>
                <p:cNvSpPr/>
                <p:nvPr/>
              </p:nvSpPr>
              <p:spPr>
                <a:xfrm>
                  <a:off x="10663088" y="2511980"/>
                  <a:ext cx="35723" cy="357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723" h="35704" extrusionOk="0">
                      <a:moveTo>
                        <a:pt x="35676" y="19037"/>
                      </a:moveTo>
                      <a:cubicBezTo>
                        <a:pt x="36400" y="9271"/>
                        <a:pt x="28803" y="771"/>
                        <a:pt x="19037" y="48"/>
                      </a:cubicBezTo>
                      <a:cubicBezTo>
                        <a:pt x="9271" y="-676"/>
                        <a:pt x="771" y="6920"/>
                        <a:pt x="48" y="16686"/>
                      </a:cubicBezTo>
                      <a:cubicBezTo>
                        <a:pt x="-676" y="26452"/>
                        <a:pt x="6920" y="34953"/>
                        <a:pt x="16686" y="35676"/>
                      </a:cubicBezTo>
                      <a:cubicBezTo>
                        <a:pt x="26453" y="36219"/>
                        <a:pt x="34953" y="28803"/>
                        <a:pt x="35676" y="1903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69" name="Google Shape;469;p21"/>
                <p:cNvSpPr/>
                <p:nvPr/>
              </p:nvSpPr>
              <p:spPr>
                <a:xfrm>
                  <a:off x="11422872" y="2758679"/>
                  <a:ext cx="29184" cy="291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184" h="29184" extrusionOk="0">
                      <a:moveTo>
                        <a:pt x="29151" y="15587"/>
                      </a:moveTo>
                      <a:cubicBezTo>
                        <a:pt x="29693" y="7448"/>
                        <a:pt x="23544" y="576"/>
                        <a:pt x="15587" y="33"/>
                      </a:cubicBezTo>
                      <a:cubicBezTo>
                        <a:pt x="7448" y="-509"/>
                        <a:pt x="576" y="5640"/>
                        <a:pt x="33" y="13597"/>
                      </a:cubicBezTo>
                      <a:cubicBezTo>
                        <a:pt x="-509" y="21736"/>
                        <a:pt x="5640" y="28608"/>
                        <a:pt x="13597" y="29151"/>
                      </a:cubicBezTo>
                      <a:cubicBezTo>
                        <a:pt x="21736" y="29693"/>
                        <a:pt x="28608" y="23544"/>
                        <a:pt x="29151" y="1558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0" name="Google Shape;470;p21"/>
                <p:cNvSpPr/>
                <p:nvPr/>
              </p:nvSpPr>
              <p:spPr>
                <a:xfrm>
                  <a:off x="10625580" y="2474471"/>
                  <a:ext cx="110921" cy="1109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921" h="110921" extrusionOk="0">
                      <a:moveTo>
                        <a:pt x="110802" y="59078"/>
                      </a:moveTo>
                      <a:cubicBezTo>
                        <a:pt x="112791" y="28513"/>
                        <a:pt x="89642" y="2109"/>
                        <a:pt x="59078" y="119"/>
                      </a:cubicBezTo>
                      <a:cubicBezTo>
                        <a:pt x="28513" y="-1870"/>
                        <a:pt x="2109" y="21279"/>
                        <a:pt x="119" y="51844"/>
                      </a:cubicBezTo>
                      <a:cubicBezTo>
                        <a:pt x="-1870" y="82408"/>
                        <a:pt x="21279" y="108813"/>
                        <a:pt x="51844" y="110802"/>
                      </a:cubicBezTo>
                      <a:cubicBezTo>
                        <a:pt x="82408" y="112791"/>
                        <a:pt x="108632" y="89642"/>
                        <a:pt x="110802" y="590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1" name="Google Shape;471;p21"/>
                <p:cNvSpPr/>
                <p:nvPr/>
              </p:nvSpPr>
              <p:spPr>
                <a:xfrm>
                  <a:off x="11380650" y="2716457"/>
                  <a:ext cx="113628" cy="1136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628" h="113629" extrusionOk="0">
                      <a:moveTo>
                        <a:pt x="113512" y="60522"/>
                      </a:moveTo>
                      <a:cubicBezTo>
                        <a:pt x="115502" y="29234"/>
                        <a:pt x="91810" y="2106"/>
                        <a:pt x="60522" y="117"/>
                      </a:cubicBezTo>
                      <a:cubicBezTo>
                        <a:pt x="29234" y="-1873"/>
                        <a:pt x="2106" y="21819"/>
                        <a:pt x="117" y="53107"/>
                      </a:cubicBezTo>
                      <a:cubicBezTo>
                        <a:pt x="-1873" y="84395"/>
                        <a:pt x="21819" y="111523"/>
                        <a:pt x="53107" y="113512"/>
                      </a:cubicBezTo>
                      <a:cubicBezTo>
                        <a:pt x="84395" y="115502"/>
                        <a:pt x="111523" y="91810"/>
                        <a:pt x="113512" y="6052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2" name="Google Shape;472;p21"/>
                <p:cNvSpPr/>
                <p:nvPr/>
              </p:nvSpPr>
              <p:spPr>
                <a:xfrm>
                  <a:off x="11509151" y="1382389"/>
                  <a:ext cx="19757" cy="197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57" h="19756" extrusionOk="0">
                      <a:moveTo>
                        <a:pt x="19735" y="10511"/>
                      </a:moveTo>
                      <a:cubicBezTo>
                        <a:pt x="20097" y="5086"/>
                        <a:pt x="15937" y="384"/>
                        <a:pt x="10511" y="22"/>
                      </a:cubicBezTo>
                      <a:cubicBezTo>
                        <a:pt x="5086" y="-340"/>
                        <a:pt x="384" y="3820"/>
                        <a:pt x="22" y="9245"/>
                      </a:cubicBezTo>
                      <a:cubicBezTo>
                        <a:pt x="-340" y="14671"/>
                        <a:pt x="3820" y="19373"/>
                        <a:pt x="9246" y="19735"/>
                      </a:cubicBezTo>
                      <a:cubicBezTo>
                        <a:pt x="14671" y="20097"/>
                        <a:pt x="19373" y="15937"/>
                        <a:pt x="19735" y="1051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3" name="Google Shape;473;p21"/>
                <p:cNvSpPr/>
                <p:nvPr/>
              </p:nvSpPr>
              <p:spPr>
                <a:xfrm>
                  <a:off x="9485858" y="2947610"/>
                  <a:ext cx="92607" cy="926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607" h="92607" extrusionOk="0">
                      <a:moveTo>
                        <a:pt x="92512" y="49288"/>
                      </a:moveTo>
                      <a:cubicBezTo>
                        <a:pt x="94140" y="23788"/>
                        <a:pt x="74788" y="1723"/>
                        <a:pt x="49288" y="96"/>
                      </a:cubicBezTo>
                      <a:cubicBezTo>
                        <a:pt x="23787" y="-1532"/>
                        <a:pt x="1723" y="17819"/>
                        <a:pt x="96" y="43320"/>
                      </a:cubicBezTo>
                      <a:cubicBezTo>
                        <a:pt x="-1532" y="68820"/>
                        <a:pt x="17819" y="90885"/>
                        <a:pt x="43320" y="92512"/>
                      </a:cubicBezTo>
                      <a:cubicBezTo>
                        <a:pt x="68820" y="94140"/>
                        <a:pt x="90884" y="74789"/>
                        <a:pt x="92512" y="4928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4" name="Google Shape;474;p21"/>
                <p:cNvSpPr/>
                <p:nvPr/>
              </p:nvSpPr>
              <p:spPr>
                <a:xfrm>
                  <a:off x="9482879" y="2944631"/>
                  <a:ext cx="98384" cy="983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84" h="98384" extrusionOk="0">
                      <a:moveTo>
                        <a:pt x="98385" y="49192"/>
                      </a:moveTo>
                      <a:cubicBezTo>
                        <a:pt x="98385" y="76361"/>
                        <a:pt x="76361" y="98385"/>
                        <a:pt x="49192" y="98385"/>
                      </a:cubicBezTo>
                      <a:cubicBezTo>
                        <a:pt x="22024" y="98385"/>
                        <a:pt x="0" y="76361"/>
                        <a:pt x="0" y="49192"/>
                      </a:cubicBezTo>
                      <a:cubicBezTo>
                        <a:pt x="0" y="22024"/>
                        <a:pt x="22024" y="0"/>
                        <a:pt x="49192" y="0"/>
                      </a:cubicBezTo>
                      <a:cubicBezTo>
                        <a:pt x="76361" y="0"/>
                        <a:pt x="98385" y="22024"/>
                        <a:pt x="98385" y="4919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5" name="Google Shape;475;p21"/>
                <p:cNvSpPr/>
                <p:nvPr/>
              </p:nvSpPr>
              <p:spPr>
                <a:xfrm>
                  <a:off x="9497091" y="2958662"/>
                  <a:ext cx="70323" cy="705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323" h="70503" extrusionOk="0">
                      <a:moveTo>
                        <a:pt x="70248" y="37513"/>
                      </a:moveTo>
                      <a:cubicBezTo>
                        <a:pt x="71514" y="18162"/>
                        <a:pt x="56865" y="1342"/>
                        <a:pt x="37513" y="76"/>
                      </a:cubicBezTo>
                      <a:cubicBezTo>
                        <a:pt x="18162" y="-1190"/>
                        <a:pt x="1342" y="13459"/>
                        <a:pt x="76" y="32992"/>
                      </a:cubicBezTo>
                      <a:cubicBezTo>
                        <a:pt x="-1190" y="52343"/>
                        <a:pt x="13459" y="69163"/>
                        <a:pt x="32811" y="70429"/>
                      </a:cubicBezTo>
                      <a:cubicBezTo>
                        <a:pt x="52162" y="71695"/>
                        <a:pt x="68982" y="56865"/>
                        <a:pt x="70248" y="3751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6" name="Google Shape;476;p21"/>
                <p:cNvSpPr/>
                <p:nvPr/>
              </p:nvSpPr>
              <p:spPr>
                <a:xfrm>
                  <a:off x="9509406" y="2971158"/>
                  <a:ext cx="45512" cy="454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512" h="45492" extrusionOk="0">
                      <a:moveTo>
                        <a:pt x="45453" y="24294"/>
                      </a:moveTo>
                      <a:cubicBezTo>
                        <a:pt x="46358" y="11815"/>
                        <a:pt x="36773" y="963"/>
                        <a:pt x="24294" y="59"/>
                      </a:cubicBezTo>
                      <a:cubicBezTo>
                        <a:pt x="11815" y="-845"/>
                        <a:pt x="963" y="8740"/>
                        <a:pt x="59" y="21219"/>
                      </a:cubicBezTo>
                      <a:cubicBezTo>
                        <a:pt x="-845" y="33698"/>
                        <a:pt x="8740" y="44549"/>
                        <a:pt x="21219" y="45454"/>
                      </a:cubicBezTo>
                      <a:cubicBezTo>
                        <a:pt x="33879" y="46177"/>
                        <a:pt x="44549" y="36773"/>
                        <a:pt x="45453" y="2429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7" name="Google Shape;477;p21"/>
                <p:cNvSpPr/>
                <p:nvPr/>
              </p:nvSpPr>
              <p:spPr>
                <a:xfrm>
                  <a:off x="9647766" y="3561654"/>
                  <a:ext cx="51648" cy="51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48" h="51648" extrusionOk="0">
                      <a:moveTo>
                        <a:pt x="51596" y="27543"/>
                      </a:moveTo>
                      <a:cubicBezTo>
                        <a:pt x="52500" y="13255"/>
                        <a:pt x="41649" y="957"/>
                        <a:pt x="27543" y="53"/>
                      </a:cubicBezTo>
                      <a:cubicBezTo>
                        <a:pt x="13255" y="-851"/>
                        <a:pt x="957" y="10000"/>
                        <a:pt x="53" y="24106"/>
                      </a:cubicBezTo>
                      <a:cubicBezTo>
                        <a:pt x="-852" y="38394"/>
                        <a:pt x="10000" y="50692"/>
                        <a:pt x="24106" y="51596"/>
                      </a:cubicBezTo>
                      <a:cubicBezTo>
                        <a:pt x="38394" y="52501"/>
                        <a:pt x="50692" y="41649"/>
                        <a:pt x="51596" y="2754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8" name="Google Shape;478;p21"/>
                <p:cNvSpPr/>
                <p:nvPr/>
              </p:nvSpPr>
              <p:spPr>
                <a:xfrm>
                  <a:off x="9511412" y="2973164"/>
                  <a:ext cx="41499" cy="414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499" h="41499" extrusionOk="0">
                      <a:moveTo>
                        <a:pt x="41458" y="22106"/>
                      </a:moveTo>
                      <a:cubicBezTo>
                        <a:pt x="42181" y="10712"/>
                        <a:pt x="33500" y="946"/>
                        <a:pt x="22106" y="42"/>
                      </a:cubicBezTo>
                      <a:cubicBezTo>
                        <a:pt x="10712" y="-681"/>
                        <a:pt x="946" y="8000"/>
                        <a:pt x="42" y="19394"/>
                      </a:cubicBezTo>
                      <a:cubicBezTo>
                        <a:pt x="-681" y="30787"/>
                        <a:pt x="8000" y="40553"/>
                        <a:pt x="19394" y="41458"/>
                      </a:cubicBezTo>
                      <a:cubicBezTo>
                        <a:pt x="30787" y="42181"/>
                        <a:pt x="40734" y="33500"/>
                        <a:pt x="41458" y="2210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79" name="Google Shape;479;p21"/>
                <p:cNvSpPr/>
                <p:nvPr/>
              </p:nvSpPr>
              <p:spPr>
                <a:xfrm rot="-1491190">
                  <a:off x="9644414" y="2507399"/>
                  <a:ext cx="69087" cy="69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087" h="69087" extrusionOk="0">
                      <a:moveTo>
                        <a:pt x="69087" y="34544"/>
                      </a:moveTo>
                      <a:cubicBezTo>
                        <a:pt x="69087" y="53622"/>
                        <a:pt x="53622" y="69087"/>
                        <a:pt x="34544" y="69087"/>
                      </a:cubicBezTo>
                      <a:cubicBezTo>
                        <a:pt x="15466" y="69087"/>
                        <a:pt x="0" y="53622"/>
                        <a:pt x="0" y="34544"/>
                      </a:cubicBezTo>
                      <a:cubicBezTo>
                        <a:pt x="0" y="15466"/>
                        <a:pt x="15466" y="0"/>
                        <a:pt x="34544" y="0"/>
                      </a:cubicBezTo>
                      <a:cubicBezTo>
                        <a:pt x="53622" y="0"/>
                        <a:pt x="69087" y="15466"/>
                        <a:pt x="69087" y="3454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0" name="Google Shape;480;p21"/>
                <p:cNvSpPr/>
                <p:nvPr/>
              </p:nvSpPr>
              <p:spPr>
                <a:xfrm>
                  <a:off x="9505254" y="2967006"/>
                  <a:ext cx="53815" cy="53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815" h="53815" extrusionOk="0">
                      <a:moveTo>
                        <a:pt x="53765" y="28626"/>
                      </a:moveTo>
                      <a:cubicBezTo>
                        <a:pt x="54669" y="13796"/>
                        <a:pt x="43456" y="955"/>
                        <a:pt x="28626" y="51"/>
                      </a:cubicBezTo>
                      <a:cubicBezTo>
                        <a:pt x="13796" y="-853"/>
                        <a:pt x="955" y="10360"/>
                        <a:pt x="51" y="25190"/>
                      </a:cubicBezTo>
                      <a:cubicBezTo>
                        <a:pt x="-853" y="40020"/>
                        <a:pt x="10360" y="52861"/>
                        <a:pt x="25190" y="53765"/>
                      </a:cubicBezTo>
                      <a:cubicBezTo>
                        <a:pt x="40020" y="54669"/>
                        <a:pt x="52861" y="43456"/>
                        <a:pt x="53765" y="2862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1" name="Google Shape;481;p21"/>
                <p:cNvSpPr/>
                <p:nvPr/>
              </p:nvSpPr>
              <p:spPr>
                <a:xfrm rot="-4431566">
                  <a:off x="9665996" y="2529096"/>
                  <a:ext cx="26043" cy="260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043" h="26043" extrusionOk="0">
                      <a:moveTo>
                        <a:pt x="26044" y="13022"/>
                      </a:moveTo>
                      <a:cubicBezTo>
                        <a:pt x="26044" y="20213"/>
                        <a:pt x="20213" y="26043"/>
                        <a:pt x="13022" y="26043"/>
                      </a:cubicBezTo>
                      <a:cubicBezTo>
                        <a:pt x="5830" y="26043"/>
                        <a:pt x="0" y="20213"/>
                        <a:pt x="0" y="13022"/>
                      </a:cubicBezTo>
                      <a:cubicBezTo>
                        <a:pt x="0" y="5830"/>
                        <a:pt x="5830" y="0"/>
                        <a:pt x="13022" y="0"/>
                      </a:cubicBezTo>
                      <a:cubicBezTo>
                        <a:pt x="20213" y="0"/>
                        <a:pt x="26044" y="5830"/>
                        <a:pt x="26044" y="1302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2" name="Google Shape;482;p21"/>
                <p:cNvSpPr/>
                <p:nvPr/>
              </p:nvSpPr>
              <p:spPr>
                <a:xfrm>
                  <a:off x="9514480" y="2976232"/>
                  <a:ext cx="35364" cy="353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364" h="35343" extrusionOk="0">
                      <a:moveTo>
                        <a:pt x="35315" y="18858"/>
                      </a:moveTo>
                      <a:cubicBezTo>
                        <a:pt x="36039" y="9091"/>
                        <a:pt x="28624" y="772"/>
                        <a:pt x="18858" y="49"/>
                      </a:cubicBezTo>
                      <a:cubicBezTo>
                        <a:pt x="9091" y="-675"/>
                        <a:pt x="772" y="6740"/>
                        <a:pt x="49" y="16507"/>
                      </a:cubicBezTo>
                      <a:cubicBezTo>
                        <a:pt x="-675" y="26273"/>
                        <a:pt x="6740" y="34592"/>
                        <a:pt x="16506" y="35315"/>
                      </a:cubicBezTo>
                      <a:cubicBezTo>
                        <a:pt x="26273" y="35858"/>
                        <a:pt x="34592" y="28624"/>
                        <a:pt x="35315" y="1885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3" name="Google Shape;483;p21"/>
                <p:cNvSpPr/>
                <p:nvPr/>
              </p:nvSpPr>
              <p:spPr>
                <a:xfrm>
                  <a:off x="9639602" y="3553309"/>
                  <a:ext cx="68338" cy="683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338" h="68338" extrusionOk="0">
                      <a:moveTo>
                        <a:pt x="68260" y="36430"/>
                      </a:moveTo>
                      <a:cubicBezTo>
                        <a:pt x="69526" y="17621"/>
                        <a:pt x="55239" y="1344"/>
                        <a:pt x="36430" y="78"/>
                      </a:cubicBezTo>
                      <a:cubicBezTo>
                        <a:pt x="17621" y="-1188"/>
                        <a:pt x="1344" y="13100"/>
                        <a:pt x="78" y="31908"/>
                      </a:cubicBezTo>
                      <a:cubicBezTo>
                        <a:pt x="-1188" y="50717"/>
                        <a:pt x="13100" y="66994"/>
                        <a:pt x="31908" y="68260"/>
                      </a:cubicBezTo>
                      <a:cubicBezTo>
                        <a:pt x="50717" y="69526"/>
                        <a:pt x="66994" y="55239"/>
                        <a:pt x="68260" y="3643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4" name="Google Shape;484;p21"/>
                <p:cNvSpPr/>
                <p:nvPr/>
              </p:nvSpPr>
              <p:spPr>
                <a:xfrm>
                  <a:off x="9501985" y="2963556"/>
                  <a:ext cx="60535" cy="605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535" h="60557" extrusionOk="0">
                      <a:moveTo>
                        <a:pt x="60470" y="32257"/>
                      </a:moveTo>
                      <a:cubicBezTo>
                        <a:pt x="61555" y="15618"/>
                        <a:pt x="48896" y="1150"/>
                        <a:pt x="32257" y="65"/>
                      </a:cubicBezTo>
                      <a:cubicBezTo>
                        <a:pt x="15618" y="-1020"/>
                        <a:pt x="1150" y="11640"/>
                        <a:pt x="65" y="28278"/>
                      </a:cubicBezTo>
                      <a:cubicBezTo>
                        <a:pt x="-1020" y="44917"/>
                        <a:pt x="11640" y="59385"/>
                        <a:pt x="28278" y="60470"/>
                      </a:cubicBezTo>
                      <a:cubicBezTo>
                        <a:pt x="44917" y="61736"/>
                        <a:pt x="59385" y="49076"/>
                        <a:pt x="60470" y="322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5" name="Google Shape;485;p21"/>
                <p:cNvSpPr/>
                <p:nvPr/>
              </p:nvSpPr>
              <p:spPr>
                <a:xfrm>
                  <a:off x="9214555" y="3916606"/>
                  <a:ext cx="112726" cy="1127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726" h="112726" extrusionOk="0">
                      <a:moveTo>
                        <a:pt x="112609" y="59980"/>
                      </a:moveTo>
                      <a:cubicBezTo>
                        <a:pt x="114598" y="28873"/>
                        <a:pt x="91087" y="2107"/>
                        <a:pt x="59980" y="117"/>
                      </a:cubicBezTo>
                      <a:cubicBezTo>
                        <a:pt x="28873" y="-1872"/>
                        <a:pt x="2107" y="21639"/>
                        <a:pt x="117" y="52746"/>
                      </a:cubicBezTo>
                      <a:cubicBezTo>
                        <a:pt x="-1872" y="83853"/>
                        <a:pt x="21639" y="110620"/>
                        <a:pt x="52746" y="112609"/>
                      </a:cubicBezTo>
                      <a:cubicBezTo>
                        <a:pt x="83672" y="114598"/>
                        <a:pt x="110620" y="91087"/>
                        <a:pt x="112609" y="5998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6" name="Google Shape;486;p21"/>
                <p:cNvSpPr/>
                <p:nvPr/>
              </p:nvSpPr>
              <p:spPr>
                <a:xfrm>
                  <a:off x="9250980" y="3953032"/>
                  <a:ext cx="39694" cy="396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694" h="39695" extrusionOk="0">
                      <a:moveTo>
                        <a:pt x="39651" y="21204"/>
                      </a:moveTo>
                      <a:cubicBezTo>
                        <a:pt x="40374" y="10172"/>
                        <a:pt x="32055" y="767"/>
                        <a:pt x="21204" y="44"/>
                      </a:cubicBezTo>
                      <a:cubicBezTo>
                        <a:pt x="10172" y="-679"/>
                        <a:pt x="767" y="7640"/>
                        <a:pt x="44" y="18491"/>
                      </a:cubicBezTo>
                      <a:cubicBezTo>
                        <a:pt x="-680" y="29523"/>
                        <a:pt x="7640" y="38928"/>
                        <a:pt x="18491" y="39651"/>
                      </a:cubicBezTo>
                      <a:cubicBezTo>
                        <a:pt x="29342" y="40375"/>
                        <a:pt x="38928" y="32236"/>
                        <a:pt x="39651" y="2120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7" name="Google Shape;487;p21"/>
                <p:cNvSpPr/>
                <p:nvPr/>
              </p:nvSpPr>
              <p:spPr>
                <a:xfrm>
                  <a:off x="9649751" y="3563639"/>
                  <a:ext cx="47678" cy="476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678" h="47678" extrusionOk="0">
                      <a:moveTo>
                        <a:pt x="47622" y="25377"/>
                      </a:moveTo>
                      <a:cubicBezTo>
                        <a:pt x="48526" y="12174"/>
                        <a:pt x="38579" y="961"/>
                        <a:pt x="25377" y="57"/>
                      </a:cubicBezTo>
                      <a:cubicBezTo>
                        <a:pt x="12174" y="-847"/>
                        <a:pt x="961" y="9100"/>
                        <a:pt x="57" y="22302"/>
                      </a:cubicBezTo>
                      <a:cubicBezTo>
                        <a:pt x="-847" y="35505"/>
                        <a:pt x="9100" y="46718"/>
                        <a:pt x="22302" y="47622"/>
                      </a:cubicBezTo>
                      <a:cubicBezTo>
                        <a:pt x="35505" y="48526"/>
                        <a:pt x="46898" y="38398"/>
                        <a:pt x="47622" y="253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8" name="Google Shape;488;p21"/>
                <p:cNvSpPr/>
                <p:nvPr/>
              </p:nvSpPr>
              <p:spPr>
                <a:xfrm>
                  <a:off x="9249356" y="3951407"/>
                  <a:ext cx="43124" cy="431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124" h="43124" extrusionOk="0">
                      <a:moveTo>
                        <a:pt x="43084" y="23009"/>
                      </a:moveTo>
                      <a:cubicBezTo>
                        <a:pt x="43807" y="11073"/>
                        <a:pt x="34765" y="945"/>
                        <a:pt x="23009" y="41"/>
                      </a:cubicBezTo>
                      <a:cubicBezTo>
                        <a:pt x="11073" y="-683"/>
                        <a:pt x="945" y="8360"/>
                        <a:pt x="41" y="20115"/>
                      </a:cubicBezTo>
                      <a:cubicBezTo>
                        <a:pt x="-683" y="32052"/>
                        <a:pt x="8360" y="42180"/>
                        <a:pt x="20115" y="43084"/>
                      </a:cubicBezTo>
                      <a:cubicBezTo>
                        <a:pt x="32052" y="43807"/>
                        <a:pt x="42361" y="34765"/>
                        <a:pt x="43084" y="2300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89" name="Google Shape;489;p21"/>
                <p:cNvSpPr/>
                <p:nvPr/>
              </p:nvSpPr>
              <p:spPr>
                <a:xfrm>
                  <a:off x="9661674" y="3668541"/>
                  <a:ext cx="55462" cy="554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62" h="55441" extrusionOk="0">
                      <a:moveTo>
                        <a:pt x="55412" y="29530"/>
                      </a:moveTo>
                      <a:cubicBezTo>
                        <a:pt x="56316" y="14338"/>
                        <a:pt x="44922" y="1135"/>
                        <a:pt x="29550" y="50"/>
                      </a:cubicBezTo>
                      <a:cubicBezTo>
                        <a:pt x="14358" y="-854"/>
                        <a:pt x="1156" y="10540"/>
                        <a:pt x="70" y="25913"/>
                      </a:cubicBezTo>
                      <a:cubicBezTo>
                        <a:pt x="-1015" y="41285"/>
                        <a:pt x="10560" y="54307"/>
                        <a:pt x="25933" y="55392"/>
                      </a:cubicBezTo>
                      <a:cubicBezTo>
                        <a:pt x="41124" y="56296"/>
                        <a:pt x="54327" y="44721"/>
                        <a:pt x="55412" y="2953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0" name="Google Shape;490;p21"/>
                <p:cNvSpPr/>
                <p:nvPr/>
              </p:nvSpPr>
              <p:spPr>
                <a:xfrm>
                  <a:off x="9636894" y="3550781"/>
                  <a:ext cx="73212" cy="732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3212" h="73212" extrusionOk="0">
                      <a:moveTo>
                        <a:pt x="73139" y="38957"/>
                      </a:moveTo>
                      <a:cubicBezTo>
                        <a:pt x="74405" y="18883"/>
                        <a:pt x="59213" y="1340"/>
                        <a:pt x="38957" y="74"/>
                      </a:cubicBezTo>
                      <a:cubicBezTo>
                        <a:pt x="18883" y="-1192"/>
                        <a:pt x="1340" y="13999"/>
                        <a:pt x="74" y="34255"/>
                      </a:cubicBezTo>
                      <a:cubicBezTo>
                        <a:pt x="-1192" y="54330"/>
                        <a:pt x="14000" y="71873"/>
                        <a:pt x="34255" y="73139"/>
                      </a:cubicBezTo>
                      <a:cubicBezTo>
                        <a:pt x="54511" y="74405"/>
                        <a:pt x="71873" y="59213"/>
                        <a:pt x="73139" y="389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1" name="Google Shape;491;p21"/>
                <p:cNvSpPr/>
                <p:nvPr/>
              </p:nvSpPr>
              <p:spPr>
                <a:xfrm>
                  <a:off x="9259866" y="3962098"/>
                  <a:ext cx="21923" cy="219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923" h="21923" extrusionOk="0">
                      <a:moveTo>
                        <a:pt x="21904" y="11595"/>
                      </a:moveTo>
                      <a:cubicBezTo>
                        <a:pt x="22265" y="5627"/>
                        <a:pt x="17744" y="382"/>
                        <a:pt x="11595" y="20"/>
                      </a:cubicBezTo>
                      <a:cubicBezTo>
                        <a:pt x="5446" y="-341"/>
                        <a:pt x="382" y="4180"/>
                        <a:pt x="20" y="10329"/>
                      </a:cubicBezTo>
                      <a:cubicBezTo>
                        <a:pt x="-341" y="16297"/>
                        <a:pt x="4180" y="21542"/>
                        <a:pt x="10329" y="21904"/>
                      </a:cubicBezTo>
                      <a:cubicBezTo>
                        <a:pt x="16297" y="22266"/>
                        <a:pt x="21542" y="17563"/>
                        <a:pt x="21904" y="1159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2" name="Google Shape;492;p21"/>
                <p:cNvSpPr/>
                <p:nvPr/>
              </p:nvSpPr>
              <p:spPr>
                <a:xfrm>
                  <a:off x="9672205" y="3678872"/>
                  <a:ext cx="34600" cy="34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600" h="34621" extrusionOk="0">
                      <a:moveTo>
                        <a:pt x="34572" y="18476"/>
                      </a:moveTo>
                      <a:cubicBezTo>
                        <a:pt x="35114" y="8890"/>
                        <a:pt x="27880" y="752"/>
                        <a:pt x="18476" y="29"/>
                      </a:cubicBezTo>
                      <a:cubicBezTo>
                        <a:pt x="8890" y="-514"/>
                        <a:pt x="752" y="6720"/>
                        <a:pt x="29" y="16125"/>
                      </a:cubicBezTo>
                      <a:cubicBezTo>
                        <a:pt x="-514" y="25710"/>
                        <a:pt x="6720" y="33848"/>
                        <a:pt x="16125" y="34572"/>
                      </a:cubicBezTo>
                      <a:cubicBezTo>
                        <a:pt x="25710" y="35295"/>
                        <a:pt x="33848" y="28061"/>
                        <a:pt x="34572" y="184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3" name="Google Shape;493;p21"/>
                <p:cNvSpPr/>
                <p:nvPr/>
              </p:nvSpPr>
              <p:spPr>
                <a:xfrm>
                  <a:off x="9228335" y="3930386"/>
                  <a:ext cx="85166" cy="851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166" h="85187" extrusionOk="0">
                      <a:moveTo>
                        <a:pt x="85084" y="45296"/>
                      </a:moveTo>
                      <a:cubicBezTo>
                        <a:pt x="86531" y="21785"/>
                        <a:pt x="68807" y="1530"/>
                        <a:pt x="45296" y="83"/>
                      </a:cubicBezTo>
                      <a:cubicBezTo>
                        <a:pt x="21785" y="-1364"/>
                        <a:pt x="1529" y="16360"/>
                        <a:pt x="83" y="39871"/>
                      </a:cubicBezTo>
                      <a:cubicBezTo>
                        <a:pt x="-1364" y="63382"/>
                        <a:pt x="16360" y="83638"/>
                        <a:pt x="39871" y="85084"/>
                      </a:cubicBezTo>
                      <a:cubicBezTo>
                        <a:pt x="63201" y="86712"/>
                        <a:pt x="83457" y="68807"/>
                        <a:pt x="85084" y="4529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4" name="Google Shape;494;p21"/>
                <p:cNvSpPr/>
                <p:nvPr/>
              </p:nvSpPr>
              <p:spPr>
                <a:xfrm>
                  <a:off x="11392092" y="3043329"/>
                  <a:ext cx="57287" cy="572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287" h="57247" extrusionOk="0">
                      <a:moveTo>
                        <a:pt x="57219" y="30432"/>
                      </a:moveTo>
                      <a:cubicBezTo>
                        <a:pt x="58304" y="14698"/>
                        <a:pt x="46367" y="953"/>
                        <a:pt x="30452" y="49"/>
                      </a:cubicBezTo>
                      <a:cubicBezTo>
                        <a:pt x="14537" y="-855"/>
                        <a:pt x="973" y="10900"/>
                        <a:pt x="68" y="26815"/>
                      </a:cubicBezTo>
                      <a:cubicBezTo>
                        <a:pt x="-1017" y="42550"/>
                        <a:pt x="10920" y="56295"/>
                        <a:pt x="26835" y="57199"/>
                      </a:cubicBezTo>
                      <a:cubicBezTo>
                        <a:pt x="42750" y="58103"/>
                        <a:pt x="56314" y="46167"/>
                        <a:pt x="57219" y="304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5" name="Google Shape;495;p21"/>
                <p:cNvSpPr/>
                <p:nvPr/>
              </p:nvSpPr>
              <p:spPr>
                <a:xfrm>
                  <a:off x="11403144" y="3054180"/>
                  <a:ext cx="35364" cy="353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364" h="35344" extrusionOk="0">
                      <a:moveTo>
                        <a:pt x="35316" y="18858"/>
                      </a:moveTo>
                      <a:cubicBezTo>
                        <a:pt x="36039" y="9091"/>
                        <a:pt x="28624" y="772"/>
                        <a:pt x="18858" y="49"/>
                      </a:cubicBezTo>
                      <a:cubicBezTo>
                        <a:pt x="9091" y="-675"/>
                        <a:pt x="772" y="6740"/>
                        <a:pt x="49" y="16507"/>
                      </a:cubicBezTo>
                      <a:cubicBezTo>
                        <a:pt x="-675" y="26273"/>
                        <a:pt x="6741" y="34592"/>
                        <a:pt x="16507" y="35315"/>
                      </a:cubicBezTo>
                      <a:cubicBezTo>
                        <a:pt x="26273" y="35858"/>
                        <a:pt x="34592" y="28624"/>
                        <a:pt x="35316" y="1885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6" name="Google Shape;496;p21"/>
                <p:cNvSpPr/>
                <p:nvPr/>
              </p:nvSpPr>
              <p:spPr>
                <a:xfrm>
                  <a:off x="9246989" y="3949040"/>
                  <a:ext cx="47857" cy="480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857" h="48019" extrusionOk="0">
                      <a:moveTo>
                        <a:pt x="47802" y="25557"/>
                      </a:moveTo>
                      <a:cubicBezTo>
                        <a:pt x="48706" y="12354"/>
                        <a:pt x="38578" y="960"/>
                        <a:pt x="25557" y="56"/>
                      </a:cubicBezTo>
                      <a:cubicBezTo>
                        <a:pt x="12354" y="-848"/>
                        <a:pt x="960" y="9280"/>
                        <a:pt x="56" y="22482"/>
                      </a:cubicBezTo>
                      <a:cubicBezTo>
                        <a:pt x="-848" y="35684"/>
                        <a:pt x="9280" y="47078"/>
                        <a:pt x="22301" y="47983"/>
                      </a:cubicBezTo>
                      <a:cubicBezTo>
                        <a:pt x="35504" y="48706"/>
                        <a:pt x="46897" y="38759"/>
                        <a:pt x="47802" y="255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7" name="Google Shape;497;p21"/>
                <p:cNvSpPr/>
                <p:nvPr/>
              </p:nvSpPr>
              <p:spPr>
                <a:xfrm>
                  <a:off x="9259866" y="3961917"/>
                  <a:ext cx="22104" cy="221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04" h="22127" extrusionOk="0">
                      <a:moveTo>
                        <a:pt x="22085" y="11776"/>
                      </a:moveTo>
                      <a:cubicBezTo>
                        <a:pt x="22446" y="5627"/>
                        <a:pt x="17925" y="382"/>
                        <a:pt x="11776" y="20"/>
                      </a:cubicBezTo>
                      <a:cubicBezTo>
                        <a:pt x="5627" y="-342"/>
                        <a:pt x="382" y="4180"/>
                        <a:pt x="20" y="10329"/>
                      </a:cubicBezTo>
                      <a:cubicBezTo>
                        <a:pt x="-341" y="16478"/>
                        <a:pt x="4180" y="21723"/>
                        <a:pt x="10329" y="22085"/>
                      </a:cubicBezTo>
                      <a:cubicBezTo>
                        <a:pt x="16478" y="22627"/>
                        <a:pt x="21723" y="17925"/>
                        <a:pt x="22085" y="117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8" name="Google Shape;498;p21"/>
                <p:cNvSpPr/>
                <p:nvPr/>
              </p:nvSpPr>
              <p:spPr>
                <a:xfrm>
                  <a:off x="10165527" y="2203592"/>
                  <a:ext cx="67795" cy="677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795" h="67796" extrusionOk="0">
                      <a:moveTo>
                        <a:pt x="67718" y="36068"/>
                      </a:moveTo>
                      <a:cubicBezTo>
                        <a:pt x="68984" y="17440"/>
                        <a:pt x="54696" y="1163"/>
                        <a:pt x="36068" y="78"/>
                      </a:cubicBezTo>
                      <a:cubicBezTo>
                        <a:pt x="17440" y="-1188"/>
                        <a:pt x="1163" y="13100"/>
                        <a:pt x="78" y="31728"/>
                      </a:cubicBezTo>
                      <a:cubicBezTo>
                        <a:pt x="-1188" y="50356"/>
                        <a:pt x="13100" y="66632"/>
                        <a:pt x="31728" y="67718"/>
                      </a:cubicBezTo>
                      <a:cubicBezTo>
                        <a:pt x="50356" y="68984"/>
                        <a:pt x="66452" y="54877"/>
                        <a:pt x="67718" y="360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499" name="Google Shape;499;p21"/>
                <p:cNvSpPr/>
                <p:nvPr/>
              </p:nvSpPr>
              <p:spPr>
                <a:xfrm>
                  <a:off x="10190899" y="2229145"/>
                  <a:ext cx="16690" cy="166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90" h="16671" extrusionOk="0">
                      <a:moveTo>
                        <a:pt x="16665" y="8888"/>
                      </a:moveTo>
                      <a:cubicBezTo>
                        <a:pt x="17026" y="4367"/>
                        <a:pt x="13590" y="388"/>
                        <a:pt x="8888" y="26"/>
                      </a:cubicBezTo>
                      <a:cubicBezTo>
                        <a:pt x="4367" y="-336"/>
                        <a:pt x="388" y="3101"/>
                        <a:pt x="26" y="7803"/>
                      </a:cubicBezTo>
                      <a:cubicBezTo>
                        <a:pt x="-335" y="12324"/>
                        <a:pt x="3101" y="16303"/>
                        <a:pt x="7803" y="16665"/>
                      </a:cubicBezTo>
                      <a:cubicBezTo>
                        <a:pt x="12505" y="16846"/>
                        <a:pt x="16484" y="13409"/>
                        <a:pt x="16665" y="888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0" name="Google Shape;500;p21"/>
                <p:cNvSpPr/>
                <p:nvPr/>
              </p:nvSpPr>
              <p:spPr>
                <a:xfrm>
                  <a:off x="9673309" y="2536433"/>
                  <a:ext cx="11232" cy="112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32" h="11259" extrusionOk="0">
                      <a:moveTo>
                        <a:pt x="11223" y="5978"/>
                      </a:moveTo>
                      <a:cubicBezTo>
                        <a:pt x="11404" y="2903"/>
                        <a:pt x="9053" y="191"/>
                        <a:pt x="5978" y="10"/>
                      </a:cubicBezTo>
                      <a:cubicBezTo>
                        <a:pt x="2903" y="-171"/>
                        <a:pt x="191" y="2180"/>
                        <a:pt x="10" y="5255"/>
                      </a:cubicBezTo>
                      <a:cubicBezTo>
                        <a:pt x="-171" y="8329"/>
                        <a:pt x="2180" y="11042"/>
                        <a:pt x="5255" y="11223"/>
                      </a:cubicBezTo>
                      <a:cubicBezTo>
                        <a:pt x="8329" y="11584"/>
                        <a:pt x="11042" y="9233"/>
                        <a:pt x="11223" y="59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1" name="Google Shape;501;p21"/>
                <p:cNvSpPr/>
                <p:nvPr/>
              </p:nvSpPr>
              <p:spPr>
                <a:xfrm>
                  <a:off x="10185645" y="2223710"/>
                  <a:ext cx="27560" cy="27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560" h="27560" extrusionOk="0">
                      <a:moveTo>
                        <a:pt x="27525" y="14684"/>
                      </a:moveTo>
                      <a:cubicBezTo>
                        <a:pt x="28068" y="7089"/>
                        <a:pt x="22280" y="578"/>
                        <a:pt x="14684" y="35"/>
                      </a:cubicBezTo>
                      <a:cubicBezTo>
                        <a:pt x="7089" y="-507"/>
                        <a:pt x="578" y="5280"/>
                        <a:pt x="35" y="12876"/>
                      </a:cubicBezTo>
                      <a:cubicBezTo>
                        <a:pt x="-507" y="20472"/>
                        <a:pt x="5280" y="26983"/>
                        <a:pt x="12876" y="27525"/>
                      </a:cubicBezTo>
                      <a:cubicBezTo>
                        <a:pt x="20472" y="28068"/>
                        <a:pt x="26982" y="22280"/>
                        <a:pt x="27525" y="1468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2" name="Google Shape;502;p21"/>
                <p:cNvSpPr/>
                <p:nvPr/>
              </p:nvSpPr>
              <p:spPr>
                <a:xfrm>
                  <a:off x="10259201" y="1412707"/>
                  <a:ext cx="80292" cy="80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292" h="80292" extrusionOk="0">
                      <a:moveTo>
                        <a:pt x="80205" y="42768"/>
                      </a:moveTo>
                      <a:cubicBezTo>
                        <a:pt x="81652" y="20704"/>
                        <a:pt x="64833" y="1534"/>
                        <a:pt x="42768" y="87"/>
                      </a:cubicBezTo>
                      <a:cubicBezTo>
                        <a:pt x="20704" y="-1360"/>
                        <a:pt x="1534" y="15459"/>
                        <a:pt x="87" y="37524"/>
                      </a:cubicBezTo>
                      <a:cubicBezTo>
                        <a:pt x="-1360" y="59588"/>
                        <a:pt x="15460" y="78758"/>
                        <a:pt x="37524" y="80205"/>
                      </a:cubicBezTo>
                      <a:cubicBezTo>
                        <a:pt x="59588" y="81652"/>
                        <a:pt x="78759" y="64833"/>
                        <a:pt x="80205" y="427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3" name="Google Shape;503;p21"/>
                <p:cNvSpPr/>
                <p:nvPr/>
              </p:nvSpPr>
              <p:spPr>
                <a:xfrm>
                  <a:off x="10142520" y="2180585"/>
                  <a:ext cx="113990" cy="1139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990" h="113990" extrusionOk="0">
                      <a:moveTo>
                        <a:pt x="113874" y="60703"/>
                      </a:moveTo>
                      <a:cubicBezTo>
                        <a:pt x="115864" y="29234"/>
                        <a:pt x="92172" y="2106"/>
                        <a:pt x="60703" y="117"/>
                      </a:cubicBezTo>
                      <a:cubicBezTo>
                        <a:pt x="29234" y="-1873"/>
                        <a:pt x="2106" y="21819"/>
                        <a:pt x="117" y="53288"/>
                      </a:cubicBezTo>
                      <a:cubicBezTo>
                        <a:pt x="-1873" y="84757"/>
                        <a:pt x="21819" y="111885"/>
                        <a:pt x="53288" y="113874"/>
                      </a:cubicBezTo>
                      <a:cubicBezTo>
                        <a:pt x="84757" y="115864"/>
                        <a:pt x="111704" y="92172"/>
                        <a:pt x="113874" y="6070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4" name="Google Shape;504;p21"/>
                <p:cNvSpPr/>
                <p:nvPr/>
              </p:nvSpPr>
              <p:spPr>
                <a:xfrm>
                  <a:off x="9660613" y="2523736"/>
                  <a:ext cx="36625" cy="366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625" h="36626" extrusionOk="0">
                      <a:moveTo>
                        <a:pt x="36579" y="19579"/>
                      </a:moveTo>
                      <a:cubicBezTo>
                        <a:pt x="37303" y="9451"/>
                        <a:pt x="29526" y="770"/>
                        <a:pt x="19579" y="47"/>
                      </a:cubicBezTo>
                      <a:cubicBezTo>
                        <a:pt x="9451" y="-677"/>
                        <a:pt x="770" y="7100"/>
                        <a:pt x="47" y="17047"/>
                      </a:cubicBezTo>
                      <a:cubicBezTo>
                        <a:pt x="-677" y="27175"/>
                        <a:pt x="7100" y="35856"/>
                        <a:pt x="17047" y="36579"/>
                      </a:cubicBezTo>
                      <a:cubicBezTo>
                        <a:pt x="27175" y="37303"/>
                        <a:pt x="35856" y="29707"/>
                        <a:pt x="36579" y="1957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5" name="Google Shape;505;p21"/>
                <p:cNvSpPr/>
                <p:nvPr/>
              </p:nvSpPr>
              <p:spPr>
                <a:xfrm>
                  <a:off x="10173488" y="2211756"/>
                  <a:ext cx="51671" cy="51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71" h="51649" extrusionOk="0">
                      <a:moveTo>
                        <a:pt x="51618" y="27543"/>
                      </a:moveTo>
                      <a:cubicBezTo>
                        <a:pt x="52522" y="13256"/>
                        <a:pt x="41852" y="1139"/>
                        <a:pt x="27564" y="53"/>
                      </a:cubicBezTo>
                      <a:cubicBezTo>
                        <a:pt x="13277" y="-851"/>
                        <a:pt x="1160" y="9820"/>
                        <a:pt x="75" y="24107"/>
                      </a:cubicBezTo>
                      <a:cubicBezTo>
                        <a:pt x="-1010" y="38395"/>
                        <a:pt x="9841" y="50512"/>
                        <a:pt x="24128" y="51597"/>
                      </a:cubicBezTo>
                      <a:cubicBezTo>
                        <a:pt x="38416" y="52501"/>
                        <a:pt x="50714" y="41650"/>
                        <a:pt x="51618" y="2754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6" name="Google Shape;506;p21"/>
                <p:cNvSpPr/>
                <p:nvPr/>
              </p:nvSpPr>
              <p:spPr>
                <a:xfrm>
                  <a:off x="10668543" y="2517616"/>
                  <a:ext cx="24632" cy="246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632" h="24632" extrusionOk="0">
                      <a:moveTo>
                        <a:pt x="24614" y="13040"/>
                      </a:moveTo>
                      <a:cubicBezTo>
                        <a:pt x="24976" y="6167"/>
                        <a:pt x="19912" y="380"/>
                        <a:pt x="13040" y="18"/>
                      </a:cubicBezTo>
                      <a:cubicBezTo>
                        <a:pt x="6167" y="-343"/>
                        <a:pt x="380" y="4720"/>
                        <a:pt x="18" y="11593"/>
                      </a:cubicBezTo>
                      <a:cubicBezTo>
                        <a:pt x="-344" y="18465"/>
                        <a:pt x="4720" y="24253"/>
                        <a:pt x="11593" y="24614"/>
                      </a:cubicBezTo>
                      <a:cubicBezTo>
                        <a:pt x="18465" y="24976"/>
                        <a:pt x="24253" y="19912"/>
                        <a:pt x="24614" y="1304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7" name="Google Shape;507;p21"/>
                <p:cNvSpPr/>
                <p:nvPr/>
              </p:nvSpPr>
              <p:spPr>
                <a:xfrm>
                  <a:off x="10171885" y="2209950"/>
                  <a:ext cx="55080" cy="55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080" h="55100" extrusionOk="0">
                      <a:moveTo>
                        <a:pt x="55030" y="29349"/>
                      </a:moveTo>
                      <a:cubicBezTo>
                        <a:pt x="55935" y="14157"/>
                        <a:pt x="44541" y="955"/>
                        <a:pt x="29349" y="50"/>
                      </a:cubicBezTo>
                      <a:cubicBezTo>
                        <a:pt x="14157" y="-854"/>
                        <a:pt x="955" y="10540"/>
                        <a:pt x="50" y="25732"/>
                      </a:cubicBezTo>
                      <a:cubicBezTo>
                        <a:pt x="-854" y="40923"/>
                        <a:pt x="10540" y="54126"/>
                        <a:pt x="25732" y="55030"/>
                      </a:cubicBezTo>
                      <a:cubicBezTo>
                        <a:pt x="40924" y="56115"/>
                        <a:pt x="54126" y="44540"/>
                        <a:pt x="55030" y="2934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8" name="Google Shape;508;p21"/>
                <p:cNvSpPr/>
                <p:nvPr/>
              </p:nvSpPr>
              <p:spPr>
                <a:xfrm>
                  <a:off x="10490202" y="1518014"/>
                  <a:ext cx="25575" cy="255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575" h="25555" extrusionOk="0">
                      <a:moveTo>
                        <a:pt x="25538" y="13601"/>
                      </a:moveTo>
                      <a:cubicBezTo>
                        <a:pt x="26081" y="6548"/>
                        <a:pt x="20655" y="399"/>
                        <a:pt x="13601" y="37"/>
                      </a:cubicBezTo>
                      <a:cubicBezTo>
                        <a:pt x="6548" y="-505"/>
                        <a:pt x="399" y="4920"/>
                        <a:pt x="37" y="11974"/>
                      </a:cubicBezTo>
                      <a:cubicBezTo>
                        <a:pt x="-505" y="19027"/>
                        <a:pt x="4921" y="25176"/>
                        <a:pt x="11974" y="25538"/>
                      </a:cubicBezTo>
                      <a:cubicBezTo>
                        <a:pt x="19027" y="25900"/>
                        <a:pt x="25176" y="20655"/>
                        <a:pt x="25538" y="1360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09" name="Google Shape;509;p21"/>
                <p:cNvSpPr/>
                <p:nvPr/>
              </p:nvSpPr>
              <p:spPr>
                <a:xfrm>
                  <a:off x="10270975" y="1424481"/>
                  <a:ext cx="56563" cy="565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63" h="56543" extrusionOk="0">
                      <a:moveTo>
                        <a:pt x="56495" y="30090"/>
                      </a:moveTo>
                      <a:cubicBezTo>
                        <a:pt x="57580" y="14537"/>
                        <a:pt x="45644" y="1154"/>
                        <a:pt x="30090" y="69"/>
                      </a:cubicBezTo>
                      <a:cubicBezTo>
                        <a:pt x="14537" y="-1017"/>
                        <a:pt x="1154" y="10920"/>
                        <a:pt x="69" y="26473"/>
                      </a:cubicBezTo>
                      <a:cubicBezTo>
                        <a:pt x="-1017" y="42027"/>
                        <a:pt x="10920" y="55410"/>
                        <a:pt x="26473" y="56495"/>
                      </a:cubicBezTo>
                      <a:cubicBezTo>
                        <a:pt x="42027" y="57399"/>
                        <a:pt x="55410" y="45644"/>
                        <a:pt x="56495" y="3009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10" name="Google Shape;510;p21"/>
                <p:cNvSpPr/>
                <p:nvPr/>
              </p:nvSpPr>
              <p:spPr>
                <a:xfrm>
                  <a:off x="10184020" y="2222266"/>
                  <a:ext cx="30629" cy="306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629" h="30628" extrusionOk="0">
                      <a:moveTo>
                        <a:pt x="30597" y="16309"/>
                      </a:moveTo>
                      <a:cubicBezTo>
                        <a:pt x="31139" y="7809"/>
                        <a:pt x="24809" y="575"/>
                        <a:pt x="16309" y="32"/>
                      </a:cubicBezTo>
                      <a:cubicBezTo>
                        <a:pt x="7809" y="-510"/>
                        <a:pt x="575" y="5820"/>
                        <a:pt x="32" y="14320"/>
                      </a:cubicBezTo>
                      <a:cubicBezTo>
                        <a:pt x="-510" y="22820"/>
                        <a:pt x="5820" y="30054"/>
                        <a:pt x="14320" y="30597"/>
                      </a:cubicBezTo>
                      <a:cubicBezTo>
                        <a:pt x="22820" y="31139"/>
                        <a:pt x="30054" y="24629"/>
                        <a:pt x="30597" y="1630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11" name="Google Shape;511;p21"/>
                <p:cNvSpPr/>
                <p:nvPr/>
              </p:nvSpPr>
              <p:spPr>
                <a:xfrm>
                  <a:off x="10671252" y="2520144"/>
                  <a:ext cx="19395" cy="193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95" h="19396" extrusionOk="0">
                      <a:moveTo>
                        <a:pt x="19373" y="10331"/>
                      </a:moveTo>
                      <a:cubicBezTo>
                        <a:pt x="19735" y="4905"/>
                        <a:pt x="15575" y="384"/>
                        <a:pt x="10331" y="22"/>
                      </a:cubicBezTo>
                      <a:cubicBezTo>
                        <a:pt x="4905" y="-340"/>
                        <a:pt x="384" y="3820"/>
                        <a:pt x="22" y="9065"/>
                      </a:cubicBezTo>
                      <a:cubicBezTo>
                        <a:pt x="-340" y="14490"/>
                        <a:pt x="3820" y="19012"/>
                        <a:pt x="9065" y="19373"/>
                      </a:cubicBezTo>
                      <a:cubicBezTo>
                        <a:pt x="14490" y="19735"/>
                        <a:pt x="19012" y="15756"/>
                        <a:pt x="19373" y="1033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512" name="Google Shape;512;p21"/>
                <p:cNvSpPr/>
                <p:nvPr/>
              </p:nvSpPr>
              <p:spPr>
                <a:xfrm>
                  <a:off x="10460115" y="1487928"/>
                  <a:ext cx="85748" cy="857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748" h="85748" extrusionOk="0">
                      <a:moveTo>
                        <a:pt x="85646" y="45677"/>
                      </a:moveTo>
                      <a:cubicBezTo>
                        <a:pt x="87274" y="21985"/>
                        <a:pt x="69188" y="1549"/>
                        <a:pt x="45677" y="102"/>
                      </a:cubicBezTo>
                      <a:cubicBezTo>
                        <a:pt x="21985" y="-1526"/>
                        <a:pt x="1549" y="16560"/>
                        <a:pt x="102" y="40071"/>
                      </a:cubicBezTo>
                      <a:cubicBezTo>
                        <a:pt x="-1526" y="63763"/>
                        <a:pt x="16560" y="84199"/>
                        <a:pt x="40071" y="85646"/>
                      </a:cubicBezTo>
                      <a:cubicBezTo>
                        <a:pt x="63763" y="87274"/>
                        <a:pt x="84199" y="69369"/>
                        <a:pt x="85646" y="456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</p:grpSp>
          <p:sp>
            <p:nvSpPr>
              <p:cNvPr id="513" name="Google Shape;513;p21"/>
              <p:cNvSpPr/>
              <p:nvPr/>
            </p:nvSpPr>
            <p:spPr>
              <a:xfrm>
                <a:off x="11849143" y="4661265"/>
                <a:ext cx="26838" cy="26819"/>
              </a:xfrm>
              <a:custGeom>
                <a:avLst/>
                <a:gdLst/>
                <a:ahLst/>
                <a:cxnLst/>
                <a:rect l="l" t="t" r="r" b="b"/>
                <a:pathLst>
                  <a:path w="26838" h="26819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164"/>
                      <a:pt x="26260" y="21558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4" name="Google Shape;514;p21"/>
              <p:cNvSpPr/>
              <p:nvPr/>
            </p:nvSpPr>
            <p:spPr>
              <a:xfrm>
                <a:off x="11526217" y="4214634"/>
                <a:ext cx="134830" cy="134830"/>
              </a:xfrm>
              <a:custGeom>
                <a:avLst/>
                <a:gdLst/>
                <a:ahLst/>
                <a:cxnLst/>
                <a:rect l="l" t="t" r="r" b="b"/>
                <a:pathLst>
                  <a:path w="134830" h="134830" extrusionOk="0">
                    <a:moveTo>
                      <a:pt x="134693" y="71756"/>
                    </a:moveTo>
                    <a:cubicBezTo>
                      <a:pt x="137044" y="34681"/>
                      <a:pt x="109012" y="2489"/>
                      <a:pt x="71756" y="138"/>
                    </a:cubicBezTo>
                    <a:cubicBezTo>
                      <a:pt x="34500" y="-2213"/>
                      <a:pt x="2489" y="25819"/>
                      <a:pt x="138" y="63075"/>
                    </a:cubicBezTo>
                    <a:cubicBezTo>
                      <a:pt x="-2213" y="100331"/>
                      <a:pt x="25819" y="132342"/>
                      <a:pt x="63075" y="134693"/>
                    </a:cubicBezTo>
                    <a:cubicBezTo>
                      <a:pt x="100150" y="137045"/>
                      <a:pt x="132161" y="108831"/>
                      <a:pt x="134693" y="717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5" name="Google Shape;515;p21"/>
              <p:cNvSpPr/>
              <p:nvPr/>
            </p:nvSpPr>
            <p:spPr>
              <a:xfrm rot="-4438743">
                <a:off x="11306284" y="4970044"/>
                <a:ext cx="41959" cy="41959"/>
              </a:xfrm>
              <a:custGeom>
                <a:avLst/>
                <a:gdLst/>
                <a:ahLst/>
                <a:cxnLst/>
                <a:rect l="l" t="t" r="r" b="b"/>
                <a:pathLst>
                  <a:path w="41959" h="41959" extrusionOk="0">
                    <a:moveTo>
                      <a:pt x="41960" y="20980"/>
                    </a:moveTo>
                    <a:cubicBezTo>
                      <a:pt x="41960" y="32567"/>
                      <a:pt x="32567" y="41960"/>
                      <a:pt x="20980" y="41960"/>
                    </a:cubicBezTo>
                    <a:cubicBezTo>
                      <a:pt x="9393" y="41960"/>
                      <a:pt x="0" y="32567"/>
                      <a:pt x="0" y="20980"/>
                    </a:cubicBezTo>
                    <a:cubicBezTo>
                      <a:pt x="0" y="9393"/>
                      <a:pt x="9393" y="0"/>
                      <a:pt x="20980" y="0"/>
                    </a:cubicBezTo>
                    <a:cubicBezTo>
                      <a:pt x="32567" y="0"/>
                      <a:pt x="41960" y="9393"/>
                      <a:pt x="41960" y="20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6" name="Google Shape;516;p21"/>
              <p:cNvSpPr/>
              <p:nvPr/>
            </p:nvSpPr>
            <p:spPr>
              <a:xfrm>
                <a:off x="11843708" y="4656011"/>
                <a:ext cx="37528" cy="37509"/>
              </a:xfrm>
              <a:custGeom>
                <a:avLst/>
                <a:gdLst/>
                <a:ahLst/>
                <a:cxnLst/>
                <a:rect l="l" t="t" r="r" b="b"/>
                <a:pathLst>
                  <a:path w="37528" h="37509" extrusionOk="0">
                    <a:moveTo>
                      <a:pt x="37483" y="19940"/>
                    </a:moveTo>
                    <a:cubicBezTo>
                      <a:pt x="38206" y="9631"/>
                      <a:pt x="30248" y="769"/>
                      <a:pt x="19940" y="46"/>
                    </a:cubicBezTo>
                    <a:cubicBezTo>
                      <a:pt x="9631" y="-678"/>
                      <a:pt x="769" y="7280"/>
                      <a:pt x="46" y="17589"/>
                    </a:cubicBezTo>
                    <a:cubicBezTo>
                      <a:pt x="-678" y="27897"/>
                      <a:pt x="7280" y="36759"/>
                      <a:pt x="17589" y="37482"/>
                    </a:cubicBezTo>
                    <a:cubicBezTo>
                      <a:pt x="27897" y="38025"/>
                      <a:pt x="36940" y="30248"/>
                      <a:pt x="37483" y="199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7" name="Google Shape;517;p21"/>
              <p:cNvSpPr/>
              <p:nvPr/>
            </p:nvSpPr>
            <p:spPr>
              <a:xfrm>
                <a:off x="11805336" y="5117158"/>
                <a:ext cx="69421" cy="69421"/>
              </a:xfrm>
              <a:custGeom>
                <a:avLst/>
                <a:gdLst/>
                <a:ahLst/>
                <a:cxnLst/>
                <a:rect l="l" t="t" r="r" b="b"/>
                <a:pathLst>
                  <a:path w="69421" h="69421" extrusionOk="0">
                    <a:moveTo>
                      <a:pt x="69344" y="36971"/>
                    </a:moveTo>
                    <a:cubicBezTo>
                      <a:pt x="70610" y="17801"/>
                      <a:pt x="56142" y="1343"/>
                      <a:pt x="36971" y="77"/>
                    </a:cubicBezTo>
                    <a:cubicBezTo>
                      <a:pt x="17801" y="-1189"/>
                      <a:pt x="1343" y="13279"/>
                      <a:pt x="77" y="32450"/>
                    </a:cubicBezTo>
                    <a:cubicBezTo>
                      <a:pt x="-1189" y="51620"/>
                      <a:pt x="13279" y="68078"/>
                      <a:pt x="32450" y="69344"/>
                    </a:cubicBezTo>
                    <a:cubicBezTo>
                      <a:pt x="51621" y="70610"/>
                      <a:pt x="68078" y="56142"/>
                      <a:pt x="69344" y="369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8" name="Google Shape;518;p21"/>
              <p:cNvSpPr/>
              <p:nvPr/>
            </p:nvSpPr>
            <p:spPr>
              <a:xfrm>
                <a:off x="11278471" y="4942599"/>
                <a:ext cx="96981" cy="96981"/>
              </a:xfrm>
              <a:custGeom>
                <a:avLst/>
                <a:gdLst/>
                <a:ahLst/>
                <a:cxnLst/>
                <a:rect l="l" t="t" r="r" b="b"/>
                <a:pathLst>
                  <a:path w="96981" h="96981" extrusionOk="0">
                    <a:moveTo>
                      <a:pt x="96870" y="51656"/>
                    </a:moveTo>
                    <a:cubicBezTo>
                      <a:pt x="98678" y="24890"/>
                      <a:pt x="78422" y="1921"/>
                      <a:pt x="51656" y="112"/>
                    </a:cubicBezTo>
                    <a:cubicBezTo>
                      <a:pt x="24890" y="-1696"/>
                      <a:pt x="1921" y="18559"/>
                      <a:pt x="112" y="45326"/>
                    </a:cubicBezTo>
                    <a:cubicBezTo>
                      <a:pt x="-1696" y="72093"/>
                      <a:pt x="18559" y="95061"/>
                      <a:pt x="45326" y="96869"/>
                    </a:cubicBezTo>
                    <a:cubicBezTo>
                      <a:pt x="72093" y="98678"/>
                      <a:pt x="95242" y="78422"/>
                      <a:pt x="96870" y="516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19" name="Google Shape;519;p21"/>
              <p:cNvSpPr/>
              <p:nvPr/>
            </p:nvSpPr>
            <p:spPr>
              <a:xfrm>
                <a:off x="11852233" y="4664355"/>
                <a:ext cx="20840" cy="20824"/>
              </a:xfrm>
              <a:custGeom>
                <a:avLst/>
                <a:gdLst/>
                <a:ahLst/>
                <a:cxnLst/>
                <a:rect l="l" t="t" r="r" b="b"/>
                <a:pathLst>
                  <a:path w="20840" h="20824" extrusionOk="0">
                    <a:moveTo>
                      <a:pt x="20819" y="11053"/>
                    </a:moveTo>
                    <a:cubicBezTo>
                      <a:pt x="21181" y="5266"/>
                      <a:pt x="16841" y="383"/>
                      <a:pt x="11053" y="21"/>
                    </a:cubicBezTo>
                    <a:cubicBezTo>
                      <a:pt x="5266" y="-340"/>
                      <a:pt x="383" y="4000"/>
                      <a:pt x="21" y="9787"/>
                    </a:cubicBezTo>
                    <a:cubicBezTo>
                      <a:pt x="-340" y="15575"/>
                      <a:pt x="4000" y="20458"/>
                      <a:pt x="9787" y="20819"/>
                    </a:cubicBezTo>
                    <a:cubicBezTo>
                      <a:pt x="15394" y="21000"/>
                      <a:pt x="20277" y="16660"/>
                      <a:pt x="20819" y="1105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0" name="Google Shape;520;p21"/>
              <p:cNvSpPr/>
              <p:nvPr/>
            </p:nvSpPr>
            <p:spPr>
              <a:xfrm>
                <a:off x="12085698" y="4487280"/>
                <a:ext cx="44569" cy="44569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69" extrusionOk="0">
                    <a:moveTo>
                      <a:pt x="44530" y="23732"/>
                    </a:moveTo>
                    <a:cubicBezTo>
                      <a:pt x="45253" y="11433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3136" y="45253"/>
                      <a:pt x="43626" y="36030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1" name="Google Shape;521;p21"/>
              <p:cNvSpPr/>
              <p:nvPr/>
            </p:nvSpPr>
            <p:spPr>
              <a:xfrm>
                <a:off x="11572431" y="4260848"/>
                <a:ext cx="42221" cy="42221"/>
              </a:xfrm>
              <a:custGeom>
                <a:avLst/>
                <a:gdLst/>
                <a:ahLst/>
                <a:cxnLst/>
                <a:rect l="l" t="t" r="r" b="b"/>
                <a:pathLst>
                  <a:path w="42221" h="42221" extrusionOk="0">
                    <a:moveTo>
                      <a:pt x="42180" y="22467"/>
                    </a:moveTo>
                    <a:cubicBezTo>
                      <a:pt x="42904" y="10893"/>
                      <a:pt x="34042" y="765"/>
                      <a:pt x="22467" y="41"/>
                    </a:cubicBezTo>
                    <a:cubicBezTo>
                      <a:pt x="10893" y="-682"/>
                      <a:pt x="765" y="8180"/>
                      <a:pt x="41" y="19754"/>
                    </a:cubicBezTo>
                    <a:cubicBezTo>
                      <a:pt x="-682" y="31329"/>
                      <a:pt x="8180" y="41457"/>
                      <a:pt x="19755" y="42180"/>
                    </a:cubicBezTo>
                    <a:cubicBezTo>
                      <a:pt x="31329" y="42904"/>
                      <a:pt x="41457" y="34042"/>
                      <a:pt x="42180" y="2246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2" name="Google Shape;522;p21"/>
              <p:cNvSpPr/>
              <p:nvPr/>
            </p:nvSpPr>
            <p:spPr>
              <a:xfrm>
                <a:off x="11857668" y="4669971"/>
                <a:ext cx="9608" cy="9596"/>
              </a:xfrm>
              <a:custGeom>
                <a:avLst/>
                <a:gdLst/>
                <a:ahLst/>
                <a:cxnLst/>
                <a:rect l="l" t="t" r="r" b="b"/>
                <a:pathLst>
                  <a:path w="9608" h="9596" extrusionOk="0">
                    <a:moveTo>
                      <a:pt x="9597" y="5075"/>
                    </a:moveTo>
                    <a:cubicBezTo>
                      <a:pt x="9777" y="2363"/>
                      <a:pt x="7788" y="192"/>
                      <a:pt x="5075" y="11"/>
                    </a:cubicBezTo>
                    <a:cubicBezTo>
                      <a:pt x="2363" y="-169"/>
                      <a:pt x="192" y="1820"/>
                      <a:pt x="11" y="4533"/>
                    </a:cubicBezTo>
                    <a:cubicBezTo>
                      <a:pt x="-169" y="7246"/>
                      <a:pt x="1820" y="9416"/>
                      <a:pt x="4533" y="9597"/>
                    </a:cubicBezTo>
                    <a:cubicBezTo>
                      <a:pt x="7245" y="9597"/>
                      <a:pt x="9597" y="7608"/>
                      <a:pt x="9597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3" name="Google Shape;523;p21"/>
              <p:cNvSpPr/>
              <p:nvPr/>
            </p:nvSpPr>
            <p:spPr>
              <a:xfrm>
                <a:off x="12007752" y="5131305"/>
                <a:ext cx="25936" cy="25916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6" extrusionOk="0">
                    <a:moveTo>
                      <a:pt x="25899" y="13782"/>
                    </a:moveTo>
                    <a:cubicBezTo>
                      <a:pt x="26442" y="6729"/>
                      <a:pt x="21017" y="580"/>
                      <a:pt x="13782" y="37"/>
                    </a:cubicBezTo>
                    <a:cubicBezTo>
                      <a:pt x="6548" y="-505"/>
                      <a:pt x="580" y="4920"/>
                      <a:pt x="37" y="12155"/>
                    </a:cubicBezTo>
                    <a:cubicBezTo>
                      <a:pt x="-505" y="19389"/>
                      <a:pt x="4921" y="25357"/>
                      <a:pt x="12155" y="25899"/>
                    </a:cubicBezTo>
                    <a:cubicBezTo>
                      <a:pt x="19208" y="26261"/>
                      <a:pt x="25357" y="20836"/>
                      <a:pt x="25899" y="137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4" name="Google Shape;524;p21"/>
              <p:cNvSpPr/>
              <p:nvPr/>
            </p:nvSpPr>
            <p:spPr>
              <a:xfrm>
                <a:off x="11807341" y="5119164"/>
                <a:ext cx="65229" cy="65249"/>
              </a:xfrm>
              <a:custGeom>
                <a:avLst/>
                <a:gdLst/>
                <a:ahLst/>
                <a:cxnLst/>
                <a:rect l="l" t="t" r="r" b="b"/>
                <a:pathLst>
                  <a:path w="65229" h="65249" extrusionOk="0">
                    <a:moveTo>
                      <a:pt x="65169" y="34785"/>
                    </a:moveTo>
                    <a:cubicBezTo>
                      <a:pt x="66254" y="16880"/>
                      <a:pt x="52690" y="1327"/>
                      <a:pt x="34785" y="61"/>
                    </a:cubicBezTo>
                    <a:cubicBezTo>
                      <a:pt x="16880" y="-1025"/>
                      <a:pt x="1327" y="12540"/>
                      <a:pt x="61" y="30444"/>
                    </a:cubicBezTo>
                    <a:cubicBezTo>
                      <a:pt x="-1024" y="48349"/>
                      <a:pt x="12540" y="63902"/>
                      <a:pt x="30444" y="65168"/>
                    </a:cubicBezTo>
                    <a:cubicBezTo>
                      <a:pt x="48349" y="66434"/>
                      <a:pt x="64083" y="52689"/>
                      <a:pt x="65169" y="347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5" name="Google Shape;525;p21"/>
              <p:cNvSpPr/>
              <p:nvPr/>
            </p:nvSpPr>
            <p:spPr>
              <a:xfrm>
                <a:off x="11852413" y="4664354"/>
                <a:ext cx="20299" cy="20323"/>
              </a:xfrm>
              <a:custGeom>
                <a:avLst/>
                <a:gdLst/>
                <a:ahLst/>
                <a:cxnLst/>
                <a:rect l="l" t="t" r="r" b="b"/>
                <a:pathLst>
                  <a:path w="20299" h="20323" extrusionOk="0">
                    <a:moveTo>
                      <a:pt x="20278" y="10873"/>
                    </a:moveTo>
                    <a:cubicBezTo>
                      <a:pt x="20639" y="5267"/>
                      <a:pt x="16479" y="384"/>
                      <a:pt x="10873" y="22"/>
                    </a:cubicBezTo>
                    <a:cubicBezTo>
                      <a:pt x="5267" y="-340"/>
                      <a:pt x="383" y="3820"/>
                      <a:pt x="22" y="9426"/>
                    </a:cubicBezTo>
                    <a:cubicBezTo>
                      <a:pt x="-340" y="15033"/>
                      <a:pt x="3820" y="19916"/>
                      <a:pt x="9426" y="20278"/>
                    </a:cubicBezTo>
                    <a:cubicBezTo>
                      <a:pt x="15033" y="20820"/>
                      <a:pt x="19916" y="16480"/>
                      <a:pt x="20278" y="1087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6" name="Google Shape;526;p21"/>
              <p:cNvSpPr/>
              <p:nvPr/>
            </p:nvSpPr>
            <p:spPr>
              <a:xfrm>
                <a:off x="12459172" y="5168026"/>
                <a:ext cx="33337" cy="33358"/>
              </a:xfrm>
              <a:custGeom>
                <a:avLst/>
                <a:gdLst/>
                <a:ahLst/>
                <a:cxnLst/>
                <a:rect l="l" t="t" r="r" b="b"/>
                <a:pathLst>
                  <a:path w="33337" h="33358" extrusionOk="0">
                    <a:moveTo>
                      <a:pt x="33307" y="17754"/>
                    </a:moveTo>
                    <a:cubicBezTo>
                      <a:pt x="33850" y="8530"/>
                      <a:pt x="26978" y="573"/>
                      <a:pt x="17754" y="30"/>
                    </a:cubicBezTo>
                    <a:cubicBezTo>
                      <a:pt x="8530" y="-513"/>
                      <a:pt x="573" y="6360"/>
                      <a:pt x="30" y="15584"/>
                    </a:cubicBezTo>
                    <a:cubicBezTo>
                      <a:pt x="-513" y="24807"/>
                      <a:pt x="6360" y="32765"/>
                      <a:pt x="15584" y="33307"/>
                    </a:cubicBezTo>
                    <a:cubicBezTo>
                      <a:pt x="24807" y="34031"/>
                      <a:pt x="32765" y="26977"/>
                      <a:pt x="33307" y="1775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7" name="Google Shape;527;p21"/>
              <p:cNvSpPr/>
              <p:nvPr/>
            </p:nvSpPr>
            <p:spPr>
              <a:xfrm>
                <a:off x="12011203" y="5134756"/>
                <a:ext cx="19035" cy="19035"/>
              </a:xfrm>
              <a:custGeom>
                <a:avLst/>
                <a:gdLst/>
                <a:ahLst/>
                <a:cxnLst/>
                <a:rect l="l" t="t" r="r" b="b"/>
                <a:pathLst>
                  <a:path w="19035" h="19035" extrusionOk="0">
                    <a:moveTo>
                      <a:pt x="19012" y="10151"/>
                    </a:moveTo>
                    <a:cubicBezTo>
                      <a:pt x="19374" y="4906"/>
                      <a:pt x="15395" y="384"/>
                      <a:pt x="10151" y="23"/>
                    </a:cubicBezTo>
                    <a:cubicBezTo>
                      <a:pt x="4906" y="-339"/>
                      <a:pt x="384" y="3640"/>
                      <a:pt x="23" y="8885"/>
                    </a:cubicBezTo>
                    <a:cubicBezTo>
                      <a:pt x="-339" y="14129"/>
                      <a:pt x="3640" y="18651"/>
                      <a:pt x="8885" y="19012"/>
                    </a:cubicBezTo>
                    <a:cubicBezTo>
                      <a:pt x="14129" y="19374"/>
                      <a:pt x="18651" y="15395"/>
                      <a:pt x="19012" y="101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8" name="Google Shape;528;p21"/>
              <p:cNvSpPr/>
              <p:nvPr/>
            </p:nvSpPr>
            <p:spPr>
              <a:xfrm>
                <a:off x="11820521" y="4632643"/>
                <a:ext cx="84083" cy="84083"/>
              </a:xfrm>
              <a:custGeom>
                <a:avLst/>
                <a:gdLst/>
                <a:ahLst/>
                <a:cxnLst/>
                <a:rect l="l" t="t" r="r" b="b"/>
                <a:pathLst>
                  <a:path w="84083" h="84083" extrusionOk="0">
                    <a:moveTo>
                      <a:pt x="84000" y="44755"/>
                    </a:moveTo>
                    <a:cubicBezTo>
                      <a:pt x="85447" y="21605"/>
                      <a:pt x="67904" y="1530"/>
                      <a:pt x="44755" y="83"/>
                    </a:cubicBezTo>
                    <a:cubicBezTo>
                      <a:pt x="21605" y="-1363"/>
                      <a:pt x="1530" y="16179"/>
                      <a:pt x="83" y="39329"/>
                    </a:cubicBezTo>
                    <a:cubicBezTo>
                      <a:pt x="-1363" y="62478"/>
                      <a:pt x="16179" y="82553"/>
                      <a:pt x="39329" y="84000"/>
                    </a:cubicBezTo>
                    <a:cubicBezTo>
                      <a:pt x="62478" y="85447"/>
                      <a:pt x="82553" y="67904"/>
                      <a:pt x="84000" y="447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29" name="Google Shape;529;p21"/>
              <p:cNvSpPr/>
              <p:nvPr/>
            </p:nvSpPr>
            <p:spPr>
              <a:xfrm>
                <a:off x="12466594" y="5175448"/>
                <a:ext cx="18492" cy="18492"/>
              </a:xfrm>
              <a:custGeom>
                <a:avLst/>
                <a:gdLst/>
                <a:ahLst/>
                <a:cxnLst/>
                <a:rect l="l" t="t" r="r" b="b"/>
                <a:pathLst>
                  <a:path w="18492" h="18492" extrusionOk="0">
                    <a:moveTo>
                      <a:pt x="18470" y="9789"/>
                    </a:moveTo>
                    <a:cubicBezTo>
                      <a:pt x="18832" y="4725"/>
                      <a:pt x="14853" y="204"/>
                      <a:pt x="9789" y="23"/>
                    </a:cubicBezTo>
                    <a:cubicBezTo>
                      <a:pt x="4725" y="-339"/>
                      <a:pt x="384" y="3640"/>
                      <a:pt x="23" y="8704"/>
                    </a:cubicBezTo>
                    <a:cubicBezTo>
                      <a:pt x="-339" y="13768"/>
                      <a:pt x="3640" y="18289"/>
                      <a:pt x="8704" y="18470"/>
                    </a:cubicBezTo>
                    <a:cubicBezTo>
                      <a:pt x="13768" y="18832"/>
                      <a:pt x="18108" y="14853"/>
                      <a:pt x="18470" y="978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0" name="Google Shape;530;p21"/>
              <p:cNvSpPr/>
              <p:nvPr/>
            </p:nvSpPr>
            <p:spPr>
              <a:xfrm>
                <a:off x="12090772" y="4492535"/>
                <a:ext cx="34059" cy="34059"/>
              </a:xfrm>
              <a:custGeom>
                <a:avLst/>
                <a:gdLst/>
                <a:ahLst/>
                <a:cxnLst/>
                <a:rect l="l" t="t" r="r" b="b"/>
                <a:pathLst>
                  <a:path w="34059" h="34059" extrusionOk="0">
                    <a:moveTo>
                      <a:pt x="34030" y="18115"/>
                    </a:moveTo>
                    <a:cubicBezTo>
                      <a:pt x="34573" y="8711"/>
                      <a:pt x="27519" y="753"/>
                      <a:pt x="18115" y="29"/>
                    </a:cubicBezTo>
                    <a:cubicBezTo>
                      <a:pt x="8711" y="-513"/>
                      <a:pt x="753" y="6540"/>
                      <a:pt x="29" y="15945"/>
                    </a:cubicBezTo>
                    <a:cubicBezTo>
                      <a:pt x="-513" y="25349"/>
                      <a:pt x="6540" y="33306"/>
                      <a:pt x="15945" y="34030"/>
                    </a:cubicBezTo>
                    <a:cubicBezTo>
                      <a:pt x="25349" y="34573"/>
                      <a:pt x="33488" y="27519"/>
                      <a:pt x="34030" y="181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1" name="Google Shape;531;p21"/>
              <p:cNvSpPr/>
              <p:nvPr/>
            </p:nvSpPr>
            <p:spPr>
              <a:xfrm>
                <a:off x="8783315" y="5508224"/>
                <a:ext cx="23729" cy="23750"/>
              </a:xfrm>
              <a:custGeom>
                <a:avLst/>
                <a:gdLst/>
                <a:ahLst/>
                <a:cxnLst/>
                <a:rect l="l" t="t" r="r" b="b"/>
                <a:pathLst>
                  <a:path w="23729" h="23750" extrusionOk="0">
                    <a:moveTo>
                      <a:pt x="23711" y="12679"/>
                    </a:moveTo>
                    <a:cubicBezTo>
                      <a:pt x="24073" y="6168"/>
                      <a:pt x="19189" y="381"/>
                      <a:pt x="12679" y="19"/>
                    </a:cubicBezTo>
                    <a:cubicBezTo>
                      <a:pt x="6168" y="-343"/>
                      <a:pt x="381" y="4540"/>
                      <a:pt x="19" y="11051"/>
                    </a:cubicBezTo>
                    <a:cubicBezTo>
                      <a:pt x="-343" y="17562"/>
                      <a:pt x="4540" y="23349"/>
                      <a:pt x="11051" y="23711"/>
                    </a:cubicBezTo>
                    <a:cubicBezTo>
                      <a:pt x="17562" y="24253"/>
                      <a:pt x="23349" y="19189"/>
                      <a:pt x="23711" y="126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2" name="Google Shape;532;p21"/>
              <p:cNvSpPr/>
              <p:nvPr/>
            </p:nvSpPr>
            <p:spPr>
              <a:xfrm>
                <a:off x="8172218" y="5359210"/>
                <a:ext cx="13038" cy="13038"/>
              </a:xfrm>
              <a:custGeom>
                <a:avLst/>
                <a:gdLst/>
                <a:ahLst/>
                <a:cxnLst/>
                <a:rect l="l" t="t" r="r" b="b"/>
                <a:pathLst>
                  <a:path w="13038" h="13038" extrusionOk="0">
                    <a:moveTo>
                      <a:pt x="13030" y="6881"/>
                    </a:moveTo>
                    <a:cubicBezTo>
                      <a:pt x="13211" y="3264"/>
                      <a:pt x="10498" y="190"/>
                      <a:pt x="6881" y="9"/>
                    </a:cubicBezTo>
                    <a:cubicBezTo>
                      <a:pt x="3264" y="-172"/>
                      <a:pt x="189" y="2540"/>
                      <a:pt x="9" y="6158"/>
                    </a:cubicBezTo>
                    <a:cubicBezTo>
                      <a:pt x="-172" y="9775"/>
                      <a:pt x="2540" y="12849"/>
                      <a:pt x="6158" y="13030"/>
                    </a:cubicBezTo>
                    <a:cubicBezTo>
                      <a:pt x="9775" y="13211"/>
                      <a:pt x="12849" y="10498"/>
                      <a:pt x="13030" y="68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3" name="Google Shape;533;p21"/>
              <p:cNvSpPr/>
              <p:nvPr/>
            </p:nvSpPr>
            <p:spPr>
              <a:xfrm>
                <a:off x="8058236" y="5820526"/>
                <a:ext cx="52372" cy="52393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93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2"/>
                      <a:pt x="957" y="10000"/>
                      <a:pt x="53" y="24468"/>
                    </a:cubicBezTo>
                    <a:cubicBezTo>
                      <a:pt x="-852" y="38936"/>
                      <a:pt x="10000" y="51415"/>
                      <a:pt x="24468" y="52320"/>
                    </a:cubicBezTo>
                    <a:cubicBezTo>
                      <a:pt x="38936" y="53405"/>
                      <a:pt x="51415" y="42373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4" name="Google Shape;534;p21"/>
              <p:cNvSpPr/>
              <p:nvPr/>
            </p:nvSpPr>
            <p:spPr>
              <a:xfrm>
                <a:off x="8778422" y="5503330"/>
                <a:ext cx="33697" cy="33719"/>
              </a:xfrm>
              <a:custGeom>
                <a:avLst/>
                <a:gdLst/>
                <a:ahLst/>
                <a:cxnLst/>
                <a:rect l="l" t="t" r="r" b="b"/>
                <a:pathLst>
                  <a:path w="33697" h="33719" extrusionOk="0">
                    <a:moveTo>
                      <a:pt x="33668" y="17934"/>
                    </a:moveTo>
                    <a:cubicBezTo>
                      <a:pt x="34211" y="8529"/>
                      <a:pt x="27157" y="572"/>
                      <a:pt x="17934" y="29"/>
                    </a:cubicBezTo>
                    <a:cubicBezTo>
                      <a:pt x="8529" y="-513"/>
                      <a:pt x="572" y="6540"/>
                      <a:pt x="29" y="15764"/>
                    </a:cubicBezTo>
                    <a:cubicBezTo>
                      <a:pt x="-513" y="25168"/>
                      <a:pt x="6540" y="33126"/>
                      <a:pt x="15764" y="33668"/>
                    </a:cubicBezTo>
                    <a:cubicBezTo>
                      <a:pt x="24987" y="34392"/>
                      <a:pt x="32945" y="27339"/>
                      <a:pt x="33668" y="179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5" name="Google Shape;535;p21"/>
              <p:cNvSpPr/>
              <p:nvPr/>
            </p:nvSpPr>
            <p:spPr>
              <a:xfrm>
                <a:off x="8519277" y="6020955"/>
                <a:ext cx="10870" cy="10897"/>
              </a:xfrm>
              <a:custGeom>
                <a:avLst/>
                <a:gdLst/>
                <a:ahLst/>
                <a:cxnLst/>
                <a:rect l="l" t="t" r="r" b="b"/>
                <a:pathLst>
                  <a:path w="10870" h="10897" extrusionOk="0">
                    <a:moveTo>
                      <a:pt x="10861" y="5797"/>
                    </a:moveTo>
                    <a:cubicBezTo>
                      <a:pt x="11042" y="2723"/>
                      <a:pt x="8691" y="190"/>
                      <a:pt x="5797" y="10"/>
                    </a:cubicBezTo>
                    <a:cubicBezTo>
                      <a:pt x="2723" y="-171"/>
                      <a:pt x="191" y="2180"/>
                      <a:pt x="10" y="5074"/>
                    </a:cubicBezTo>
                    <a:cubicBezTo>
                      <a:pt x="-171" y="8148"/>
                      <a:pt x="2180" y="10680"/>
                      <a:pt x="5074" y="10861"/>
                    </a:cubicBezTo>
                    <a:cubicBezTo>
                      <a:pt x="8148" y="11223"/>
                      <a:pt x="10680" y="8871"/>
                      <a:pt x="10861" y="579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6" name="Google Shape;536;p21"/>
              <p:cNvSpPr/>
              <p:nvPr/>
            </p:nvSpPr>
            <p:spPr>
              <a:xfrm>
                <a:off x="8063672" y="5825962"/>
                <a:ext cx="41499" cy="41522"/>
              </a:xfrm>
              <a:custGeom>
                <a:avLst/>
                <a:gdLst/>
                <a:ahLst/>
                <a:cxnLst/>
                <a:rect l="l" t="t" r="r" b="b"/>
                <a:pathLst>
                  <a:path w="41499" h="41522" extrusionOk="0">
                    <a:moveTo>
                      <a:pt x="41458" y="22106"/>
                    </a:moveTo>
                    <a:cubicBezTo>
                      <a:pt x="42181" y="10712"/>
                      <a:pt x="33500" y="765"/>
                      <a:pt x="22106" y="42"/>
                    </a:cubicBezTo>
                    <a:cubicBezTo>
                      <a:pt x="10713" y="-681"/>
                      <a:pt x="766" y="8000"/>
                      <a:pt x="42" y="19393"/>
                    </a:cubicBezTo>
                    <a:cubicBezTo>
                      <a:pt x="-681" y="30787"/>
                      <a:pt x="8000" y="40734"/>
                      <a:pt x="19394" y="41458"/>
                    </a:cubicBezTo>
                    <a:cubicBezTo>
                      <a:pt x="30787" y="42362"/>
                      <a:pt x="40734" y="33681"/>
                      <a:pt x="41458" y="221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7" name="Google Shape;537;p21"/>
              <p:cNvSpPr/>
              <p:nvPr/>
            </p:nvSpPr>
            <p:spPr>
              <a:xfrm>
                <a:off x="8772986" y="5497894"/>
                <a:ext cx="44569" cy="44569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69" extrusionOk="0">
                    <a:moveTo>
                      <a:pt x="44530" y="23732"/>
                    </a:moveTo>
                    <a:cubicBezTo>
                      <a:pt x="45253" y="11434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3136" y="45253"/>
                      <a:pt x="43626" y="36030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8" name="Google Shape;538;p21"/>
              <p:cNvSpPr/>
              <p:nvPr/>
            </p:nvSpPr>
            <p:spPr>
              <a:xfrm>
                <a:off x="8471278" y="5144462"/>
                <a:ext cx="84985" cy="85007"/>
              </a:xfrm>
              <a:custGeom>
                <a:avLst/>
                <a:gdLst/>
                <a:ahLst/>
                <a:cxnLst/>
                <a:rect l="l" t="t" r="r" b="b"/>
                <a:pathLst>
                  <a:path w="84985" h="85007" extrusionOk="0">
                    <a:moveTo>
                      <a:pt x="84903" y="45296"/>
                    </a:moveTo>
                    <a:cubicBezTo>
                      <a:pt x="86350" y="21785"/>
                      <a:pt x="68626" y="1710"/>
                      <a:pt x="45296" y="83"/>
                    </a:cubicBezTo>
                    <a:cubicBezTo>
                      <a:pt x="21785" y="-1364"/>
                      <a:pt x="1529" y="16359"/>
                      <a:pt x="83" y="39690"/>
                    </a:cubicBezTo>
                    <a:cubicBezTo>
                      <a:pt x="-1364" y="63201"/>
                      <a:pt x="16360" y="83276"/>
                      <a:pt x="39690" y="84903"/>
                    </a:cubicBezTo>
                    <a:cubicBezTo>
                      <a:pt x="63020" y="86531"/>
                      <a:pt x="83276" y="68807"/>
                      <a:pt x="84903" y="45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39" name="Google Shape;539;p21"/>
              <p:cNvSpPr/>
              <p:nvPr/>
            </p:nvSpPr>
            <p:spPr>
              <a:xfrm>
                <a:off x="8159702" y="5346694"/>
                <a:ext cx="38070" cy="38051"/>
              </a:xfrm>
              <a:custGeom>
                <a:avLst/>
                <a:gdLst/>
                <a:ahLst/>
                <a:cxnLst/>
                <a:rect l="l" t="t" r="r" b="b"/>
                <a:pathLst>
                  <a:path w="38070" h="38051" extrusionOk="0">
                    <a:moveTo>
                      <a:pt x="38025" y="20301"/>
                    </a:moveTo>
                    <a:cubicBezTo>
                      <a:pt x="38749" y="9812"/>
                      <a:pt x="30791" y="769"/>
                      <a:pt x="20301" y="46"/>
                    </a:cubicBezTo>
                    <a:cubicBezTo>
                      <a:pt x="9812" y="-678"/>
                      <a:pt x="769" y="7280"/>
                      <a:pt x="46" y="17769"/>
                    </a:cubicBezTo>
                    <a:cubicBezTo>
                      <a:pt x="-678" y="28259"/>
                      <a:pt x="7280" y="37302"/>
                      <a:pt x="17769" y="38025"/>
                    </a:cubicBezTo>
                    <a:cubicBezTo>
                      <a:pt x="28259" y="38567"/>
                      <a:pt x="37302" y="30610"/>
                      <a:pt x="38025" y="203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0" name="Google Shape;540;p21"/>
              <p:cNvSpPr/>
              <p:nvPr/>
            </p:nvSpPr>
            <p:spPr>
              <a:xfrm>
                <a:off x="8769716" y="5494805"/>
                <a:ext cx="50747" cy="50747"/>
              </a:xfrm>
              <a:custGeom>
                <a:avLst/>
                <a:gdLst/>
                <a:ahLst/>
                <a:cxnLst/>
                <a:rect l="l" t="t" r="r" b="b"/>
                <a:pathLst>
                  <a:path w="50747" h="50747" extrusionOk="0">
                    <a:moveTo>
                      <a:pt x="50694" y="27002"/>
                    </a:moveTo>
                    <a:cubicBezTo>
                      <a:pt x="51598" y="13076"/>
                      <a:pt x="41108" y="959"/>
                      <a:pt x="27002" y="54"/>
                    </a:cubicBezTo>
                    <a:cubicBezTo>
                      <a:pt x="13076" y="-850"/>
                      <a:pt x="959" y="9640"/>
                      <a:pt x="54" y="23746"/>
                    </a:cubicBezTo>
                    <a:cubicBezTo>
                      <a:pt x="-850" y="37672"/>
                      <a:pt x="9640" y="49789"/>
                      <a:pt x="23746" y="50694"/>
                    </a:cubicBezTo>
                    <a:cubicBezTo>
                      <a:pt x="37853" y="51598"/>
                      <a:pt x="49789" y="40928"/>
                      <a:pt x="50694" y="270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1" name="Google Shape;541;p21"/>
              <p:cNvSpPr/>
              <p:nvPr/>
            </p:nvSpPr>
            <p:spPr>
              <a:xfrm>
                <a:off x="8708577" y="5244131"/>
                <a:ext cx="61980" cy="61979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79" extrusionOk="0">
                    <a:moveTo>
                      <a:pt x="61916" y="32980"/>
                    </a:moveTo>
                    <a:cubicBezTo>
                      <a:pt x="63001" y="15979"/>
                      <a:pt x="50161" y="1149"/>
                      <a:pt x="32980" y="64"/>
                    </a:cubicBezTo>
                    <a:cubicBezTo>
                      <a:pt x="15979" y="-1021"/>
                      <a:pt x="1149" y="11820"/>
                      <a:pt x="64" y="29001"/>
                    </a:cubicBezTo>
                    <a:cubicBezTo>
                      <a:pt x="-1021" y="46001"/>
                      <a:pt x="11820" y="60831"/>
                      <a:pt x="29001" y="61916"/>
                    </a:cubicBezTo>
                    <a:cubicBezTo>
                      <a:pt x="46182" y="63002"/>
                      <a:pt x="60831" y="49980"/>
                      <a:pt x="61916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2" name="Google Shape;542;p21"/>
              <p:cNvSpPr/>
              <p:nvPr/>
            </p:nvSpPr>
            <p:spPr>
              <a:xfrm>
                <a:off x="8486863" y="5160228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39839" y="54669"/>
                      <a:pt x="52680" y="43456"/>
                      <a:pt x="53765" y="286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3" name="Google Shape;543;p21"/>
              <p:cNvSpPr/>
              <p:nvPr/>
            </p:nvSpPr>
            <p:spPr>
              <a:xfrm>
                <a:off x="8754853" y="5479762"/>
                <a:ext cx="80653" cy="80674"/>
              </a:xfrm>
              <a:custGeom>
                <a:avLst/>
                <a:gdLst/>
                <a:ahLst/>
                <a:cxnLst/>
                <a:rect l="l" t="t" r="r" b="b"/>
                <a:pathLst>
                  <a:path w="80653" h="80674" extrusionOk="0">
                    <a:moveTo>
                      <a:pt x="80567" y="42949"/>
                    </a:moveTo>
                    <a:cubicBezTo>
                      <a:pt x="82014" y="20704"/>
                      <a:pt x="65194" y="1534"/>
                      <a:pt x="42949" y="87"/>
                    </a:cubicBezTo>
                    <a:cubicBezTo>
                      <a:pt x="20704" y="-1360"/>
                      <a:pt x="1534" y="15459"/>
                      <a:pt x="87" y="37704"/>
                    </a:cubicBezTo>
                    <a:cubicBezTo>
                      <a:pt x="-1360" y="59950"/>
                      <a:pt x="15459" y="79120"/>
                      <a:pt x="37705" y="80567"/>
                    </a:cubicBezTo>
                    <a:cubicBezTo>
                      <a:pt x="59950" y="82195"/>
                      <a:pt x="79120" y="65194"/>
                      <a:pt x="80567" y="429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4" name="Google Shape;544;p21"/>
              <p:cNvSpPr/>
              <p:nvPr/>
            </p:nvSpPr>
            <p:spPr>
              <a:xfrm>
                <a:off x="9537450" y="5420119"/>
                <a:ext cx="36447" cy="3642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26" extrusionOk="0">
                    <a:moveTo>
                      <a:pt x="36399" y="19399"/>
                    </a:moveTo>
                    <a:cubicBezTo>
                      <a:pt x="37123" y="9271"/>
                      <a:pt x="29527" y="590"/>
                      <a:pt x="19399" y="48"/>
                    </a:cubicBezTo>
                    <a:cubicBezTo>
                      <a:pt x="9271" y="-676"/>
                      <a:pt x="590" y="6920"/>
                      <a:pt x="48" y="17048"/>
                    </a:cubicBezTo>
                    <a:cubicBezTo>
                      <a:pt x="-676" y="27176"/>
                      <a:pt x="6920" y="35857"/>
                      <a:pt x="17048" y="36399"/>
                    </a:cubicBezTo>
                    <a:cubicBezTo>
                      <a:pt x="27176" y="36942"/>
                      <a:pt x="35857" y="29346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5" name="Google Shape;545;p21"/>
              <p:cNvSpPr/>
              <p:nvPr/>
            </p:nvSpPr>
            <p:spPr>
              <a:xfrm>
                <a:off x="8487003" y="5988682"/>
                <a:ext cx="75599" cy="75578"/>
              </a:xfrm>
              <a:custGeom>
                <a:avLst/>
                <a:gdLst/>
                <a:ahLst/>
                <a:cxnLst/>
                <a:rect l="l" t="t" r="r" b="b"/>
                <a:pathLst>
                  <a:path w="75599" h="75578" extrusionOk="0">
                    <a:moveTo>
                      <a:pt x="75508" y="40241"/>
                    </a:moveTo>
                    <a:cubicBezTo>
                      <a:pt x="76954" y="19443"/>
                      <a:pt x="61039" y="1358"/>
                      <a:pt x="40241" y="91"/>
                    </a:cubicBezTo>
                    <a:cubicBezTo>
                      <a:pt x="19443" y="-1356"/>
                      <a:pt x="1357" y="14560"/>
                      <a:pt x="91" y="35358"/>
                    </a:cubicBezTo>
                    <a:cubicBezTo>
                      <a:pt x="-1356" y="56156"/>
                      <a:pt x="14560" y="74242"/>
                      <a:pt x="35358" y="75507"/>
                    </a:cubicBezTo>
                    <a:cubicBezTo>
                      <a:pt x="56156" y="76773"/>
                      <a:pt x="74061" y="61039"/>
                      <a:pt x="75508" y="4024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6" name="Google Shape;546;p21"/>
              <p:cNvSpPr/>
              <p:nvPr/>
            </p:nvSpPr>
            <p:spPr>
              <a:xfrm>
                <a:off x="8760650" y="5485559"/>
                <a:ext cx="69059" cy="69060"/>
              </a:xfrm>
              <a:custGeom>
                <a:avLst/>
                <a:gdLst/>
                <a:ahLst/>
                <a:cxnLst/>
                <a:rect l="l" t="t" r="r" b="b"/>
                <a:pathLst>
                  <a:path w="69059" h="69060" extrusionOk="0">
                    <a:moveTo>
                      <a:pt x="68983" y="36791"/>
                    </a:moveTo>
                    <a:cubicBezTo>
                      <a:pt x="70249" y="17801"/>
                      <a:pt x="55780" y="1343"/>
                      <a:pt x="36791" y="77"/>
                    </a:cubicBezTo>
                    <a:cubicBezTo>
                      <a:pt x="17801" y="-1189"/>
                      <a:pt x="1343" y="13279"/>
                      <a:pt x="77" y="32269"/>
                    </a:cubicBezTo>
                    <a:cubicBezTo>
                      <a:pt x="-1189" y="51259"/>
                      <a:pt x="13279" y="67717"/>
                      <a:pt x="32269" y="68983"/>
                    </a:cubicBezTo>
                    <a:cubicBezTo>
                      <a:pt x="51259" y="70249"/>
                      <a:pt x="67717" y="55961"/>
                      <a:pt x="68983" y="367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7" name="Google Shape;547;p21"/>
              <p:cNvSpPr/>
              <p:nvPr/>
            </p:nvSpPr>
            <p:spPr>
              <a:xfrm>
                <a:off x="9513722" y="5396210"/>
                <a:ext cx="84083" cy="84083"/>
              </a:xfrm>
              <a:custGeom>
                <a:avLst/>
                <a:gdLst/>
                <a:ahLst/>
                <a:cxnLst/>
                <a:rect l="l" t="t" r="r" b="b"/>
                <a:pathLst>
                  <a:path w="84083" h="84083" extrusionOk="0">
                    <a:moveTo>
                      <a:pt x="84000" y="44755"/>
                    </a:moveTo>
                    <a:cubicBezTo>
                      <a:pt x="85447" y="21605"/>
                      <a:pt x="67904" y="1530"/>
                      <a:pt x="44755" y="83"/>
                    </a:cubicBezTo>
                    <a:cubicBezTo>
                      <a:pt x="21605" y="-1363"/>
                      <a:pt x="1530" y="16179"/>
                      <a:pt x="83" y="39329"/>
                    </a:cubicBezTo>
                    <a:cubicBezTo>
                      <a:pt x="-1363" y="62478"/>
                      <a:pt x="16179" y="82553"/>
                      <a:pt x="39329" y="84000"/>
                    </a:cubicBezTo>
                    <a:cubicBezTo>
                      <a:pt x="62478" y="85447"/>
                      <a:pt x="82372" y="67904"/>
                      <a:pt x="84000" y="447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8" name="Google Shape;548;p21"/>
              <p:cNvSpPr/>
              <p:nvPr/>
            </p:nvSpPr>
            <p:spPr>
              <a:xfrm>
                <a:off x="8730321" y="5265694"/>
                <a:ext cx="18673" cy="18674"/>
              </a:xfrm>
              <a:custGeom>
                <a:avLst/>
                <a:gdLst/>
                <a:ahLst/>
                <a:cxnLst/>
                <a:rect l="l" t="t" r="r" b="b"/>
                <a:pathLst>
                  <a:path w="18673" h="18674" extrusionOk="0">
                    <a:moveTo>
                      <a:pt x="18651" y="9970"/>
                    </a:moveTo>
                    <a:cubicBezTo>
                      <a:pt x="19012" y="4906"/>
                      <a:pt x="15034" y="385"/>
                      <a:pt x="9970" y="23"/>
                    </a:cubicBezTo>
                    <a:cubicBezTo>
                      <a:pt x="4906" y="-339"/>
                      <a:pt x="385" y="3640"/>
                      <a:pt x="23" y="8704"/>
                    </a:cubicBezTo>
                    <a:cubicBezTo>
                      <a:pt x="-339" y="13768"/>
                      <a:pt x="3640" y="18289"/>
                      <a:pt x="8704" y="18651"/>
                    </a:cubicBezTo>
                    <a:cubicBezTo>
                      <a:pt x="13949" y="19013"/>
                      <a:pt x="18289" y="15215"/>
                      <a:pt x="18651" y="99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549" name="Google Shape;549;p21"/>
              <p:cNvSpPr/>
              <p:nvPr/>
            </p:nvSpPr>
            <p:spPr>
              <a:xfrm>
                <a:off x="12640218" y="6116256"/>
                <a:ext cx="22826" cy="22826"/>
              </a:xfrm>
              <a:custGeom>
                <a:avLst/>
                <a:gdLst/>
                <a:ahLst/>
                <a:cxnLst/>
                <a:rect l="l" t="t" r="r" b="b"/>
                <a:pathLst>
                  <a:path w="22826" h="22826" extrusionOk="0">
                    <a:moveTo>
                      <a:pt x="22807" y="12137"/>
                    </a:moveTo>
                    <a:cubicBezTo>
                      <a:pt x="23169" y="5807"/>
                      <a:pt x="18466" y="382"/>
                      <a:pt x="12136" y="20"/>
                    </a:cubicBezTo>
                    <a:cubicBezTo>
                      <a:pt x="5807" y="-342"/>
                      <a:pt x="381" y="4360"/>
                      <a:pt x="20" y="10690"/>
                    </a:cubicBezTo>
                    <a:cubicBezTo>
                      <a:pt x="-342" y="17020"/>
                      <a:pt x="4360" y="22445"/>
                      <a:pt x="10690" y="22807"/>
                    </a:cubicBezTo>
                    <a:cubicBezTo>
                      <a:pt x="17020" y="23169"/>
                      <a:pt x="22445" y="18467"/>
                      <a:pt x="22807" y="121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</p:grpSp>
      <p:pic>
        <p:nvPicPr>
          <p:cNvPr id="550" name="Google Shape;550;p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438295" y="1689110"/>
            <a:ext cx="3315410" cy="999009"/>
          </a:xfrm>
          <a:prstGeom prst="rect">
            <a:avLst/>
          </a:prstGeom>
          <a:noFill/>
          <a:ln>
            <a:noFill/>
          </a:ln>
        </p:spPr>
      </p:pic>
      <p:sp>
        <p:nvSpPr>
          <p:cNvPr id="551" name="Google Shape;551;p21"/>
          <p:cNvSpPr txBox="1">
            <a:spLocks noGrp="1"/>
          </p:cNvSpPr>
          <p:nvPr>
            <p:ph type="ctrTitle"/>
          </p:nvPr>
        </p:nvSpPr>
        <p:spPr>
          <a:xfrm>
            <a:off x="1394012" y="3446249"/>
            <a:ext cx="940397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000"/>
              <a:buFont typeface="Trebuchet MS"/>
              <a:buNone/>
              <a:defRPr sz="4000" b="1">
                <a:solidFill>
                  <a:schemeClr val="accent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52" name="Google Shape;552;p21"/>
          <p:cNvGrpSpPr/>
          <p:nvPr/>
        </p:nvGrpSpPr>
        <p:grpSpPr>
          <a:xfrm>
            <a:off x="7397166" y="1622082"/>
            <a:ext cx="5848979" cy="5709390"/>
            <a:chOff x="7397166" y="1622082"/>
            <a:chExt cx="5848979" cy="5709390"/>
          </a:xfrm>
        </p:grpSpPr>
        <p:sp>
          <p:nvSpPr>
            <p:cNvPr id="553" name="Google Shape;553;p21"/>
            <p:cNvSpPr/>
            <p:nvPr/>
          </p:nvSpPr>
          <p:spPr>
            <a:xfrm>
              <a:off x="10477398" y="5718001"/>
              <a:ext cx="477907" cy="649771"/>
            </a:xfrm>
            <a:custGeom>
              <a:avLst/>
              <a:gdLst/>
              <a:ahLst/>
              <a:cxnLst/>
              <a:rect l="l" t="t" r="r" b="b"/>
              <a:pathLst>
                <a:path w="477907" h="649771" extrusionOk="0">
                  <a:moveTo>
                    <a:pt x="295155" y="649771"/>
                  </a:moveTo>
                  <a:cubicBezTo>
                    <a:pt x="294250" y="649771"/>
                    <a:pt x="293346" y="649047"/>
                    <a:pt x="292803" y="648143"/>
                  </a:cubicBezTo>
                  <a:lnTo>
                    <a:pt x="181" y="3759"/>
                  </a:lnTo>
                  <a:cubicBezTo>
                    <a:pt x="-181" y="2855"/>
                    <a:pt x="0" y="1589"/>
                    <a:pt x="723" y="865"/>
                  </a:cubicBezTo>
                  <a:cubicBezTo>
                    <a:pt x="1447" y="142"/>
                    <a:pt x="2532" y="-220"/>
                    <a:pt x="3617" y="142"/>
                  </a:cubicBezTo>
                  <a:lnTo>
                    <a:pt x="476009" y="168879"/>
                  </a:lnTo>
                  <a:cubicBezTo>
                    <a:pt x="476732" y="169060"/>
                    <a:pt x="477275" y="169602"/>
                    <a:pt x="477637" y="170326"/>
                  </a:cubicBezTo>
                  <a:cubicBezTo>
                    <a:pt x="477998" y="171049"/>
                    <a:pt x="477998" y="171773"/>
                    <a:pt x="477637" y="172496"/>
                  </a:cubicBezTo>
                  <a:lnTo>
                    <a:pt x="297867" y="647962"/>
                  </a:lnTo>
                  <a:cubicBezTo>
                    <a:pt x="297506" y="649047"/>
                    <a:pt x="296601" y="649590"/>
                    <a:pt x="295516" y="649771"/>
                  </a:cubicBezTo>
                  <a:cubicBezTo>
                    <a:pt x="295335" y="649771"/>
                    <a:pt x="295335" y="649771"/>
                    <a:pt x="295155" y="649771"/>
                  </a:cubicBezTo>
                  <a:close/>
                  <a:moveTo>
                    <a:pt x="7777" y="7376"/>
                  </a:moveTo>
                  <a:lnTo>
                    <a:pt x="295155" y="640005"/>
                  </a:lnTo>
                  <a:lnTo>
                    <a:pt x="471668" y="173039"/>
                  </a:lnTo>
                  <a:lnTo>
                    <a:pt x="7777" y="737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4" name="Google Shape;554;p21"/>
            <p:cNvSpPr/>
            <p:nvPr/>
          </p:nvSpPr>
          <p:spPr>
            <a:xfrm>
              <a:off x="12225625" y="2550403"/>
              <a:ext cx="532328" cy="277143"/>
            </a:xfrm>
            <a:custGeom>
              <a:avLst/>
              <a:gdLst/>
              <a:ahLst/>
              <a:cxnLst/>
              <a:rect l="l" t="t" r="r" b="b"/>
              <a:pathLst>
                <a:path w="532328" h="277143" extrusionOk="0">
                  <a:moveTo>
                    <a:pt x="2445" y="277143"/>
                  </a:moveTo>
                  <a:cubicBezTo>
                    <a:pt x="1360" y="277143"/>
                    <a:pt x="275" y="276239"/>
                    <a:pt x="94" y="275154"/>
                  </a:cubicBezTo>
                  <a:cubicBezTo>
                    <a:pt x="-268" y="273888"/>
                    <a:pt x="456" y="272622"/>
                    <a:pt x="1541" y="272079"/>
                  </a:cubicBezTo>
                  <a:lnTo>
                    <a:pt x="528370" y="255"/>
                  </a:lnTo>
                  <a:cubicBezTo>
                    <a:pt x="529636" y="-288"/>
                    <a:pt x="530902" y="74"/>
                    <a:pt x="531807" y="978"/>
                  </a:cubicBezTo>
                  <a:cubicBezTo>
                    <a:pt x="532530" y="2063"/>
                    <a:pt x="532530" y="3510"/>
                    <a:pt x="531626" y="4415"/>
                  </a:cubicBezTo>
                  <a:lnTo>
                    <a:pt x="270833" y="274249"/>
                  </a:lnTo>
                  <a:cubicBezTo>
                    <a:pt x="270291" y="274792"/>
                    <a:pt x="269568" y="274973"/>
                    <a:pt x="268844" y="274973"/>
                  </a:cubicBezTo>
                  <a:lnTo>
                    <a:pt x="2626" y="276962"/>
                  </a:lnTo>
                  <a:cubicBezTo>
                    <a:pt x="2445" y="277143"/>
                    <a:pt x="2445" y="277143"/>
                    <a:pt x="2445" y="277143"/>
                  </a:cubicBezTo>
                  <a:close/>
                  <a:moveTo>
                    <a:pt x="516253" y="12553"/>
                  </a:moveTo>
                  <a:lnTo>
                    <a:pt x="13839" y="271717"/>
                  </a:lnTo>
                  <a:lnTo>
                    <a:pt x="267578" y="269728"/>
                  </a:lnTo>
                  <a:lnTo>
                    <a:pt x="516253" y="12553"/>
                  </a:lnTo>
                  <a:close/>
                  <a:moveTo>
                    <a:pt x="268663" y="272441"/>
                  </a:moveTo>
                  <a:lnTo>
                    <a:pt x="268663" y="272441"/>
                  </a:lnTo>
                  <a:lnTo>
                    <a:pt x="268663" y="2724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5" name="Google Shape;555;p21"/>
            <p:cNvSpPr/>
            <p:nvPr/>
          </p:nvSpPr>
          <p:spPr>
            <a:xfrm>
              <a:off x="11516226" y="1647471"/>
              <a:ext cx="1241602" cy="908431"/>
            </a:xfrm>
            <a:custGeom>
              <a:avLst/>
              <a:gdLst/>
              <a:ahLst/>
              <a:cxnLst/>
              <a:rect l="l" t="t" r="r" b="b"/>
              <a:pathLst>
                <a:path w="1241602" h="908431" extrusionOk="0">
                  <a:moveTo>
                    <a:pt x="1238673" y="908432"/>
                  </a:moveTo>
                  <a:cubicBezTo>
                    <a:pt x="1238311" y="908432"/>
                    <a:pt x="1237769" y="908251"/>
                    <a:pt x="1237406" y="908070"/>
                  </a:cubicBezTo>
                  <a:lnTo>
                    <a:pt x="1266" y="124428"/>
                  </a:lnTo>
                  <a:cubicBezTo>
                    <a:pt x="543" y="123885"/>
                    <a:pt x="0" y="123162"/>
                    <a:pt x="0" y="122258"/>
                  </a:cubicBezTo>
                  <a:cubicBezTo>
                    <a:pt x="0" y="121353"/>
                    <a:pt x="362" y="120630"/>
                    <a:pt x="1085" y="120087"/>
                  </a:cubicBezTo>
                  <a:lnTo>
                    <a:pt x="151918" y="543"/>
                  </a:lnTo>
                  <a:cubicBezTo>
                    <a:pt x="153003" y="-181"/>
                    <a:pt x="154269" y="-181"/>
                    <a:pt x="155354" y="543"/>
                  </a:cubicBezTo>
                  <a:lnTo>
                    <a:pt x="1240662" y="903549"/>
                  </a:lnTo>
                  <a:cubicBezTo>
                    <a:pt x="1241747" y="904453"/>
                    <a:pt x="1241928" y="906081"/>
                    <a:pt x="1241024" y="907166"/>
                  </a:cubicBezTo>
                  <a:cubicBezTo>
                    <a:pt x="1240481" y="908070"/>
                    <a:pt x="1239577" y="908432"/>
                    <a:pt x="1238673" y="908432"/>
                  </a:cubicBezTo>
                  <a:close/>
                  <a:moveTo>
                    <a:pt x="7415" y="121896"/>
                  </a:moveTo>
                  <a:lnTo>
                    <a:pt x="1205214" y="881123"/>
                  </a:lnTo>
                  <a:lnTo>
                    <a:pt x="153546" y="6149"/>
                  </a:lnTo>
                  <a:lnTo>
                    <a:pt x="7415" y="1218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6" name="Google Shape;556;p21"/>
            <p:cNvSpPr/>
            <p:nvPr/>
          </p:nvSpPr>
          <p:spPr>
            <a:xfrm>
              <a:off x="11516323" y="1766931"/>
              <a:ext cx="1241651" cy="1060689"/>
            </a:xfrm>
            <a:custGeom>
              <a:avLst/>
              <a:gdLst/>
              <a:ahLst/>
              <a:cxnLst/>
              <a:rect l="l" t="t" r="r" b="b"/>
              <a:pathLst>
                <a:path w="1241651" h="1060689" extrusionOk="0">
                  <a:moveTo>
                    <a:pt x="711747" y="1060615"/>
                  </a:moveTo>
                  <a:cubicBezTo>
                    <a:pt x="711024" y="1060615"/>
                    <a:pt x="710119" y="1060072"/>
                    <a:pt x="709758" y="1059349"/>
                  </a:cubicBezTo>
                  <a:lnTo>
                    <a:pt x="446" y="4244"/>
                  </a:lnTo>
                  <a:cubicBezTo>
                    <a:pt x="-277" y="3159"/>
                    <a:pt x="-96" y="1712"/>
                    <a:pt x="808" y="808"/>
                  </a:cubicBezTo>
                  <a:cubicBezTo>
                    <a:pt x="1712" y="-96"/>
                    <a:pt x="3159" y="-277"/>
                    <a:pt x="4244" y="446"/>
                  </a:cubicBezTo>
                  <a:lnTo>
                    <a:pt x="1240385" y="783908"/>
                  </a:lnTo>
                  <a:cubicBezTo>
                    <a:pt x="1241109" y="784450"/>
                    <a:pt x="1241651" y="785355"/>
                    <a:pt x="1241651" y="786259"/>
                  </a:cubicBezTo>
                  <a:cubicBezTo>
                    <a:pt x="1241651" y="787163"/>
                    <a:pt x="1241109" y="788067"/>
                    <a:pt x="1240204" y="788610"/>
                  </a:cubicBezTo>
                  <a:lnTo>
                    <a:pt x="713375" y="1060434"/>
                  </a:lnTo>
                  <a:cubicBezTo>
                    <a:pt x="712652" y="1060615"/>
                    <a:pt x="712109" y="1060796"/>
                    <a:pt x="711747" y="1060615"/>
                  </a:cubicBezTo>
                  <a:close/>
                  <a:moveTo>
                    <a:pt x="12021" y="11840"/>
                  </a:moveTo>
                  <a:lnTo>
                    <a:pt x="712832" y="1054466"/>
                  </a:lnTo>
                  <a:lnTo>
                    <a:pt x="1233512" y="785897"/>
                  </a:lnTo>
                  <a:lnTo>
                    <a:pt x="12021" y="1184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7" name="Google Shape;557;p21"/>
            <p:cNvSpPr/>
            <p:nvPr/>
          </p:nvSpPr>
          <p:spPr>
            <a:xfrm>
              <a:off x="8737035" y="5586119"/>
              <a:ext cx="850605" cy="232217"/>
            </a:xfrm>
            <a:custGeom>
              <a:avLst/>
              <a:gdLst/>
              <a:ahLst/>
              <a:cxnLst/>
              <a:rect l="l" t="t" r="r" b="b"/>
              <a:pathLst>
                <a:path w="850605" h="232217" extrusionOk="0">
                  <a:moveTo>
                    <a:pt x="818548" y="232217"/>
                  </a:moveTo>
                  <a:cubicBezTo>
                    <a:pt x="818367" y="232217"/>
                    <a:pt x="818367" y="232217"/>
                    <a:pt x="818186" y="232217"/>
                  </a:cubicBezTo>
                  <a:lnTo>
                    <a:pt x="2170" y="68905"/>
                  </a:lnTo>
                  <a:cubicBezTo>
                    <a:pt x="904" y="68725"/>
                    <a:pt x="0" y="67459"/>
                    <a:pt x="0" y="66012"/>
                  </a:cubicBezTo>
                  <a:cubicBezTo>
                    <a:pt x="0" y="64746"/>
                    <a:pt x="1085" y="63661"/>
                    <a:pt x="2532" y="63480"/>
                  </a:cubicBezTo>
                  <a:lnTo>
                    <a:pt x="847665" y="0"/>
                  </a:lnTo>
                  <a:cubicBezTo>
                    <a:pt x="848389" y="0"/>
                    <a:pt x="849293" y="181"/>
                    <a:pt x="849835" y="904"/>
                  </a:cubicBezTo>
                  <a:cubicBezTo>
                    <a:pt x="850378" y="1447"/>
                    <a:pt x="850740" y="2351"/>
                    <a:pt x="850559" y="3074"/>
                  </a:cubicBezTo>
                  <a:lnTo>
                    <a:pt x="821441" y="229685"/>
                  </a:lnTo>
                  <a:cubicBezTo>
                    <a:pt x="821441" y="230408"/>
                    <a:pt x="820899" y="231132"/>
                    <a:pt x="820356" y="231494"/>
                  </a:cubicBezTo>
                  <a:cubicBezTo>
                    <a:pt x="819813" y="232036"/>
                    <a:pt x="819090" y="232217"/>
                    <a:pt x="818548" y="232217"/>
                  </a:cubicBezTo>
                  <a:close/>
                  <a:moveTo>
                    <a:pt x="22426" y="67459"/>
                  </a:moveTo>
                  <a:lnTo>
                    <a:pt x="816377" y="226249"/>
                  </a:lnTo>
                  <a:lnTo>
                    <a:pt x="844591" y="5787"/>
                  </a:lnTo>
                  <a:lnTo>
                    <a:pt x="22426" y="6745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8" name="Google Shape;558;p21"/>
            <p:cNvSpPr/>
            <p:nvPr/>
          </p:nvSpPr>
          <p:spPr>
            <a:xfrm>
              <a:off x="9553004" y="5586432"/>
              <a:ext cx="930000" cy="231903"/>
            </a:xfrm>
            <a:custGeom>
              <a:avLst/>
              <a:gdLst/>
              <a:ahLst/>
              <a:cxnLst/>
              <a:rect l="l" t="t" r="r" b="b"/>
              <a:pathLst>
                <a:path w="930000" h="231903" extrusionOk="0">
                  <a:moveTo>
                    <a:pt x="2579" y="231903"/>
                  </a:moveTo>
                  <a:cubicBezTo>
                    <a:pt x="1856" y="231903"/>
                    <a:pt x="1313" y="231542"/>
                    <a:pt x="770" y="231180"/>
                  </a:cubicBezTo>
                  <a:cubicBezTo>
                    <a:pt x="228" y="230638"/>
                    <a:pt x="-134" y="229733"/>
                    <a:pt x="47" y="229010"/>
                  </a:cubicBezTo>
                  <a:lnTo>
                    <a:pt x="29165" y="2399"/>
                  </a:lnTo>
                  <a:cubicBezTo>
                    <a:pt x="29165" y="1676"/>
                    <a:pt x="29707" y="952"/>
                    <a:pt x="30250" y="591"/>
                  </a:cubicBezTo>
                  <a:cubicBezTo>
                    <a:pt x="30792" y="229"/>
                    <a:pt x="31516" y="-133"/>
                    <a:pt x="32239" y="48"/>
                  </a:cubicBezTo>
                  <a:lnTo>
                    <a:pt x="927650" y="131710"/>
                  </a:lnTo>
                  <a:cubicBezTo>
                    <a:pt x="928916" y="131891"/>
                    <a:pt x="930001" y="133157"/>
                    <a:pt x="930001" y="134423"/>
                  </a:cubicBezTo>
                  <a:cubicBezTo>
                    <a:pt x="930001" y="135870"/>
                    <a:pt x="928916" y="136955"/>
                    <a:pt x="927650" y="136955"/>
                  </a:cubicBezTo>
                  <a:lnTo>
                    <a:pt x="3122" y="231903"/>
                  </a:lnTo>
                  <a:cubicBezTo>
                    <a:pt x="2760" y="231903"/>
                    <a:pt x="2760" y="231903"/>
                    <a:pt x="2579" y="231903"/>
                  </a:cubicBezTo>
                  <a:close/>
                  <a:moveTo>
                    <a:pt x="34048" y="5655"/>
                  </a:moveTo>
                  <a:lnTo>
                    <a:pt x="5834" y="226297"/>
                  </a:lnTo>
                  <a:lnTo>
                    <a:pt x="905405" y="133880"/>
                  </a:lnTo>
                  <a:lnTo>
                    <a:pt x="34048" y="56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9" name="Google Shape;559;p21"/>
            <p:cNvSpPr/>
            <p:nvPr/>
          </p:nvSpPr>
          <p:spPr>
            <a:xfrm>
              <a:off x="9581960" y="5271675"/>
              <a:ext cx="900910" cy="451760"/>
            </a:xfrm>
            <a:custGeom>
              <a:avLst/>
              <a:gdLst/>
              <a:ahLst/>
              <a:cxnLst/>
              <a:rect l="l" t="t" r="r" b="b"/>
              <a:pathLst>
                <a:path w="900910" h="451760" extrusionOk="0">
                  <a:moveTo>
                    <a:pt x="897970" y="451712"/>
                  </a:moveTo>
                  <a:cubicBezTo>
                    <a:pt x="897970" y="451712"/>
                    <a:pt x="897789" y="451712"/>
                    <a:pt x="897789" y="451712"/>
                  </a:cubicBezTo>
                  <a:lnTo>
                    <a:pt x="2379" y="320050"/>
                  </a:lnTo>
                  <a:cubicBezTo>
                    <a:pt x="1113" y="319870"/>
                    <a:pt x="208" y="318965"/>
                    <a:pt x="27" y="317699"/>
                  </a:cubicBezTo>
                  <a:cubicBezTo>
                    <a:pt x="-153" y="316433"/>
                    <a:pt x="570" y="315348"/>
                    <a:pt x="1836" y="314806"/>
                  </a:cubicBezTo>
                  <a:lnTo>
                    <a:pt x="829064" y="119"/>
                  </a:lnTo>
                  <a:cubicBezTo>
                    <a:pt x="829788" y="-62"/>
                    <a:pt x="830692" y="-62"/>
                    <a:pt x="831416" y="300"/>
                  </a:cubicBezTo>
                  <a:cubicBezTo>
                    <a:pt x="832139" y="661"/>
                    <a:pt x="832682" y="1385"/>
                    <a:pt x="832682" y="2289"/>
                  </a:cubicBezTo>
                  <a:lnTo>
                    <a:pt x="900864" y="448819"/>
                  </a:lnTo>
                  <a:cubicBezTo>
                    <a:pt x="901045" y="449723"/>
                    <a:pt x="900683" y="450446"/>
                    <a:pt x="900140" y="451170"/>
                  </a:cubicBezTo>
                  <a:cubicBezTo>
                    <a:pt x="899598" y="451532"/>
                    <a:pt x="898874" y="451893"/>
                    <a:pt x="897970" y="451712"/>
                  </a:cubicBezTo>
                  <a:close/>
                  <a:moveTo>
                    <a:pt x="13411" y="316252"/>
                  </a:moveTo>
                  <a:lnTo>
                    <a:pt x="894895" y="445925"/>
                  </a:lnTo>
                  <a:lnTo>
                    <a:pt x="827799" y="6449"/>
                  </a:lnTo>
                  <a:lnTo>
                    <a:pt x="13411" y="3162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0" name="Google Shape;560;p21"/>
            <p:cNvSpPr/>
            <p:nvPr/>
          </p:nvSpPr>
          <p:spPr>
            <a:xfrm>
              <a:off x="7438868" y="5835663"/>
              <a:ext cx="648244" cy="773982"/>
            </a:xfrm>
            <a:custGeom>
              <a:avLst/>
              <a:gdLst/>
              <a:ahLst/>
              <a:cxnLst/>
              <a:rect l="l" t="t" r="r" b="b"/>
              <a:pathLst>
                <a:path w="648244" h="773982" extrusionOk="0">
                  <a:moveTo>
                    <a:pt x="2526" y="773911"/>
                  </a:moveTo>
                  <a:cubicBezTo>
                    <a:pt x="1983" y="773911"/>
                    <a:pt x="1441" y="773730"/>
                    <a:pt x="898" y="773188"/>
                  </a:cubicBezTo>
                  <a:cubicBezTo>
                    <a:pt x="-6" y="772465"/>
                    <a:pt x="-187" y="771198"/>
                    <a:pt x="175" y="770113"/>
                  </a:cubicBezTo>
                  <a:lnTo>
                    <a:pt x="350671" y="1663"/>
                  </a:lnTo>
                  <a:cubicBezTo>
                    <a:pt x="351032" y="758"/>
                    <a:pt x="351937" y="216"/>
                    <a:pt x="352841" y="35"/>
                  </a:cubicBezTo>
                  <a:cubicBezTo>
                    <a:pt x="353745" y="-146"/>
                    <a:pt x="354649" y="397"/>
                    <a:pt x="355192" y="1120"/>
                  </a:cubicBezTo>
                  <a:lnTo>
                    <a:pt x="647634" y="386702"/>
                  </a:lnTo>
                  <a:cubicBezTo>
                    <a:pt x="648176" y="387244"/>
                    <a:pt x="648357" y="388149"/>
                    <a:pt x="648176" y="388872"/>
                  </a:cubicBezTo>
                  <a:cubicBezTo>
                    <a:pt x="647995" y="389595"/>
                    <a:pt x="647634" y="390319"/>
                    <a:pt x="646910" y="390681"/>
                  </a:cubicBezTo>
                  <a:lnTo>
                    <a:pt x="4153" y="773550"/>
                  </a:lnTo>
                  <a:cubicBezTo>
                    <a:pt x="3611" y="773911"/>
                    <a:pt x="3068" y="774092"/>
                    <a:pt x="2526" y="773911"/>
                  </a:cubicBezTo>
                  <a:close/>
                  <a:moveTo>
                    <a:pt x="353745" y="8174"/>
                  </a:moveTo>
                  <a:lnTo>
                    <a:pt x="8675" y="764507"/>
                  </a:lnTo>
                  <a:lnTo>
                    <a:pt x="641485" y="387606"/>
                  </a:lnTo>
                  <a:lnTo>
                    <a:pt x="353745" y="817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1" name="Google Shape;561;p21"/>
            <p:cNvSpPr/>
            <p:nvPr/>
          </p:nvSpPr>
          <p:spPr>
            <a:xfrm>
              <a:off x="9553051" y="5717926"/>
              <a:ext cx="929840" cy="819487"/>
            </a:xfrm>
            <a:custGeom>
              <a:avLst/>
              <a:gdLst/>
              <a:ahLst/>
              <a:cxnLst/>
              <a:rect l="l" t="t" r="r" b="b"/>
              <a:pathLst>
                <a:path w="929840" h="819487" extrusionOk="0">
                  <a:moveTo>
                    <a:pt x="679290" y="819487"/>
                  </a:moveTo>
                  <a:cubicBezTo>
                    <a:pt x="678566" y="819487"/>
                    <a:pt x="678024" y="819125"/>
                    <a:pt x="677481" y="818583"/>
                  </a:cubicBezTo>
                  <a:lnTo>
                    <a:pt x="723" y="99505"/>
                  </a:lnTo>
                  <a:cubicBezTo>
                    <a:pt x="0" y="98782"/>
                    <a:pt x="-181" y="97697"/>
                    <a:pt x="181" y="96793"/>
                  </a:cubicBezTo>
                  <a:cubicBezTo>
                    <a:pt x="543" y="95888"/>
                    <a:pt x="1447" y="95165"/>
                    <a:pt x="2351" y="94984"/>
                  </a:cubicBezTo>
                  <a:lnTo>
                    <a:pt x="926879" y="35"/>
                  </a:lnTo>
                  <a:cubicBezTo>
                    <a:pt x="927784" y="-145"/>
                    <a:pt x="928688" y="397"/>
                    <a:pt x="929230" y="940"/>
                  </a:cubicBezTo>
                  <a:cubicBezTo>
                    <a:pt x="929773" y="1663"/>
                    <a:pt x="929954" y="2567"/>
                    <a:pt x="929773" y="3472"/>
                  </a:cubicBezTo>
                  <a:lnTo>
                    <a:pt x="682183" y="817317"/>
                  </a:lnTo>
                  <a:cubicBezTo>
                    <a:pt x="681822" y="818221"/>
                    <a:pt x="681098" y="818945"/>
                    <a:pt x="680194" y="819125"/>
                  </a:cubicBezTo>
                  <a:cubicBezTo>
                    <a:pt x="679832" y="819487"/>
                    <a:pt x="679651" y="819487"/>
                    <a:pt x="679290" y="819487"/>
                  </a:cubicBezTo>
                  <a:close/>
                  <a:moveTo>
                    <a:pt x="8319" y="99867"/>
                  </a:moveTo>
                  <a:lnTo>
                    <a:pt x="678205" y="811529"/>
                  </a:lnTo>
                  <a:lnTo>
                    <a:pt x="923262" y="6004"/>
                  </a:lnTo>
                  <a:lnTo>
                    <a:pt x="8319" y="998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2" name="Google Shape;562;p21"/>
            <p:cNvSpPr/>
            <p:nvPr/>
          </p:nvSpPr>
          <p:spPr>
            <a:xfrm>
              <a:off x="10229741" y="6362415"/>
              <a:ext cx="545548" cy="361639"/>
            </a:xfrm>
            <a:custGeom>
              <a:avLst/>
              <a:gdLst/>
              <a:ahLst/>
              <a:cxnLst/>
              <a:rect l="l" t="t" r="r" b="b"/>
              <a:pathLst>
                <a:path w="545548" h="361639" extrusionOk="0">
                  <a:moveTo>
                    <a:pt x="153432" y="361639"/>
                  </a:moveTo>
                  <a:cubicBezTo>
                    <a:pt x="152528" y="361639"/>
                    <a:pt x="151986" y="361278"/>
                    <a:pt x="151443" y="360735"/>
                  </a:cubicBezTo>
                  <a:lnTo>
                    <a:pt x="610" y="174093"/>
                  </a:lnTo>
                  <a:cubicBezTo>
                    <a:pt x="68" y="173370"/>
                    <a:pt x="-113" y="172466"/>
                    <a:pt x="68" y="171562"/>
                  </a:cubicBezTo>
                  <a:cubicBezTo>
                    <a:pt x="249" y="170657"/>
                    <a:pt x="972" y="170115"/>
                    <a:pt x="1876" y="169753"/>
                  </a:cubicBezTo>
                  <a:lnTo>
                    <a:pt x="542089" y="111"/>
                  </a:lnTo>
                  <a:cubicBezTo>
                    <a:pt x="543355" y="-250"/>
                    <a:pt x="544621" y="293"/>
                    <a:pt x="545163" y="1378"/>
                  </a:cubicBezTo>
                  <a:cubicBezTo>
                    <a:pt x="545887" y="2463"/>
                    <a:pt x="545525" y="3909"/>
                    <a:pt x="544621" y="4633"/>
                  </a:cubicBezTo>
                  <a:lnTo>
                    <a:pt x="155241" y="360916"/>
                  </a:lnTo>
                  <a:cubicBezTo>
                    <a:pt x="154879" y="361459"/>
                    <a:pt x="154156" y="361639"/>
                    <a:pt x="153432" y="361639"/>
                  </a:cubicBezTo>
                  <a:close/>
                  <a:moveTo>
                    <a:pt x="7302" y="173551"/>
                  </a:moveTo>
                  <a:lnTo>
                    <a:pt x="153975" y="354948"/>
                  </a:lnTo>
                  <a:lnTo>
                    <a:pt x="532323" y="8793"/>
                  </a:lnTo>
                  <a:lnTo>
                    <a:pt x="7302" y="17355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3" name="Google Shape;563;p21"/>
            <p:cNvSpPr/>
            <p:nvPr/>
          </p:nvSpPr>
          <p:spPr>
            <a:xfrm>
              <a:off x="10229924" y="5718143"/>
              <a:ext cx="545612" cy="819270"/>
            </a:xfrm>
            <a:custGeom>
              <a:avLst/>
              <a:gdLst/>
              <a:ahLst/>
              <a:cxnLst/>
              <a:rect l="l" t="t" r="r" b="b"/>
              <a:pathLst>
                <a:path w="545612" h="819270" extrusionOk="0">
                  <a:moveTo>
                    <a:pt x="2416" y="819271"/>
                  </a:moveTo>
                  <a:cubicBezTo>
                    <a:pt x="1693" y="819271"/>
                    <a:pt x="1150" y="818909"/>
                    <a:pt x="788" y="818547"/>
                  </a:cubicBezTo>
                  <a:cubicBezTo>
                    <a:pt x="65" y="817824"/>
                    <a:pt x="-116" y="816738"/>
                    <a:pt x="65" y="815834"/>
                  </a:cubicBezTo>
                  <a:lnTo>
                    <a:pt x="247655" y="1989"/>
                  </a:lnTo>
                  <a:cubicBezTo>
                    <a:pt x="248017" y="904"/>
                    <a:pt x="248921" y="181"/>
                    <a:pt x="250006" y="0"/>
                  </a:cubicBezTo>
                  <a:cubicBezTo>
                    <a:pt x="251091" y="0"/>
                    <a:pt x="252176" y="543"/>
                    <a:pt x="252719" y="1628"/>
                  </a:cubicBezTo>
                  <a:lnTo>
                    <a:pt x="545341" y="646012"/>
                  </a:lnTo>
                  <a:cubicBezTo>
                    <a:pt x="545703" y="646735"/>
                    <a:pt x="545703" y="647459"/>
                    <a:pt x="545341" y="648182"/>
                  </a:cubicBezTo>
                  <a:cubicBezTo>
                    <a:pt x="544980" y="648906"/>
                    <a:pt x="544437" y="649448"/>
                    <a:pt x="543714" y="649629"/>
                  </a:cubicBezTo>
                  <a:lnTo>
                    <a:pt x="3501" y="819271"/>
                  </a:lnTo>
                  <a:cubicBezTo>
                    <a:pt x="3140" y="819271"/>
                    <a:pt x="2778" y="819271"/>
                    <a:pt x="2416" y="819271"/>
                  </a:cubicBezTo>
                  <a:close/>
                  <a:moveTo>
                    <a:pt x="250730" y="10128"/>
                  </a:moveTo>
                  <a:lnTo>
                    <a:pt x="6576" y="812398"/>
                  </a:lnTo>
                  <a:lnTo>
                    <a:pt x="539012" y="645289"/>
                  </a:lnTo>
                  <a:lnTo>
                    <a:pt x="250730" y="1012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4" name="Google Shape;564;p21"/>
            <p:cNvSpPr/>
            <p:nvPr/>
          </p:nvSpPr>
          <p:spPr>
            <a:xfrm>
              <a:off x="10770021" y="5886967"/>
              <a:ext cx="1132510" cy="480804"/>
            </a:xfrm>
            <a:custGeom>
              <a:avLst/>
              <a:gdLst/>
              <a:ahLst/>
              <a:cxnLst/>
              <a:rect l="l" t="t" r="r" b="b"/>
              <a:pathLst>
                <a:path w="1132510" h="480804" extrusionOk="0">
                  <a:moveTo>
                    <a:pt x="2532" y="480804"/>
                  </a:moveTo>
                  <a:cubicBezTo>
                    <a:pt x="1809" y="480804"/>
                    <a:pt x="1085" y="480443"/>
                    <a:pt x="723" y="479900"/>
                  </a:cubicBezTo>
                  <a:cubicBezTo>
                    <a:pt x="0" y="479177"/>
                    <a:pt x="-181" y="478092"/>
                    <a:pt x="181" y="477187"/>
                  </a:cubicBezTo>
                  <a:lnTo>
                    <a:pt x="179950" y="1721"/>
                  </a:lnTo>
                  <a:cubicBezTo>
                    <a:pt x="180493" y="455"/>
                    <a:pt x="181759" y="-269"/>
                    <a:pt x="183025" y="93"/>
                  </a:cubicBezTo>
                  <a:lnTo>
                    <a:pt x="1130341" y="214767"/>
                  </a:lnTo>
                  <a:cubicBezTo>
                    <a:pt x="1131607" y="215129"/>
                    <a:pt x="1132511" y="216214"/>
                    <a:pt x="1132511" y="217480"/>
                  </a:cubicBezTo>
                  <a:cubicBezTo>
                    <a:pt x="1132511" y="218746"/>
                    <a:pt x="1131607" y="219831"/>
                    <a:pt x="1130521" y="220193"/>
                  </a:cubicBezTo>
                  <a:lnTo>
                    <a:pt x="3617" y="480804"/>
                  </a:lnTo>
                  <a:cubicBezTo>
                    <a:pt x="3074" y="480804"/>
                    <a:pt x="2894" y="480804"/>
                    <a:pt x="2532" y="480804"/>
                  </a:cubicBezTo>
                  <a:close/>
                  <a:moveTo>
                    <a:pt x="184291" y="5700"/>
                  </a:moveTo>
                  <a:lnTo>
                    <a:pt x="7053" y="474293"/>
                  </a:lnTo>
                  <a:lnTo>
                    <a:pt x="1117681" y="217480"/>
                  </a:lnTo>
                  <a:lnTo>
                    <a:pt x="184291" y="570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5" name="Google Shape;565;p21"/>
            <p:cNvSpPr/>
            <p:nvPr/>
          </p:nvSpPr>
          <p:spPr>
            <a:xfrm>
              <a:off x="10950107" y="5682851"/>
              <a:ext cx="952637" cy="424309"/>
            </a:xfrm>
            <a:custGeom>
              <a:avLst/>
              <a:gdLst/>
              <a:ahLst/>
              <a:cxnLst/>
              <a:rect l="l" t="t" r="r" b="b"/>
              <a:pathLst>
                <a:path w="952637" h="424309" extrusionOk="0">
                  <a:moveTo>
                    <a:pt x="949531" y="424310"/>
                  </a:moveTo>
                  <a:cubicBezTo>
                    <a:pt x="949350" y="424310"/>
                    <a:pt x="949170" y="424310"/>
                    <a:pt x="949170" y="424310"/>
                  </a:cubicBezTo>
                  <a:lnTo>
                    <a:pt x="2035" y="209454"/>
                  </a:lnTo>
                  <a:cubicBezTo>
                    <a:pt x="949" y="209274"/>
                    <a:pt x="226" y="208369"/>
                    <a:pt x="45" y="207465"/>
                  </a:cubicBezTo>
                  <a:cubicBezTo>
                    <a:pt x="-136" y="206380"/>
                    <a:pt x="226" y="205295"/>
                    <a:pt x="1130" y="204752"/>
                  </a:cubicBezTo>
                  <a:lnTo>
                    <a:pt x="274763" y="568"/>
                  </a:lnTo>
                  <a:cubicBezTo>
                    <a:pt x="275667" y="-156"/>
                    <a:pt x="276933" y="-156"/>
                    <a:pt x="277838" y="387"/>
                  </a:cubicBezTo>
                  <a:lnTo>
                    <a:pt x="951340" y="419426"/>
                  </a:lnTo>
                  <a:cubicBezTo>
                    <a:pt x="952425" y="420150"/>
                    <a:pt x="952967" y="421597"/>
                    <a:pt x="952425" y="422682"/>
                  </a:cubicBezTo>
                  <a:cubicBezTo>
                    <a:pt x="951702" y="423767"/>
                    <a:pt x="950617" y="424310"/>
                    <a:pt x="949531" y="424310"/>
                  </a:cubicBezTo>
                  <a:close/>
                  <a:moveTo>
                    <a:pt x="8726" y="205295"/>
                  </a:moveTo>
                  <a:lnTo>
                    <a:pt x="934520" y="415448"/>
                  </a:lnTo>
                  <a:lnTo>
                    <a:pt x="276210" y="5812"/>
                  </a:lnTo>
                  <a:lnTo>
                    <a:pt x="8726" y="20529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6" name="Google Shape;566;p21"/>
            <p:cNvSpPr/>
            <p:nvPr/>
          </p:nvSpPr>
          <p:spPr>
            <a:xfrm>
              <a:off x="11223569" y="5526728"/>
              <a:ext cx="678816" cy="580432"/>
            </a:xfrm>
            <a:custGeom>
              <a:avLst/>
              <a:gdLst/>
              <a:ahLst/>
              <a:cxnLst/>
              <a:rect l="l" t="t" r="r" b="b"/>
              <a:pathLst>
                <a:path w="678816" h="580432" extrusionOk="0">
                  <a:moveTo>
                    <a:pt x="676069" y="580433"/>
                  </a:moveTo>
                  <a:cubicBezTo>
                    <a:pt x="675707" y="580433"/>
                    <a:pt x="675165" y="580252"/>
                    <a:pt x="674803" y="580071"/>
                  </a:cubicBezTo>
                  <a:lnTo>
                    <a:pt x="1300" y="161031"/>
                  </a:lnTo>
                  <a:cubicBezTo>
                    <a:pt x="396" y="160489"/>
                    <a:pt x="-146" y="159404"/>
                    <a:pt x="35" y="158319"/>
                  </a:cubicBezTo>
                  <a:cubicBezTo>
                    <a:pt x="215" y="157234"/>
                    <a:pt x="939" y="156329"/>
                    <a:pt x="2024" y="156148"/>
                  </a:cubicBezTo>
                  <a:lnTo>
                    <a:pt x="615844" y="71"/>
                  </a:lnTo>
                  <a:cubicBezTo>
                    <a:pt x="616568" y="-110"/>
                    <a:pt x="617472" y="71"/>
                    <a:pt x="618014" y="433"/>
                  </a:cubicBezTo>
                  <a:cubicBezTo>
                    <a:pt x="618738" y="794"/>
                    <a:pt x="619100" y="1518"/>
                    <a:pt x="619100" y="2422"/>
                  </a:cubicBezTo>
                  <a:lnTo>
                    <a:pt x="678782" y="577720"/>
                  </a:lnTo>
                  <a:cubicBezTo>
                    <a:pt x="678962" y="578805"/>
                    <a:pt x="678420" y="579710"/>
                    <a:pt x="677515" y="580252"/>
                  </a:cubicBezTo>
                  <a:cubicBezTo>
                    <a:pt x="677154" y="580252"/>
                    <a:pt x="676611" y="580433"/>
                    <a:pt x="676069" y="580433"/>
                  </a:cubicBezTo>
                  <a:close/>
                  <a:moveTo>
                    <a:pt x="9439" y="159585"/>
                  </a:moveTo>
                  <a:lnTo>
                    <a:pt x="672994" y="572475"/>
                  </a:lnTo>
                  <a:lnTo>
                    <a:pt x="614216" y="5858"/>
                  </a:lnTo>
                  <a:lnTo>
                    <a:pt x="9439" y="1595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7" name="Google Shape;567;p21"/>
            <p:cNvSpPr/>
            <p:nvPr/>
          </p:nvSpPr>
          <p:spPr>
            <a:xfrm>
              <a:off x="12312393" y="4298293"/>
              <a:ext cx="496810" cy="478321"/>
            </a:xfrm>
            <a:custGeom>
              <a:avLst/>
              <a:gdLst/>
              <a:ahLst/>
              <a:cxnLst/>
              <a:rect l="l" t="t" r="r" b="b"/>
              <a:pathLst>
                <a:path w="496810" h="478321" extrusionOk="0">
                  <a:moveTo>
                    <a:pt x="409229" y="478321"/>
                  </a:moveTo>
                  <a:cubicBezTo>
                    <a:pt x="408505" y="478321"/>
                    <a:pt x="407782" y="477960"/>
                    <a:pt x="407420" y="477417"/>
                  </a:cubicBezTo>
                  <a:lnTo>
                    <a:pt x="678" y="4483"/>
                  </a:lnTo>
                  <a:cubicBezTo>
                    <a:pt x="-226" y="3398"/>
                    <a:pt x="-226" y="1951"/>
                    <a:pt x="678" y="866"/>
                  </a:cubicBezTo>
                  <a:cubicBezTo>
                    <a:pt x="1583" y="-219"/>
                    <a:pt x="3210" y="-219"/>
                    <a:pt x="4295" y="504"/>
                  </a:cubicBezTo>
                  <a:lnTo>
                    <a:pt x="495677" y="362394"/>
                  </a:lnTo>
                  <a:cubicBezTo>
                    <a:pt x="496220" y="362755"/>
                    <a:pt x="496581" y="363479"/>
                    <a:pt x="496762" y="364202"/>
                  </a:cubicBezTo>
                  <a:cubicBezTo>
                    <a:pt x="496943" y="364926"/>
                    <a:pt x="496581" y="365649"/>
                    <a:pt x="496220" y="366192"/>
                  </a:cubicBezTo>
                  <a:lnTo>
                    <a:pt x="411760" y="477056"/>
                  </a:lnTo>
                  <a:cubicBezTo>
                    <a:pt x="411218" y="477779"/>
                    <a:pt x="410495" y="478141"/>
                    <a:pt x="409771" y="478141"/>
                  </a:cubicBezTo>
                  <a:cubicBezTo>
                    <a:pt x="409410" y="478321"/>
                    <a:pt x="409229" y="478321"/>
                    <a:pt x="409229" y="478321"/>
                  </a:cubicBezTo>
                  <a:close/>
                  <a:moveTo>
                    <a:pt x="20030" y="18951"/>
                  </a:moveTo>
                  <a:lnTo>
                    <a:pt x="409229" y="471268"/>
                  </a:lnTo>
                  <a:lnTo>
                    <a:pt x="490071" y="365107"/>
                  </a:lnTo>
                  <a:lnTo>
                    <a:pt x="20030" y="1895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8" name="Google Shape;568;p21"/>
            <p:cNvSpPr/>
            <p:nvPr/>
          </p:nvSpPr>
          <p:spPr>
            <a:xfrm>
              <a:off x="10380595" y="6362367"/>
              <a:ext cx="1550807" cy="921793"/>
            </a:xfrm>
            <a:custGeom>
              <a:avLst/>
              <a:gdLst/>
              <a:ahLst/>
              <a:cxnLst/>
              <a:rect l="l" t="t" r="r" b="b"/>
              <a:pathLst>
                <a:path w="1550807" h="921793" extrusionOk="0">
                  <a:moveTo>
                    <a:pt x="1547980" y="921794"/>
                  </a:moveTo>
                  <a:cubicBezTo>
                    <a:pt x="1547799" y="921794"/>
                    <a:pt x="1547437" y="921794"/>
                    <a:pt x="1547256" y="921614"/>
                  </a:cubicBezTo>
                  <a:lnTo>
                    <a:pt x="1855" y="361507"/>
                  </a:lnTo>
                  <a:cubicBezTo>
                    <a:pt x="950" y="361145"/>
                    <a:pt x="227" y="360422"/>
                    <a:pt x="46" y="359518"/>
                  </a:cubicBezTo>
                  <a:cubicBezTo>
                    <a:pt x="-135" y="358614"/>
                    <a:pt x="227" y="357710"/>
                    <a:pt x="950" y="356986"/>
                  </a:cubicBezTo>
                  <a:lnTo>
                    <a:pt x="390330" y="702"/>
                  </a:lnTo>
                  <a:cubicBezTo>
                    <a:pt x="391234" y="-202"/>
                    <a:pt x="392862" y="-202"/>
                    <a:pt x="393766" y="522"/>
                  </a:cubicBezTo>
                  <a:lnTo>
                    <a:pt x="1549788" y="916911"/>
                  </a:lnTo>
                  <a:cubicBezTo>
                    <a:pt x="1550873" y="917815"/>
                    <a:pt x="1551054" y="919262"/>
                    <a:pt x="1550512" y="920347"/>
                  </a:cubicBezTo>
                  <a:cubicBezTo>
                    <a:pt x="1549969" y="921251"/>
                    <a:pt x="1549065" y="921794"/>
                    <a:pt x="1547980" y="921794"/>
                  </a:cubicBezTo>
                  <a:close/>
                  <a:moveTo>
                    <a:pt x="7823" y="357890"/>
                  </a:moveTo>
                  <a:lnTo>
                    <a:pt x="1533511" y="910762"/>
                  </a:lnTo>
                  <a:lnTo>
                    <a:pt x="392320" y="6128"/>
                  </a:lnTo>
                  <a:lnTo>
                    <a:pt x="7823" y="35789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9" name="Google Shape;569;p21"/>
            <p:cNvSpPr/>
            <p:nvPr/>
          </p:nvSpPr>
          <p:spPr>
            <a:xfrm>
              <a:off x="10770087" y="6101848"/>
              <a:ext cx="1161381" cy="1182312"/>
            </a:xfrm>
            <a:custGeom>
              <a:avLst/>
              <a:gdLst/>
              <a:ahLst/>
              <a:cxnLst/>
              <a:rect l="l" t="t" r="r" b="b"/>
              <a:pathLst>
                <a:path w="1161381" h="1182312" extrusionOk="0">
                  <a:moveTo>
                    <a:pt x="1158488" y="1182313"/>
                  </a:moveTo>
                  <a:cubicBezTo>
                    <a:pt x="1157946" y="1182313"/>
                    <a:pt x="1157403" y="1182133"/>
                    <a:pt x="1157041" y="1181770"/>
                  </a:cubicBezTo>
                  <a:lnTo>
                    <a:pt x="1019" y="265381"/>
                  </a:lnTo>
                  <a:cubicBezTo>
                    <a:pt x="296" y="264658"/>
                    <a:pt x="-246" y="263754"/>
                    <a:pt x="115" y="262669"/>
                  </a:cubicBezTo>
                  <a:cubicBezTo>
                    <a:pt x="296" y="261584"/>
                    <a:pt x="1200" y="260860"/>
                    <a:pt x="2104" y="260679"/>
                  </a:cubicBezTo>
                  <a:lnTo>
                    <a:pt x="1129009" y="68"/>
                  </a:lnTo>
                  <a:cubicBezTo>
                    <a:pt x="1129732" y="-113"/>
                    <a:pt x="1130637" y="68"/>
                    <a:pt x="1131179" y="610"/>
                  </a:cubicBezTo>
                  <a:cubicBezTo>
                    <a:pt x="1131903" y="1153"/>
                    <a:pt x="1132264" y="1876"/>
                    <a:pt x="1132264" y="2600"/>
                  </a:cubicBezTo>
                  <a:lnTo>
                    <a:pt x="1161382" y="1179600"/>
                  </a:lnTo>
                  <a:cubicBezTo>
                    <a:pt x="1161382" y="1180685"/>
                    <a:pt x="1160839" y="1181590"/>
                    <a:pt x="1159935" y="1182133"/>
                  </a:cubicBezTo>
                  <a:cubicBezTo>
                    <a:pt x="1159393" y="1182133"/>
                    <a:pt x="1159031" y="1182313"/>
                    <a:pt x="1158488" y="1182313"/>
                  </a:cubicBezTo>
                  <a:close/>
                  <a:moveTo>
                    <a:pt x="8796" y="264658"/>
                  </a:moveTo>
                  <a:lnTo>
                    <a:pt x="1155956" y="1173994"/>
                  </a:lnTo>
                  <a:lnTo>
                    <a:pt x="1127200" y="6036"/>
                  </a:lnTo>
                  <a:lnTo>
                    <a:pt x="8796" y="26465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0" name="Google Shape;570;p21"/>
            <p:cNvSpPr/>
            <p:nvPr/>
          </p:nvSpPr>
          <p:spPr>
            <a:xfrm>
              <a:off x="11896925" y="6101882"/>
              <a:ext cx="411469" cy="1182279"/>
            </a:xfrm>
            <a:custGeom>
              <a:avLst/>
              <a:gdLst/>
              <a:ahLst/>
              <a:cxnLst/>
              <a:rect l="l" t="t" r="r" b="b"/>
              <a:pathLst>
                <a:path w="411469" h="1182279" extrusionOk="0">
                  <a:moveTo>
                    <a:pt x="31650" y="1182279"/>
                  </a:moveTo>
                  <a:cubicBezTo>
                    <a:pt x="31288" y="1182279"/>
                    <a:pt x="30745" y="1182099"/>
                    <a:pt x="30384" y="1181918"/>
                  </a:cubicBezTo>
                  <a:cubicBezTo>
                    <a:pt x="29660" y="1181375"/>
                    <a:pt x="29118" y="1180651"/>
                    <a:pt x="29118" y="1179747"/>
                  </a:cubicBezTo>
                  <a:lnTo>
                    <a:pt x="0" y="2747"/>
                  </a:lnTo>
                  <a:cubicBezTo>
                    <a:pt x="0" y="1481"/>
                    <a:pt x="904" y="395"/>
                    <a:pt x="2170" y="34"/>
                  </a:cubicBezTo>
                  <a:cubicBezTo>
                    <a:pt x="3436" y="-147"/>
                    <a:pt x="4702" y="395"/>
                    <a:pt x="5245" y="1662"/>
                  </a:cubicBezTo>
                  <a:lnTo>
                    <a:pt x="411263" y="1013542"/>
                  </a:lnTo>
                  <a:cubicBezTo>
                    <a:pt x="411806" y="1014808"/>
                    <a:pt x="411263" y="1016436"/>
                    <a:pt x="409816" y="1016978"/>
                  </a:cubicBezTo>
                  <a:lnTo>
                    <a:pt x="32916" y="1182099"/>
                  </a:lnTo>
                  <a:cubicBezTo>
                    <a:pt x="32554" y="1182099"/>
                    <a:pt x="32011" y="1182279"/>
                    <a:pt x="31650" y="1182279"/>
                  </a:cubicBezTo>
                  <a:close/>
                  <a:moveTo>
                    <a:pt x="5787" y="17396"/>
                  </a:moveTo>
                  <a:lnTo>
                    <a:pt x="34363" y="1175407"/>
                  </a:lnTo>
                  <a:lnTo>
                    <a:pt x="405295" y="1013000"/>
                  </a:lnTo>
                  <a:lnTo>
                    <a:pt x="5787" y="173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1" name="Google Shape;571;p21"/>
            <p:cNvSpPr/>
            <p:nvPr/>
          </p:nvSpPr>
          <p:spPr>
            <a:xfrm>
              <a:off x="11667166" y="1647290"/>
              <a:ext cx="1578979" cy="908612"/>
            </a:xfrm>
            <a:custGeom>
              <a:avLst/>
              <a:gdLst/>
              <a:ahLst/>
              <a:cxnLst/>
              <a:rect l="l" t="t" r="r" b="b"/>
              <a:pathLst>
                <a:path w="1578979" h="908612" extrusionOk="0">
                  <a:moveTo>
                    <a:pt x="1087733" y="908613"/>
                  </a:moveTo>
                  <a:cubicBezTo>
                    <a:pt x="1087191" y="908613"/>
                    <a:pt x="1086648" y="908432"/>
                    <a:pt x="1086106" y="908070"/>
                  </a:cubicBezTo>
                  <a:lnTo>
                    <a:pt x="978" y="4883"/>
                  </a:lnTo>
                  <a:cubicBezTo>
                    <a:pt x="74" y="4160"/>
                    <a:pt x="-288" y="2894"/>
                    <a:pt x="255" y="1809"/>
                  </a:cubicBezTo>
                  <a:cubicBezTo>
                    <a:pt x="617" y="723"/>
                    <a:pt x="1702" y="0"/>
                    <a:pt x="2787" y="0"/>
                  </a:cubicBezTo>
                  <a:lnTo>
                    <a:pt x="1576221" y="42320"/>
                  </a:lnTo>
                  <a:cubicBezTo>
                    <a:pt x="1577125" y="42501"/>
                    <a:pt x="1578029" y="42863"/>
                    <a:pt x="1578572" y="43767"/>
                  </a:cubicBezTo>
                  <a:cubicBezTo>
                    <a:pt x="1579115" y="44671"/>
                    <a:pt x="1579115" y="45575"/>
                    <a:pt x="1578572" y="46480"/>
                  </a:cubicBezTo>
                  <a:lnTo>
                    <a:pt x="1090446" y="907166"/>
                  </a:lnTo>
                  <a:cubicBezTo>
                    <a:pt x="1090084" y="907889"/>
                    <a:pt x="1089361" y="908251"/>
                    <a:pt x="1088637" y="908432"/>
                  </a:cubicBezTo>
                  <a:cubicBezTo>
                    <a:pt x="1088276" y="908613"/>
                    <a:pt x="1087914" y="908613"/>
                    <a:pt x="1087733" y="908613"/>
                  </a:cubicBezTo>
                  <a:close/>
                  <a:moveTo>
                    <a:pt x="10383" y="5606"/>
                  </a:moveTo>
                  <a:lnTo>
                    <a:pt x="1087191" y="901559"/>
                  </a:lnTo>
                  <a:lnTo>
                    <a:pt x="1571519" y="47746"/>
                  </a:lnTo>
                  <a:lnTo>
                    <a:pt x="10383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2" name="Google Shape;572;p21"/>
            <p:cNvSpPr/>
            <p:nvPr/>
          </p:nvSpPr>
          <p:spPr>
            <a:xfrm>
              <a:off x="11418169" y="3220227"/>
              <a:ext cx="800128" cy="326757"/>
            </a:xfrm>
            <a:custGeom>
              <a:avLst/>
              <a:gdLst/>
              <a:ahLst/>
              <a:cxnLst/>
              <a:rect l="l" t="t" r="r" b="b"/>
              <a:pathLst>
                <a:path w="800128" h="326757" extrusionOk="0">
                  <a:moveTo>
                    <a:pt x="797241" y="326758"/>
                  </a:moveTo>
                  <a:cubicBezTo>
                    <a:pt x="797241" y="326758"/>
                    <a:pt x="797060" y="326758"/>
                    <a:pt x="797241" y="326758"/>
                  </a:cubicBezTo>
                  <a:lnTo>
                    <a:pt x="2385" y="231809"/>
                  </a:lnTo>
                  <a:cubicBezTo>
                    <a:pt x="1300" y="231628"/>
                    <a:pt x="215" y="230724"/>
                    <a:pt x="34" y="229639"/>
                  </a:cubicBezTo>
                  <a:cubicBezTo>
                    <a:pt x="-147" y="228554"/>
                    <a:pt x="396" y="227288"/>
                    <a:pt x="1481" y="226745"/>
                  </a:cubicBezTo>
                  <a:lnTo>
                    <a:pt x="431011" y="315"/>
                  </a:lnTo>
                  <a:cubicBezTo>
                    <a:pt x="431915" y="-227"/>
                    <a:pt x="433181" y="-46"/>
                    <a:pt x="434085" y="677"/>
                  </a:cubicBezTo>
                  <a:lnTo>
                    <a:pt x="799230" y="322056"/>
                  </a:lnTo>
                  <a:cubicBezTo>
                    <a:pt x="800134" y="322779"/>
                    <a:pt x="800315" y="324045"/>
                    <a:pt x="799954" y="325130"/>
                  </a:cubicBezTo>
                  <a:cubicBezTo>
                    <a:pt x="799411" y="326215"/>
                    <a:pt x="798326" y="326758"/>
                    <a:pt x="797241" y="326758"/>
                  </a:cubicBezTo>
                  <a:close/>
                  <a:moveTo>
                    <a:pt x="11609" y="227469"/>
                  </a:moveTo>
                  <a:lnTo>
                    <a:pt x="789284" y="320428"/>
                  </a:lnTo>
                  <a:lnTo>
                    <a:pt x="431734" y="5922"/>
                  </a:lnTo>
                  <a:lnTo>
                    <a:pt x="11609" y="22746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3" name="Google Shape;573;p21"/>
            <p:cNvSpPr/>
            <p:nvPr/>
          </p:nvSpPr>
          <p:spPr>
            <a:xfrm>
              <a:off x="7789351" y="5740322"/>
              <a:ext cx="391984" cy="486563"/>
            </a:xfrm>
            <a:custGeom>
              <a:avLst/>
              <a:gdLst/>
              <a:ahLst/>
              <a:cxnLst/>
              <a:rect l="l" t="t" r="r" b="b"/>
              <a:pathLst>
                <a:path w="391984" h="486563" extrusionOk="0">
                  <a:moveTo>
                    <a:pt x="294981" y="486564"/>
                  </a:moveTo>
                  <a:cubicBezTo>
                    <a:pt x="294258" y="486564"/>
                    <a:pt x="293534" y="486202"/>
                    <a:pt x="292992" y="485478"/>
                  </a:cubicBezTo>
                  <a:lnTo>
                    <a:pt x="550" y="99897"/>
                  </a:lnTo>
                  <a:cubicBezTo>
                    <a:pt x="7" y="99173"/>
                    <a:pt x="-174" y="98269"/>
                    <a:pt x="188" y="97365"/>
                  </a:cubicBezTo>
                  <a:cubicBezTo>
                    <a:pt x="550" y="96461"/>
                    <a:pt x="1273" y="95918"/>
                    <a:pt x="1997" y="95556"/>
                  </a:cubicBezTo>
                  <a:lnTo>
                    <a:pt x="388664" y="65"/>
                  </a:lnTo>
                  <a:cubicBezTo>
                    <a:pt x="389568" y="-116"/>
                    <a:pt x="390472" y="65"/>
                    <a:pt x="391196" y="788"/>
                  </a:cubicBezTo>
                  <a:cubicBezTo>
                    <a:pt x="391919" y="1512"/>
                    <a:pt x="392100" y="2416"/>
                    <a:pt x="391919" y="3320"/>
                  </a:cubicBezTo>
                  <a:lnTo>
                    <a:pt x="297513" y="484393"/>
                  </a:lnTo>
                  <a:cubicBezTo>
                    <a:pt x="297332" y="485478"/>
                    <a:pt x="296428" y="486202"/>
                    <a:pt x="295524" y="486564"/>
                  </a:cubicBezTo>
                  <a:cubicBezTo>
                    <a:pt x="295524" y="486564"/>
                    <a:pt x="295162" y="486564"/>
                    <a:pt x="294981" y="486564"/>
                  </a:cubicBezTo>
                  <a:close/>
                  <a:moveTo>
                    <a:pt x="7422" y="99897"/>
                  </a:moveTo>
                  <a:lnTo>
                    <a:pt x="293715" y="477521"/>
                  </a:lnTo>
                  <a:lnTo>
                    <a:pt x="386132" y="6395"/>
                  </a:lnTo>
                  <a:lnTo>
                    <a:pt x="7422" y="998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4" name="Google Shape;574;p21"/>
            <p:cNvSpPr/>
            <p:nvPr/>
          </p:nvSpPr>
          <p:spPr>
            <a:xfrm>
              <a:off x="7789358" y="5296887"/>
              <a:ext cx="392092" cy="544417"/>
            </a:xfrm>
            <a:custGeom>
              <a:avLst/>
              <a:gdLst/>
              <a:ahLst/>
              <a:cxnLst/>
              <a:rect l="l" t="t" r="r" b="b"/>
              <a:pathLst>
                <a:path w="392092" h="544417" extrusionOk="0">
                  <a:moveTo>
                    <a:pt x="2532" y="544417"/>
                  </a:moveTo>
                  <a:cubicBezTo>
                    <a:pt x="1809" y="544417"/>
                    <a:pt x="904" y="543875"/>
                    <a:pt x="543" y="543332"/>
                  </a:cubicBezTo>
                  <a:cubicBezTo>
                    <a:pt x="-181" y="542428"/>
                    <a:pt x="-181" y="541162"/>
                    <a:pt x="543" y="540258"/>
                  </a:cubicBezTo>
                  <a:lnTo>
                    <a:pt x="361890" y="1130"/>
                  </a:lnTo>
                  <a:cubicBezTo>
                    <a:pt x="362613" y="226"/>
                    <a:pt x="363698" y="-136"/>
                    <a:pt x="364784" y="45"/>
                  </a:cubicBezTo>
                  <a:cubicBezTo>
                    <a:pt x="365869" y="407"/>
                    <a:pt x="366773" y="1311"/>
                    <a:pt x="366773" y="2577"/>
                  </a:cubicBezTo>
                  <a:lnTo>
                    <a:pt x="392093" y="446213"/>
                  </a:lnTo>
                  <a:cubicBezTo>
                    <a:pt x="392093" y="447479"/>
                    <a:pt x="391369" y="448745"/>
                    <a:pt x="390103" y="448926"/>
                  </a:cubicBezTo>
                  <a:lnTo>
                    <a:pt x="3436" y="544417"/>
                  </a:lnTo>
                  <a:cubicBezTo>
                    <a:pt x="3075" y="544417"/>
                    <a:pt x="2894" y="544417"/>
                    <a:pt x="2532" y="544417"/>
                  </a:cubicBezTo>
                  <a:close/>
                  <a:moveTo>
                    <a:pt x="361890" y="10716"/>
                  </a:moveTo>
                  <a:lnTo>
                    <a:pt x="8862" y="537364"/>
                  </a:lnTo>
                  <a:lnTo>
                    <a:pt x="386667" y="444043"/>
                  </a:lnTo>
                  <a:lnTo>
                    <a:pt x="361890" y="1071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5" name="Google Shape;575;p21"/>
            <p:cNvSpPr/>
            <p:nvPr/>
          </p:nvSpPr>
          <p:spPr>
            <a:xfrm>
              <a:off x="11223604" y="5365565"/>
              <a:ext cx="619269" cy="322445"/>
            </a:xfrm>
            <a:custGeom>
              <a:avLst/>
              <a:gdLst/>
              <a:ahLst/>
              <a:cxnLst/>
              <a:rect l="l" t="t" r="r" b="b"/>
              <a:pathLst>
                <a:path w="619269" h="322445" extrusionOk="0">
                  <a:moveTo>
                    <a:pt x="2532" y="322375"/>
                  </a:moveTo>
                  <a:cubicBezTo>
                    <a:pt x="1808" y="322375"/>
                    <a:pt x="1266" y="322013"/>
                    <a:pt x="723" y="321471"/>
                  </a:cubicBezTo>
                  <a:cubicBezTo>
                    <a:pt x="0" y="320747"/>
                    <a:pt x="-181" y="319662"/>
                    <a:pt x="181" y="318758"/>
                  </a:cubicBezTo>
                  <a:lnTo>
                    <a:pt x="100917" y="1901"/>
                  </a:lnTo>
                  <a:cubicBezTo>
                    <a:pt x="101278" y="454"/>
                    <a:pt x="102906" y="-270"/>
                    <a:pt x="104353" y="92"/>
                  </a:cubicBezTo>
                  <a:lnTo>
                    <a:pt x="617437" y="160691"/>
                  </a:lnTo>
                  <a:cubicBezTo>
                    <a:pt x="618522" y="161053"/>
                    <a:pt x="619427" y="162138"/>
                    <a:pt x="619246" y="163404"/>
                  </a:cubicBezTo>
                  <a:cubicBezTo>
                    <a:pt x="619246" y="164670"/>
                    <a:pt x="618342" y="165574"/>
                    <a:pt x="617257" y="165936"/>
                  </a:cubicBezTo>
                  <a:lnTo>
                    <a:pt x="3436" y="322013"/>
                  </a:lnTo>
                  <a:cubicBezTo>
                    <a:pt x="3074" y="322375"/>
                    <a:pt x="2713" y="322556"/>
                    <a:pt x="2532" y="322375"/>
                  </a:cubicBezTo>
                  <a:close/>
                  <a:moveTo>
                    <a:pt x="105076" y="6241"/>
                  </a:moveTo>
                  <a:lnTo>
                    <a:pt x="6511" y="315864"/>
                  </a:lnTo>
                  <a:lnTo>
                    <a:pt x="606405" y="163223"/>
                  </a:lnTo>
                  <a:lnTo>
                    <a:pt x="105076" y="6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6" name="Google Shape;576;p21"/>
            <p:cNvSpPr/>
            <p:nvPr/>
          </p:nvSpPr>
          <p:spPr>
            <a:xfrm>
              <a:off x="11389267" y="4298327"/>
              <a:ext cx="928173" cy="363625"/>
            </a:xfrm>
            <a:custGeom>
              <a:avLst/>
              <a:gdLst/>
              <a:ahLst/>
              <a:cxnLst/>
              <a:rect l="l" t="t" r="r" b="b"/>
              <a:pathLst>
                <a:path w="928173" h="363625" extrusionOk="0">
                  <a:moveTo>
                    <a:pt x="204185" y="363626"/>
                  </a:moveTo>
                  <a:cubicBezTo>
                    <a:pt x="204004" y="363626"/>
                    <a:pt x="203823" y="363626"/>
                    <a:pt x="203461" y="363445"/>
                  </a:cubicBezTo>
                  <a:lnTo>
                    <a:pt x="1808" y="296348"/>
                  </a:lnTo>
                  <a:cubicBezTo>
                    <a:pt x="723" y="295986"/>
                    <a:pt x="0" y="294901"/>
                    <a:pt x="0" y="293816"/>
                  </a:cubicBezTo>
                  <a:cubicBezTo>
                    <a:pt x="0" y="292731"/>
                    <a:pt x="723" y="291646"/>
                    <a:pt x="1808" y="291284"/>
                  </a:cubicBezTo>
                  <a:lnTo>
                    <a:pt x="924709" y="109"/>
                  </a:lnTo>
                  <a:cubicBezTo>
                    <a:pt x="926156" y="-253"/>
                    <a:pt x="927422" y="289"/>
                    <a:pt x="927964" y="1736"/>
                  </a:cubicBezTo>
                  <a:cubicBezTo>
                    <a:pt x="928507" y="3002"/>
                    <a:pt x="927964" y="4449"/>
                    <a:pt x="926699" y="5172"/>
                  </a:cubicBezTo>
                  <a:lnTo>
                    <a:pt x="205270" y="363445"/>
                  </a:lnTo>
                  <a:cubicBezTo>
                    <a:pt x="205089" y="363626"/>
                    <a:pt x="204546" y="363626"/>
                    <a:pt x="204185" y="363626"/>
                  </a:cubicBezTo>
                  <a:close/>
                  <a:moveTo>
                    <a:pt x="11394" y="293997"/>
                  </a:moveTo>
                  <a:lnTo>
                    <a:pt x="204004" y="358019"/>
                  </a:lnTo>
                  <a:lnTo>
                    <a:pt x="893421" y="15662"/>
                  </a:lnTo>
                  <a:lnTo>
                    <a:pt x="11394" y="2939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7" name="Google Shape;577;p21"/>
            <p:cNvSpPr/>
            <p:nvPr/>
          </p:nvSpPr>
          <p:spPr>
            <a:xfrm>
              <a:off x="10409171" y="5271606"/>
              <a:ext cx="269818" cy="451816"/>
            </a:xfrm>
            <a:custGeom>
              <a:avLst/>
              <a:gdLst/>
              <a:ahLst/>
              <a:cxnLst/>
              <a:rect l="l" t="t" r="r" b="b"/>
              <a:pathLst>
                <a:path w="269818" h="451816" extrusionOk="0">
                  <a:moveTo>
                    <a:pt x="70759" y="451782"/>
                  </a:moveTo>
                  <a:cubicBezTo>
                    <a:pt x="70578" y="451782"/>
                    <a:pt x="70578" y="451782"/>
                    <a:pt x="70398" y="451782"/>
                  </a:cubicBezTo>
                  <a:cubicBezTo>
                    <a:pt x="69313" y="451601"/>
                    <a:pt x="68408" y="450697"/>
                    <a:pt x="68228" y="449612"/>
                  </a:cubicBezTo>
                  <a:lnTo>
                    <a:pt x="45" y="3082"/>
                  </a:lnTo>
                  <a:cubicBezTo>
                    <a:pt x="-136" y="2178"/>
                    <a:pt x="226" y="1093"/>
                    <a:pt x="1130" y="550"/>
                  </a:cubicBezTo>
                  <a:cubicBezTo>
                    <a:pt x="1854" y="7"/>
                    <a:pt x="2939" y="-174"/>
                    <a:pt x="3843" y="188"/>
                  </a:cubicBezTo>
                  <a:lnTo>
                    <a:pt x="268253" y="112318"/>
                  </a:lnTo>
                  <a:cubicBezTo>
                    <a:pt x="268976" y="112680"/>
                    <a:pt x="269518" y="113222"/>
                    <a:pt x="269699" y="113946"/>
                  </a:cubicBezTo>
                  <a:cubicBezTo>
                    <a:pt x="269880" y="114669"/>
                    <a:pt x="269880" y="115392"/>
                    <a:pt x="269518" y="116116"/>
                  </a:cubicBezTo>
                  <a:lnTo>
                    <a:pt x="73291" y="450516"/>
                  </a:lnTo>
                  <a:cubicBezTo>
                    <a:pt x="72749" y="451420"/>
                    <a:pt x="71845" y="451962"/>
                    <a:pt x="70759" y="451782"/>
                  </a:cubicBezTo>
                  <a:close/>
                  <a:moveTo>
                    <a:pt x="6194" y="7061"/>
                  </a:moveTo>
                  <a:lnTo>
                    <a:pt x="72387" y="441292"/>
                  </a:lnTo>
                  <a:lnTo>
                    <a:pt x="263369" y="116116"/>
                  </a:lnTo>
                  <a:lnTo>
                    <a:pt x="6194" y="706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8" name="Google Shape;578;p21"/>
            <p:cNvSpPr/>
            <p:nvPr/>
          </p:nvSpPr>
          <p:spPr>
            <a:xfrm>
              <a:off x="10477563" y="5383743"/>
              <a:ext cx="477787" cy="508562"/>
            </a:xfrm>
            <a:custGeom>
              <a:avLst/>
              <a:gdLst/>
              <a:ahLst/>
              <a:cxnLst/>
              <a:rect l="l" t="t" r="r" b="b"/>
              <a:pathLst>
                <a:path w="477787" h="508562" extrusionOk="0">
                  <a:moveTo>
                    <a:pt x="474940" y="508563"/>
                  </a:moveTo>
                  <a:cubicBezTo>
                    <a:pt x="474759" y="508563"/>
                    <a:pt x="474398" y="508563"/>
                    <a:pt x="474217" y="508382"/>
                  </a:cubicBezTo>
                  <a:lnTo>
                    <a:pt x="1825" y="339645"/>
                  </a:lnTo>
                  <a:cubicBezTo>
                    <a:pt x="1101" y="339464"/>
                    <a:pt x="559" y="338740"/>
                    <a:pt x="197" y="338017"/>
                  </a:cubicBezTo>
                  <a:cubicBezTo>
                    <a:pt x="-164" y="337293"/>
                    <a:pt x="16" y="336389"/>
                    <a:pt x="378" y="335666"/>
                  </a:cubicBezTo>
                  <a:lnTo>
                    <a:pt x="196605" y="1266"/>
                  </a:lnTo>
                  <a:cubicBezTo>
                    <a:pt x="197148" y="362"/>
                    <a:pt x="198052" y="0"/>
                    <a:pt x="198956" y="0"/>
                  </a:cubicBezTo>
                  <a:cubicBezTo>
                    <a:pt x="199861" y="0"/>
                    <a:pt x="200765" y="543"/>
                    <a:pt x="201307" y="1447"/>
                  </a:cubicBezTo>
                  <a:lnTo>
                    <a:pt x="477472" y="504584"/>
                  </a:lnTo>
                  <a:cubicBezTo>
                    <a:pt x="478015" y="505488"/>
                    <a:pt x="477834" y="506754"/>
                    <a:pt x="477111" y="507659"/>
                  </a:cubicBezTo>
                  <a:cubicBezTo>
                    <a:pt x="476568" y="508201"/>
                    <a:pt x="475664" y="508563"/>
                    <a:pt x="474940" y="508563"/>
                  </a:cubicBezTo>
                  <a:close/>
                  <a:moveTo>
                    <a:pt x="6527" y="335485"/>
                  </a:moveTo>
                  <a:lnTo>
                    <a:pt x="469153" y="500786"/>
                  </a:lnTo>
                  <a:lnTo>
                    <a:pt x="198775" y="7958"/>
                  </a:lnTo>
                  <a:lnTo>
                    <a:pt x="6527" y="3354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9" name="Google Shape;579;p21"/>
            <p:cNvSpPr/>
            <p:nvPr/>
          </p:nvSpPr>
          <p:spPr>
            <a:xfrm>
              <a:off x="10673852" y="5383799"/>
              <a:ext cx="555177" cy="508505"/>
            </a:xfrm>
            <a:custGeom>
              <a:avLst/>
              <a:gdLst/>
              <a:ahLst/>
              <a:cxnLst/>
              <a:rect l="l" t="t" r="r" b="b"/>
              <a:pathLst>
                <a:path w="555177" h="508505" extrusionOk="0">
                  <a:moveTo>
                    <a:pt x="278651" y="508506"/>
                  </a:moveTo>
                  <a:cubicBezTo>
                    <a:pt x="278470" y="508506"/>
                    <a:pt x="278470" y="508506"/>
                    <a:pt x="278289" y="508506"/>
                  </a:cubicBezTo>
                  <a:cubicBezTo>
                    <a:pt x="277565" y="508325"/>
                    <a:pt x="276842" y="507783"/>
                    <a:pt x="276480" y="507240"/>
                  </a:cubicBezTo>
                  <a:lnTo>
                    <a:pt x="315" y="4103"/>
                  </a:lnTo>
                  <a:cubicBezTo>
                    <a:pt x="-227" y="3018"/>
                    <a:pt x="-46" y="1752"/>
                    <a:pt x="677" y="848"/>
                  </a:cubicBezTo>
                  <a:cubicBezTo>
                    <a:pt x="1582" y="-57"/>
                    <a:pt x="2847" y="-237"/>
                    <a:pt x="3933" y="305"/>
                  </a:cubicBezTo>
                  <a:lnTo>
                    <a:pt x="553730" y="299258"/>
                  </a:lnTo>
                  <a:cubicBezTo>
                    <a:pt x="554635" y="299619"/>
                    <a:pt x="554996" y="300523"/>
                    <a:pt x="555177" y="301428"/>
                  </a:cubicBezTo>
                  <a:cubicBezTo>
                    <a:pt x="555177" y="302332"/>
                    <a:pt x="554815" y="303236"/>
                    <a:pt x="554092" y="303779"/>
                  </a:cubicBezTo>
                  <a:lnTo>
                    <a:pt x="280459" y="507963"/>
                  </a:lnTo>
                  <a:cubicBezTo>
                    <a:pt x="279917" y="508325"/>
                    <a:pt x="279193" y="508506"/>
                    <a:pt x="278651" y="508506"/>
                  </a:cubicBezTo>
                  <a:close/>
                  <a:moveTo>
                    <a:pt x="9358" y="9348"/>
                  </a:moveTo>
                  <a:lnTo>
                    <a:pt x="279555" y="501814"/>
                  </a:lnTo>
                  <a:lnTo>
                    <a:pt x="547400" y="301970"/>
                  </a:lnTo>
                  <a:lnTo>
                    <a:pt x="9358" y="93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0" name="Google Shape;580;p21"/>
            <p:cNvSpPr/>
            <p:nvPr/>
          </p:nvSpPr>
          <p:spPr>
            <a:xfrm>
              <a:off x="10673876" y="5365657"/>
              <a:ext cx="655897" cy="322353"/>
            </a:xfrm>
            <a:custGeom>
              <a:avLst/>
              <a:gdLst/>
              <a:ahLst/>
              <a:cxnLst/>
              <a:rect l="l" t="t" r="r" b="b"/>
              <a:pathLst>
                <a:path w="655897" h="322353" extrusionOk="0">
                  <a:moveTo>
                    <a:pt x="552260" y="322283"/>
                  </a:moveTo>
                  <a:cubicBezTo>
                    <a:pt x="551899" y="322283"/>
                    <a:pt x="551537" y="322102"/>
                    <a:pt x="551175" y="321921"/>
                  </a:cubicBezTo>
                  <a:lnTo>
                    <a:pt x="1377" y="22969"/>
                  </a:lnTo>
                  <a:cubicBezTo>
                    <a:pt x="292" y="22426"/>
                    <a:pt x="-250" y="21160"/>
                    <a:pt x="112" y="19894"/>
                  </a:cubicBezTo>
                  <a:cubicBezTo>
                    <a:pt x="473" y="18628"/>
                    <a:pt x="1377" y="17905"/>
                    <a:pt x="2644" y="17905"/>
                  </a:cubicBezTo>
                  <a:lnTo>
                    <a:pt x="653177" y="0"/>
                  </a:lnTo>
                  <a:cubicBezTo>
                    <a:pt x="654082" y="0"/>
                    <a:pt x="654805" y="362"/>
                    <a:pt x="655347" y="1085"/>
                  </a:cubicBezTo>
                  <a:cubicBezTo>
                    <a:pt x="655890" y="1809"/>
                    <a:pt x="656071" y="2713"/>
                    <a:pt x="655709" y="3436"/>
                  </a:cubicBezTo>
                  <a:lnTo>
                    <a:pt x="554973" y="320293"/>
                  </a:lnTo>
                  <a:cubicBezTo>
                    <a:pt x="554792" y="321017"/>
                    <a:pt x="554250" y="321740"/>
                    <a:pt x="553346" y="321921"/>
                  </a:cubicBezTo>
                  <a:cubicBezTo>
                    <a:pt x="552984" y="322283"/>
                    <a:pt x="552622" y="322463"/>
                    <a:pt x="552260" y="322283"/>
                  </a:cubicBezTo>
                  <a:close/>
                  <a:moveTo>
                    <a:pt x="12771" y="23149"/>
                  </a:moveTo>
                  <a:lnTo>
                    <a:pt x="550814" y="315772"/>
                  </a:lnTo>
                  <a:lnTo>
                    <a:pt x="649379" y="5606"/>
                  </a:lnTo>
                  <a:lnTo>
                    <a:pt x="12771" y="231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1" name="Google Shape;581;p21"/>
            <p:cNvSpPr/>
            <p:nvPr/>
          </p:nvSpPr>
          <p:spPr>
            <a:xfrm>
              <a:off x="8150705" y="5296786"/>
              <a:ext cx="365687" cy="449027"/>
            </a:xfrm>
            <a:custGeom>
              <a:avLst/>
              <a:gdLst/>
              <a:ahLst/>
              <a:cxnLst/>
              <a:rect l="l" t="t" r="r" b="b"/>
              <a:pathLst>
                <a:path w="365687" h="449027" extrusionOk="0">
                  <a:moveTo>
                    <a:pt x="27852" y="449028"/>
                  </a:moveTo>
                  <a:cubicBezTo>
                    <a:pt x="27490" y="449028"/>
                    <a:pt x="27128" y="448847"/>
                    <a:pt x="26767" y="448666"/>
                  </a:cubicBezTo>
                  <a:cubicBezTo>
                    <a:pt x="26043" y="448123"/>
                    <a:pt x="25501" y="447400"/>
                    <a:pt x="25320" y="446496"/>
                  </a:cubicBezTo>
                  <a:lnTo>
                    <a:pt x="0" y="2860"/>
                  </a:lnTo>
                  <a:cubicBezTo>
                    <a:pt x="0" y="1774"/>
                    <a:pt x="543" y="870"/>
                    <a:pt x="1447" y="328"/>
                  </a:cubicBezTo>
                  <a:cubicBezTo>
                    <a:pt x="2351" y="-215"/>
                    <a:pt x="3436" y="-34"/>
                    <a:pt x="4341" y="508"/>
                  </a:cubicBezTo>
                  <a:lnTo>
                    <a:pt x="364603" y="265460"/>
                  </a:lnTo>
                  <a:cubicBezTo>
                    <a:pt x="365326" y="266003"/>
                    <a:pt x="365688" y="266907"/>
                    <a:pt x="365688" y="267811"/>
                  </a:cubicBezTo>
                  <a:cubicBezTo>
                    <a:pt x="365688" y="268716"/>
                    <a:pt x="365145" y="269620"/>
                    <a:pt x="364241" y="269981"/>
                  </a:cubicBezTo>
                  <a:lnTo>
                    <a:pt x="29298" y="448666"/>
                  </a:lnTo>
                  <a:cubicBezTo>
                    <a:pt x="28937" y="448847"/>
                    <a:pt x="28394" y="449028"/>
                    <a:pt x="27852" y="449028"/>
                  </a:cubicBezTo>
                  <a:close/>
                  <a:moveTo>
                    <a:pt x="5607" y="8104"/>
                  </a:moveTo>
                  <a:lnTo>
                    <a:pt x="30384" y="441793"/>
                  </a:lnTo>
                  <a:lnTo>
                    <a:pt x="357730" y="267088"/>
                  </a:lnTo>
                  <a:lnTo>
                    <a:pt x="5607" y="810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2" name="Google Shape;582;p21"/>
            <p:cNvSpPr/>
            <p:nvPr/>
          </p:nvSpPr>
          <p:spPr>
            <a:xfrm>
              <a:off x="9671101" y="3931462"/>
              <a:ext cx="559634" cy="144884"/>
            </a:xfrm>
            <a:custGeom>
              <a:avLst/>
              <a:gdLst/>
              <a:ahLst/>
              <a:cxnLst/>
              <a:rect l="l" t="t" r="r" b="b"/>
              <a:pathLst>
                <a:path w="559634" h="144884" extrusionOk="0">
                  <a:moveTo>
                    <a:pt x="18134" y="144884"/>
                  </a:moveTo>
                  <a:cubicBezTo>
                    <a:pt x="17591" y="144884"/>
                    <a:pt x="17229" y="144703"/>
                    <a:pt x="16868" y="144522"/>
                  </a:cubicBezTo>
                  <a:cubicBezTo>
                    <a:pt x="16144" y="144161"/>
                    <a:pt x="15782" y="143437"/>
                    <a:pt x="15782" y="142714"/>
                  </a:cubicBezTo>
                  <a:lnTo>
                    <a:pt x="48" y="33840"/>
                  </a:lnTo>
                  <a:cubicBezTo>
                    <a:pt x="-133" y="33116"/>
                    <a:pt x="229" y="32393"/>
                    <a:pt x="591" y="31669"/>
                  </a:cubicBezTo>
                  <a:cubicBezTo>
                    <a:pt x="1133" y="31127"/>
                    <a:pt x="1857" y="30765"/>
                    <a:pt x="2580" y="30765"/>
                  </a:cubicBezTo>
                  <a:lnTo>
                    <a:pt x="556718" y="20"/>
                  </a:lnTo>
                  <a:cubicBezTo>
                    <a:pt x="558165" y="-161"/>
                    <a:pt x="559250" y="924"/>
                    <a:pt x="559612" y="2371"/>
                  </a:cubicBezTo>
                  <a:cubicBezTo>
                    <a:pt x="559793" y="3818"/>
                    <a:pt x="558889" y="5084"/>
                    <a:pt x="557623" y="5445"/>
                  </a:cubicBezTo>
                  <a:lnTo>
                    <a:pt x="19219" y="144884"/>
                  </a:lnTo>
                  <a:cubicBezTo>
                    <a:pt x="18676" y="144884"/>
                    <a:pt x="18495" y="144884"/>
                    <a:pt x="18134" y="144884"/>
                  </a:cubicBezTo>
                  <a:close/>
                  <a:moveTo>
                    <a:pt x="5655" y="35829"/>
                  </a:moveTo>
                  <a:lnTo>
                    <a:pt x="20665" y="138735"/>
                  </a:lnTo>
                  <a:lnTo>
                    <a:pt x="529952" y="6712"/>
                  </a:lnTo>
                  <a:lnTo>
                    <a:pt x="5655" y="3582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3" name="Google Shape;583;p21"/>
            <p:cNvSpPr/>
            <p:nvPr/>
          </p:nvSpPr>
          <p:spPr>
            <a:xfrm>
              <a:off x="7614788" y="4827769"/>
              <a:ext cx="755067" cy="291926"/>
            </a:xfrm>
            <a:custGeom>
              <a:avLst/>
              <a:gdLst/>
              <a:ahLst/>
              <a:cxnLst/>
              <a:rect l="l" t="t" r="r" b="b"/>
              <a:pathLst>
                <a:path w="755067" h="291926" extrusionOk="0">
                  <a:moveTo>
                    <a:pt x="287242" y="291927"/>
                  </a:moveTo>
                  <a:cubicBezTo>
                    <a:pt x="286700" y="291927"/>
                    <a:pt x="286338" y="291746"/>
                    <a:pt x="285795" y="291384"/>
                  </a:cubicBezTo>
                  <a:lnTo>
                    <a:pt x="1130" y="93891"/>
                  </a:lnTo>
                  <a:cubicBezTo>
                    <a:pt x="226" y="93348"/>
                    <a:pt x="-136" y="92083"/>
                    <a:pt x="45" y="90997"/>
                  </a:cubicBezTo>
                  <a:cubicBezTo>
                    <a:pt x="407" y="89912"/>
                    <a:pt x="1311" y="89189"/>
                    <a:pt x="2396" y="89008"/>
                  </a:cubicBezTo>
                  <a:lnTo>
                    <a:pt x="752038" y="27"/>
                  </a:lnTo>
                  <a:cubicBezTo>
                    <a:pt x="753304" y="-153"/>
                    <a:pt x="754570" y="570"/>
                    <a:pt x="754932" y="1836"/>
                  </a:cubicBezTo>
                  <a:cubicBezTo>
                    <a:pt x="755294" y="3102"/>
                    <a:pt x="754932" y="4368"/>
                    <a:pt x="753847" y="5091"/>
                  </a:cubicBezTo>
                  <a:lnTo>
                    <a:pt x="288689" y="291565"/>
                  </a:lnTo>
                  <a:cubicBezTo>
                    <a:pt x="288327" y="291746"/>
                    <a:pt x="287785" y="291927"/>
                    <a:pt x="287242" y="291927"/>
                  </a:cubicBezTo>
                  <a:close/>
                  <a:moveTo>
                    <a:pt x="9992" y="93529"/>
                  </a:moveTo>
                  <a:lnTo>
                    <a:pt x="287423" y="285959"/>
                  </a:lnTo>
                  <a:lnTo>
                    <a:pt x="740464" y="6719"/>
                  </a:lnTo>
                  <a:lnTo>
                    <a:pt x="9992" y="9352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4" name="Google Shape;584;p21"/>
            <p:cNvSpPr/>
            <p:nvPr/>
          </p:nvSpPr>
          <p:spPr>
            <a:xfrm>
              <a:off x="7789511" y="5114443"/>
              <a:ext cx="366634" cy="726861"/>
            </a:xfrm>
            <a:custGeom>
              <a:avLst/>
              <a:gdLst/>
              <a:ahLst/>
              <a:cxnLst/>
              <a:rect l="l" t="t" r="r" b="b"/>
              <a:pathLst>
                <a:path w="366634" h="726861" extrusionOk="0">
                  <a:moveTo>
                    <a:pt x="2379" y="726861"/>
                  </a:moveTo>
                  <a:cubicBezTo>
                    <a:pt x="2017" y="726861"/>
                    <a:pt x="1836" y="726861"/>
                    <a:pt x="1655" y="726680"/>
                  </a:cubicBezTo>
                  <a:cubicBezTo>
                    <a:pt x="570" y="726138"/>
                    <a:pt x="-153" y="725053"/>
                    <a:pt x="28" y="723787"/>
                  </a:cubicBezTo>
                  <a:lnTo>
                    <a:pt x="109987" y="2177"/>
                  </a:lnTo>
                  <a:cubicBezTo>
                    <a:pt x="110168" y="1273"/>
                    <a:pt x="110711" y="369"/>
                    <a:pt x="111615" y="188"/>
                  </a:cubicBezTo>
                  <a:cubicBezTo>
                    <a:pt x="112519" y="-173"/>
                    <a:pt x="113423" y="7"/>
                    <a:pt x="114328" y="550"/>
                  </a:cubicBezTo>
                  <a:lnTo>
                    <a:pt x="365535" y="183032"/>
                  </a:lnTo>
                  <a:cubicBezTo>
                    <a:pt x="366620" y="183936"/>
                    <a:pt x="366982" y="185564"/>
                    <a:pt x="366258" y="186649"/>
                  </a:cubicBezTo>
                  <a:lnTo>
                    <a:pt x="4911" y="725776"/>
                  </a:lnTo>
                  <a:cubicBezTo>
                    <a:pt x="4187" y="726500"/>
                    <a:pt x="3283" y="726861"/>
                    <a:pt x="2379" y="726861"/>
                  </a:cubicBezTo>
                  <a:close/>
                  <a:moveTo>
                    <a:pt x="114689" y="7241"/>
                  </a:moveTo>
                  <a:lnTo>
                    <a:pt x="7081" y="712574"/>
                  </a:lnTo>
                  <a:lnTo>
                    <a:pt x="360290" y="185564"/>
                  </a:lnTo>
                  <a:lnTo>
                    <a:pt x="114689" y="7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5" name="Google Shape;585;p21"/>
            <p:cNvSpPr/>
            <p:nvPr/>
          </p:nvSpPr>
          <p:spPr>
            <a:xfrm>
              <a:off x="7899498" y="4827409"/>
              <a:ext cx="470396" cy="474667"/>
            </a:xfrm>
            <a:custGeom>
              <a:avLst/>
              <a:gdLst/>
              <a:ahLst/>
              <a:cxnLst/>
              <a:rect l="l" t="t" r="r" b="b"/>
              <a:pathLst>
                <a:path w="470396" h="474667" extrusionOk="0">
                  <a:moveTo>
                    <a:pt x="253739" y="474587"/>
                  </a:moveTo>
                  <a:cubicBezTo>
                    <a:pt x="253196" y="474587"/>
                    <a:pt x="252835" y="474406"/>
                    <a:pt x="252292" y="474045"/>
                  </a:cubicBezTo>
                  <a:lnTo>
                    <a:pt x="1085" y="291562"/>
                  </a:lnTo>
                  <a:cubicBezTo>
                    <a:pt x="362" y="291020"/>
                    <a:pt x="0" y="290116"/>
                    <a:pt x="0" y="289211"/>
                  </a:cubicBezTo>
                  <a:cubicBezTo>
                    <a:pt x="0" y="288307"/>
                    <a:pt x="543" y="287584"/>
                    <a:pt x="1266" y="287041"/>
                  </a:cubicBezTo>
                  <a:lnTo>
                    <a:pt x="466243" y="387"/>
                  </a:lnTo>
                  <a:cubicBezTo>
                    <a:pt x="467147" y="-156"/>
                    <a:pt x="468594" y="-156"/>
                    <a:pt x="469498" y="568"/>
                  </a:cubicBezTo>
                  <a:cubicBezTo>
                    <a:pt x="470403" y="1291"/>
                    <a:pt x="470583" y="2557"/>
                    <a:pt x="470222" y="3642"/>
                  </a:cubicBezTo>
                  <a:lnTo>
                    <a:pt x="256271" y="473140"/>
                  </a:lnTo>
                  <a:cubicBezTo>
                    <a:pt x="255909" y="473864"/>
                    <a:pt x="255367" y="474406"/>
                    <a:pt x="254462" y="474587"/>
                  </a:cubicBezTo>
                  <a:cubicBezTo>
                    <a:pt x="254281" y="474587"/>
                    <a:pt x="253920" y="474768"/>
                    <a:pt x="253739" y="474587"/>
                  </a:cubicBezTo>
                  <a:close/>
                  <a:moveTo>
                    <a:pt x="7415" y="289754"/>
                  </a:moveTo>
                  <a:lnTo>
                    <a:pt x="252835" y="467896"/>
                  </a:lnTo>
                  <a:lnTo>
                    <a:pt x="461541" y="9972"/>
                  </a:lnTo>
                  <a:lnTo>
                    <a:pt x="7415" y="2897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6" name="Google Shape;586;p21"/>
            <p:cNvSpPr/>
            <p:nvPr/>
          </p:nvSpPr>
          <p:spPr>
            <a:xfrm>
              <a:off x="8150453" y="4827912"/>
              <a:ext cx="796909" cy="534490"/>
            </a:xfrm>
            <a:custGeom>
              <a:avLst/>
              <a:gdLst/>
              <a:ahLst/>
              <a:cxnLst/>
              <a:rect l="l" t="t" r="r" b="b"/>
              <a:pathLst>
                <a:path w="796909" h="534490" extrusionOk="0">
                  <a:moveTo>
                    <a:pt x="794022" y="534490"/>
                  </a:moveTo>
                  <a:cubicBezTo>
                    <a:pt x="794022" y="534490"/>
                    <a:pt x="794022" y="534490"/>
                    <a:pt x="794022" y="534490"/>
                  </a:cubicBezTo>
                  <a:lnTo>
                    <a:pt x="2603" y="474266"/>
                  </a:lnTo>
                  <a:cubicBezTo>
                    <a:pt x="1699" y="474266"/>
                    <a:pt x="975" y="473723"/>
                    <a:pt x="433" y="473000"/>
                  </a:cubicBezTo>
                  <a:cubicBezTo>
                    <a:pt x="-110" y="472276"/>
                    <a:pt x="-110" y="471372"/>
                    <a:pt x="252" y="470468"/>
                  </a:cubicBezTo>
                  <a:lnTo>
                    <a:pt x="214022" y="1512"/>
                  </a:lnTo>
                  <a:cubicBezTo>
                    <a:pt x="214384" y="789"/>
                    <a:pt x="215107" y="246"/>
                    <a:pt x="216011" y="65"/>
                  </a:cubicBezTo>
                  <a:cubicBezTo>
                    <a:pt x="216916" y="-116"/>
                    <a:pt x="217639" y="65"/>
                    <a:pt x="218363" y="789"/>
                  </a:cubicBezTo>
                  <a:lnTo>
                    <a:pt x="796012" y="530150"/>
                  </a:lnTo>
                  <a:cubicBezTo>
                    <a:pt x="796916" y="530873"/>
                    <a:pt x="797097" y="532139"/>
                    <a:pt x="796735" y="533224"/>
                  </a:cubicBezTo>
                  <a:cubicBezTo>
                    <a:pt x="796193" y="533947"/>
                    <a:pt x="795288" y="534490"/>
                    <a:pt x="794022" y="534490"/>
                  </a:cubicBezTo>
                  <a:close/>
                  <a:moveTo>
                    <a:pt x="6944" y="469021"/>
                  </a:moveTo>
                  <a:lnTo>
                    <a:pt x="786607" y="528341"/>
                  </a:lnTo>
                  <a:lnTo>
                    <a:pt x="217458" y="6757"/>
                  </a:lnTo>
                  <a:lnTo>
                    <a:pt x="6944" y="46902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7" name="Google Shape;587;p21"/>
            <p:cNvSpPr/>
            <p:nvPr/>
          </p:nvSpPr>
          <p:spPr>
            <a:xfrm>
              <a:off x="8150747" y="5296752"/>
              <a:ext cx="796475" cy="270377"/>
            </a:xfrm>
            <a:custGeom>
              <a:avLst/>
              <a:gdLst/>
              <a:ahLst/>
              <a:cxnLst/>
              <a:rect l="l" t="t" r="r" b="b"/>
              <a:pathLst>
                <a:path w="796475" h="270377" extrusionOk="0">
                  <a:moveTo>
                    <a:pt x="362752" y="270377"/>
                  </a:moveTo>
                  <a:cubicBezTo>
                    <a:pt x="362209" y="270377"/>
                    <a:pt x="361667" y="270197"/>
                    <a:pt x="361305" y="269835"/>
                  </a:cubicBezTo>
                  <a:lnTo>
                    <a:pt x="1043" y="4883"/>
                  </a:lnTo>
                  <a:cubicBezTo>
                    <a:pt x="139" y="4160"/>
                    <a:pt x="-223" y="2894"/>
                    <a:pt x="139" y="1808"/>
                  </a:cubicBezTo>
                  <a:cubicBezTo>
                    <a:pt x="500" y="723"/>
                    <a:pt x="1585" y="0"/>
                    <a:pt x="2851" y="0"/>
                  </a:cubicBezTo>
                  <a:cubicBezTo>
                    <a:pt x="2851" y="0"/>
                    <a:pt x="2851" y="0"/>
                    <a:pt x="2851" y="0"/>
                  </a:cubicBezTo>
                  <a:lnTo>
                    <a:pt x="794090" y="60225"/>
                  </a:lnTo>
                  <a:cubicBezTo>
                    <a:pt x="795356" y="60225"/>
                    <a:pt x="796260" y="61129"/>
                    <a:pt x="796441" y="62395"/>
                  </a:cubicBezTo>
                  <a:cubicBezTo>
                    <a:pt x="796622" y="63661"/>
                    <a:pt x="796079" y="64746"/>
                    <a:pt x="794994" y="65288"/>
                  </a:cubicBezTo>
                  <a:lnTo>
                    <a:pt x="364018" y="270016"/>
                  </a:lnTo>
                  <a:cubicBezTo>
                    <a:pt x="363656" y="270197"/>
                    <a:pt x="363294" y="270377"/>
                    <a:pt x="362752" y="270377"/>
                  </a:cubicBezTo>
                  <a:close/>
                  <a:moveTo>
                    <a:pt x="11894" y="5968"/>
                  </a:moveTo>
                  <a:lnTo>
                    <a:pt x="363294" y="264409"/>
                  </a:lnTo>
                  <a:lnTo>
                    <a:pt x="783600" y="64746"/>
                  </a:lnTo>
                  <a:lnTo>
                    <a:pt x="11894" y="59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8" name="Google Shape;588;p21"/>
            <p:cNvSpPr/>
            <p:nvPr/>
          </p:nvSpPr>
          <p:spPr>
            <a:xfrm>
              <a:off x="8511329" y="5357083"/>
              <a:ext cx="436319" cy="298122"/>
            </a:xfrm>
            <a:custGeom>
              <a:avLst/>
              <a:gdLst/>
              <a:ahLst/>
              <a:cxnLst/>
              <a:rect l="l" t="t" r="r" b="b"/>
              <a:pathLst>
                <a:path w="436319" h="298122" extrusionOk="0">
                  <a:moveTo>
                    <a:pt x="228238" y="298122"/>
                  </a:moveTo>
                  <a:cubicBezTo>
                    <a:pt x="227877" y="298122"/>
                    <a:pt x="227696" y="298122"/>
                    <a:pt x="227515" y="297941"/>
                  </a:cubicBezTo>
                  <a:lnTo>
                    <a:pt x="1628" y="209865"/>
                  </a:lnTo>
                  <a:cubicBezTo>
                    <a:pt x="543" y="209504"/>
                    <a:pt x="0" y="208599"/>
                    <a:pt x="0" y="207514"/>
                  </a:cubicBezTo>
                  <a:cubicBezTo>
                    <a:pt x="0" y="206429"/>
                    <a:pt x="543" y="205525"/>
                    <a:pt x="1447" y="204982"/>
                  </a:cubicBezTo>
                  <a:lnTo>
                    <a:pt x="432423" y="255"/>
                  </a:lnTo>
                  <a:cubicBezTo>
                    <a:pt x="433508" y="-288"/>
                    <a:pt x="434774" y="74"/>
                    <a:pt x="435678" y="978"/>
                  </a:cubicBezTo>
                  <a:cubicBezTo>
                    <a:pt x="436402" y="1883"/>
                    <a:pt x="436583" y="3330"/>
                    <a:pt x="435859" y="4234"/>
                  </a:cubicBezTo>
                  <a:lnTo>
                    <a:pt x="230770" y="297037"/>
                  </a:lnTo>
                  <a:cubicBezTo>
                    <a:pt x="230047" y="297761"/>
                    <a:pt x="229143" y="298122"/>
                    <a:pt x="228238" y="298122"/>
                  </a:cubicBezTo>
                  <a:close/>
                  <a:moveTo>
                    <a:pt x="9224" y="206972"/>
                  </a:moveTo>
                  <a:lnTo>
                    <a:pt x="227334" y="291973"/>
                  </a:lnTo>
                  <a:lnTo>
                    <a:pt x="425370" y="9298"/>
                  </a:lnTo>
                  <a:lnTo>
                    <a:pt x="9224" y="20697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9" name="Google Shape;589;p21"/>
            <p:cNvSpPr/>
            <p:nvPr/>
          </p:nvSpPr>
          <p:spPr>
            <a:xfrm>
              <a:off x="8737010" y="5357121"/>
              <a:ext cx="850611" cy="298264"/>
            </a:xfrm>
            <a:custGeom>
              <a:avLst/>
              <a:gdLst/>
              <a:ahLst/>
              <a:cxnLst/>
              <a:rect l="l" t="t" r="r" b="b"/>
              <a:pathLst>
                <a:path w="850611" h="298264" extrusionOk="0">
                  <a:moveTo>
                    <a:pt x="2557" y="298084"/>
                  </a:moveTo>
                  <a:cubicBezTo>
                    <a:pt x="1653" y="298084"/>
                    <a:pt x="929" y="297541"/>
                    <a:pt x="387" y="296818"/>
                  </a:cubicBezTo>
                  <a:cubicBezTo>
                    <a:pt x="-156" y="295914"/>
                    <a:pt x="-156" y="294828"/>
                    <a:pt x="568" y="293924"/>
                  </a:cubicBezTo>
                  <a:lnTo>
                    <a:pt x="205657" y="1121"/>
                  </a:lnTo>
                  <a:cubicBezTo>
                    <a:pt x="206380" y="216"/>
                    <a:pt x="207646" y="-326"/>
                    <a:pt x="208731" y="216"/>
                  </a:cubicBezTo>
                  <a:lnTo>
                    <a:pt x="848775" y="229540"/>
                  </a:lnTo>
                  <a:cubicBezTo>
                    <a:pt x="850041" y="229902"/>
                    <a:pt x="850765" y="231168"/>
                    <a:pt x="850584" y="232434"/>
                  </a:cubicBezTo>
                  <a:cubicBezTo>
                    <a:pt x="850403" y="233700"/>
                    <a:pt x="849318" y="234604"/>
                    <a:pt x="848052" y="234785"/>
                  </a:cubicBezTo>
                  <a:lnTo>
                    <a:pt x="2919" y="298265"/>
                  </a:lnTo>
                  <a:cubicBezTo>
                    <a:pt x="2738" y="298084"/>
                    <a:pt x="2557" y="298084"/>
                    <a:pt x="2557" y="298084"/>
                  </a:cubicBezTo>
                  <a:close/>
                  <a:moveTo>
                    <a:pt x="208731" y="5823"/>
                  </a:moveTo>
                  <a:lnTo>
                    <a:pt x="8163" y="292297"/>
                  </a:lnTo>
                  <a:lnTo>
                    <a:pt x="835030" y="230263"/>
                  </a:lnTo>
                  <a:lnTo>
                    <a:pt x="208731" y="582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0" name="Google Shape;590;p21"/>
            <p:cNvSpPr/>
            <p:nvPr/>
          </p:nvSpPr>
          <p:spPr>
            <a:xfrm>
              <a:off x="8521999" y="5812894"/>
              <a:ext cx="1300768" cy="1081344"/>
            </a:xfrm>
            <a:custGeom>
              <a:avLst/>
              <a:gdLst/>
              <a:ahLst/>
              <a:cxnLst/>
              <a:rect l="l" t="t" r="r" b="b"/>
              <a:pathLst>
                <a:path w="1300768" h="1081344" extrusionOk="0">
                  <a:moveTo>
                    <a:pt x="1297993" y="1081345"/>
                  </a:moveTo>
                  <a:cubicBezTo>
                    <a:pt x="1297812" y="1081345"/>
                    <a:pt x="1297450" y="1081345"/>
                    <a:pt x="1297269" y="1081164"/>
                  </a:cubicBezTo>
                  <a:lnTo>
                    <a:pt x="1809" y="593400"/>
                  </a:lnTo>
                  <a:cubicBezTo>
                    <a:pt x="904" y="593038"/>
                    <a:pt x="181" y="592134"/>
                    <a:pt x="0" y="591049"/>
                  </a:cubicBezTo>
                  <a:cubicBezTo>
                    <a:pt x="0" y="589964"/>
                    <a:pt x="362" y="589059"/>
                    <a:pt x="1266" y="588516"/>
                  </a:cubicBezTo>
                  <a:lnTo>
                    <a:pt x="1032317" y="378"/>
                  </a:lnTo>
                  <a:cubicBezTo>
                    <a:pt x="1033041" y="16"/>
                    <a:pt x="1033945" y="-165"/>
                    <a:pt x="1034669" y="197"/>
                  </a:cubicBezTo>
                  <a:cubicBezTo>
                    <a:pt x="1035392" y="559"/>
                    <a:pt x="1035935" y="1282"/>
                    <a:pt x="1036296" y="2006"/>
                  </a:cubicBezTo>
                  <a:lnTo>
                    <a:pt x="1300706" y="1077909"/>
                  </a:lnTo>
                  <a:cubicBezTo>
                    <a:pt x="1300887" y="1078813"/>
                    <a:pt x="1300706" y="1079898"/>
                    <a:pt x="1299801" y="1080622"/>
                  </a:cubicBezTo>
                  <a:cubicBezTo>
                    <a:pt x="1299440" y="1081164"/>
                    <a:pt x="1298716" y="1081345"/>
                    <a:pt x="1297993" y="1081345"/>
                  </a:cubicBezTo>
                  <a:close/>
                  <a:moveTo>
                    <a:pt x="9043" y="590325"/>
                  </a:moveTo>
                  <a:lnTo>
                    <a:pt x="1294376" y="1074292"/>
                  </a:lnTo>
                  <a:lnTo>
                    <a:pt x="1031956" y="6889"/>
                  </a:lnTo>
                  <a:lnTo>
                    <a:pt x="9043" y="5903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1" name="Google Shape;591;p21"/>
            <p:cNvSpPr/>
            <p:nvPr/>
          </p:nvSpPr>
          <p:spPr>
            <a:xfrm>
              <a:off x="9552939" y="5812786"/>
              <a:ext cx="682113" cy="1081452"/>
            </a:xfrm>
            <a:custGeom>
              <a:avLst/>
              <a:gdLst/>
              <a:ahLst/>
              <a:cxnLst/>
              <a:rect l="l" t="t" r="r" b="b"/>
              <a:pathLst>
                <a:path w="682113" h="1081452" extrusionOk="0">
                  <a:moveTo>
                    <a:pt x="267053" y="1081453"/>
                  </a:moveTo>
                  <a:cubicBezTo>
                    <a:pt x="266872" y="1081453"/>
                    <a:pt x="266691" y="1081453"/>
                    <a:pt x="266329" y="1081272"/>
                  </a:cubicBezTo>
                  <a:cubicBezTo>
                    <a:pt x="265425" y="1080910"/>
                    <a:pt x="264702" y="1080187"/>
                    <a:pt x="264521" y="1079283"/>
                  </a:cubicBezTo>
                  <a:lnTo>
                    <a:pt x="112" y="3380"/>
                  </a:lnTo>
                  <a:cubicBezTo>
                    <a:pt x="-250" y="2114"/>
                    <a:pt x="292" y="1029"/>
                    <a:pt x="1378" y="305"/>
                  </a:cubicBezTo>
                  <a:cubicBezTo>
                    <a:pt x="2463" y="-237"/>
                    <a:pt x="3729" y="-57"/>
                    <a:pt x="4633" y="848"/>
                  </a:cubicBezTo>
                  <a:lnTo>
                    <a:pt x="681391" y="719925"/>
                  </a:lnTo>
                  <a:cubicBezTo>
                    <a:pt x="681933" y="720467"/>
                    <a:pt x="682114" y="721191"/>
                    <a:pt x="682114" y="721915"/>
                  </a:cubicBezTo>
                  <a:cubicBezTo>
                    <a:pt x="682114" y="722638"/>
                    <a:pt x="681752" y="723361"/>
                    <a:pt x="681210" y="723904"/>
                  </a:cubicBezTo>
                  <a:lnTo>
                    <a:pt x="268862" y="1080730"/>
                  </a:lnTo>
                  <a:cubicBezTo>
                    <a:pt x="268500" y="1081272"/>
                    <a:pt x="267776" y="1081453"/>
                    <a:pt x="267053" y="1081453"/>
                  </a:cubicBezTo>
                  <a:close/>
                  <a:moveTo>
                    <a:pt x="7888" y="12241"/>
                  </a:moveTo>
                  <a:lnTo>
                    <a:pt x="268862" y="1073857"/>
                  </a:lnTo>
                  <a:lnTo>
                    <a:pt x="675784" y="721734"/>
                  </a:lnTo>
                  <a:lnTo>
                    <a:pt x="7888" y="1224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2" name="Google Shape;592;p21"/>
            <p:cNvSpPr/>
            <p:nvPr/>
          </p:nvSpPr>
          <p:spPr>
            <a:xfrm>
              <a:off x="11837424" y="5519022"/>
              <a:ext cx="186167" cy="588138"/>
            </a:xfrm>
            <a:custGeom>
              <a:avLst/>
              <a:gdLst/>
              <a:ahLst/>
              <a:cxnLst/>
              <a:rect l="l" t="t" r="r" b="b"/>
              <a:pathLst>
                <a:path w="186167" h="588138" extrusionOk="0">
                  <a:moveTo>
                    <a:pt x="62214" y="588139"/>
                  </a:moveTo>
                  <a:cubicBezTo>
                    <a:pt x="60948" y="588139"/>
                    <a:pt x="59863" y="587054"/>
                    <a:pt x="59682" y="585788"/>
                  </a:cubicBezTo>
                  <a:lnTo>
                    <a:pt x="0" y="10490"/>
                  </a:lnTo>
                  <a:cubicBezTo>
                    <a:pt x="0" y="9766"/>
                    <a:pt x="181" y="9043"/>
                    <a:pt x="723" y="8500"/>
                  </a:cubicBezTo>
                  <a:cubicBezTo>
                    <a:pt x="1266" y="7958"/>
                    <a:pt x="1989" y="7596"/>
                    <a:pt x="2713" y="7596"/>
                  </a:cubicBezTo>
                  <a:lnTo>
                    <a:pt x="183386" y="0"/>
                  </a:lnTo>
                  <a:cubicBezTo>
                    <a:pt x="184291" y="0"/>
                    <a:pt x="185014" y="362"/>
                    <a:pt x="185557" y="904"/>
                  </a:cubicBezTo>
                  <a:cubicBezTo>
                    <a:pt x="186099" y="1628"/>
                    <a:pt x="186280" y="2351"/>
                    <a:pt x="186099" y="3256"/>
                  </a:cubicBezTo>
                  <a:lnTo>
                    <a:pt x="65107" y="586149"/>
                  </a:lnTo>
                  <a:cubicBezTo>
                    <a:pt x="64746" y="587234"/>
                    <a:pt x="63480" y="588139"/>
                    <a:pt x="62214" y="588139"/>
                  </a:cubicBezTo>
                  <a:cubicBezTo>
                    <a:pt x="62214" y="588139"/>
                    <a:pt x="62214" y="588139"/>
                    <a:pt x="62214" y="588139"/>
                  </a:cubicBezTo>
                  <a:close/>
                  <a:moveTo>
                    <a:pt x="5606" y="12660"/>
                  </a:moveTo>
                  <a:lnTo>
                    <a:pt x="63299" y="567883"/>
                  </a:lnTo>
                  <a:lnTo>
                    <a:pt x="180131" y="5426"/>
                  </a:lnTo>
                  <a:lnTo>
                    <a:pt x="5606" y="1266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3" name="Google Shape;593;p21"/>
            <p:cNvSpPr/>
            <p:nvPr/>
          </p:nvSpPr>
          <p:spPr>
            <a:xfrm>
              <a:off x="11897219" y="5518880"/>
              <a:ext cx="646079" cy="588280"/>
            </a:xfrm>
            <a:custGeom>
              <a:avLst/>
              <a:gdLst/>
              <a:ahLst/>
              <a:cxnLst/>
              <a:rect l="l" t="t" r="r" b="b"/>
              <a:pathLst>
                <a:path w="646079" h="588280" extrusionOk="0">
                  <a:moveTo>
                    <a:pt x="2419" y="588281"/>
                  </a:moveTo>
                  <a:cubicBezTo>
                    <a:pt x="1695" y="588281"/>
                    <a:pt x="972" y="587919"/>
                    <a:pt x="610" y="587376"/>
                  </a:cubicBezTo>
                  <a:cubicBezTo>
                    <a:pt x="68" y="586653"/>
                    <a:pt x="-113" y="585929"/>
                    <a:pt x="68" y="585025"/>
                  </a:cubicBezTo>
                  <a:lnTo>
                    <a:pt x="121059" y="2131"/>
                  </a:lnTo>
                  <a:cubicBezTo>
                    <a:pt x="121240" y="1227"/>
                    <a:pt x="121964" y="323"/>
                    <a:pt x="123049" y="142"/>
                  </a:cubicBezTo>
                  <a:cubicBezTo>
                    <a:pt x="123953" y="-220"/>
                    <a:pt x="125038" y="142"/>
                    <a:pt x="125762" y="865"/>
                  </a:cubicBezTo>
                  <a:lnTo>
                    <a:pt x="645357" y="543609"/>
                  </a:lnTo>
                  <a:cubicBezTo>
                    <a:pt x="646080" y="544333"/>
                    <a:pt x="646261" y="545418"/>
                    <a:pt x="645899" y="546503"/>
                  </a:cubicBezTo>
                  <a:cubicBezTo>
                    <a:pt x="645537" y="547408"/>
                    <a:pt x="644633" y="548131"/>
                    <a:pt x="643548" y="548131"/>
                  </a:cubicBezTo>
                  <a:lnTo>
                    <a:pt x="2600" y="588281"/>
                  </a:lnTo>
                  <a:cubicBezTo>
                    <a:pt x="2600" y="588281"/>
                    <a:pt x="2419" y="588281"/>
                    <a:pt x="2419" y="588281"/>
                  </a:cubicBezTo>
                  <a:close/>
                  <a:moveTo>
                    <a:pt x="125038" y="8280"/>
                  </a:moveTo>
                  <a:lnTo>
                    <a:pt x="5855" y="582674"/>
                  </a:lnTo>
                  <a:lnTo>
                    <a:pt x="637037" y="543067"/>
                  </a:lnTo>
                  <a:lnTo>
                    <a:pt x="125038" y="828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4" name="Google Shape;594;p21"/>
            <p:cNvSpPr/>
            <p:nvPr/>
          </p:nvSpPr>
          <p:spPr>
            <a:xfrm>
              <a:off x="12017917" y="5518841"/>
              <a:ext cx="524867" cy="548169"/>
            </a:xfrm>
            <a:custGeom>
              <a:avLst/>
              <a:gdLst/>
              <a:ahLst/>
              <a:cxnLst/>
              <a:rect l="l" t="t" r="r" b="b"/>
              <a:pathLst>
                <a:path w="524867" h="548169" extrusionOk="0">
                  <a:moveTo>
                    <a:pt x="522127" y="548170"/>
                  </a:moveTo>
                  <a:cubicBezTo>
                    <a:pt x="521403" y="548170"/>
                    <a:pt x="520861" y="547808"/>
                    <a:pt x="520318" y="547265"/>
                  </a:cubicBezTo>
                  <a:lnTo>
                    <a:pt x="723" y="4521"/>
                  </a:lnTo>
                  <a:cubicBezTo>
                    <a:pt x="0" y="3798"/>
                    <a:pt x="-181" y="2532"/>
                    <a:pt x="181" y="1447"/>
                  </a:cubicBezTo>
                  <a:cubicBezTo>
                    <a:pt x="723" y="362"/>
                    <a:pt x="1809" y="0"/>
                    <a:pt x="2894" y="0"/>
                  </a:cubicBezTo>
                  <a:lnTo>
                    <a:pt x="457924" y="40511"/>
                  </a:lnTo>
                  <a:cubicBezTo>
                    <a:pt x="459190" y="40692"/>
                    <a:pt x="460275" y="41597"/>
                    <a:pt x="460275" y="42862"/>
                  </a:cubicBezTo>
                  <a:lnTo>
                    <a:pt x="524840" y="545095"/>
                  </a:lnTo>
                  <a:cubicBezTo>
                    <a:pt x="525021" y="546180"/>
                    <a:pt x="524297" y="547446"/>
                    <a:pt x="523393" y="547808"/>
                  </a:cubicBezTo>
                  <a:cubicBezTo>
                    <a:pt x="523031" y="548170"/>
                    <a:pt x="522669" y="548170"/>
                    <a:pt x="522127" y="548170"/>
                  </a:cubicBezTo>
                  <a:close/>
                  <a:moveTo>
                    <a:pt x="9766" y="5968"/>
                  </a:moveTo>
                  <a:lnTo>
                    <a:pt x="518691" y="537680"/>
                  </a:lnTo>
                  <a:lnTo>
                    <a:pt x="455573" y="45756"/>
                  </a:lnTo>
                  <a:lnTo>
                    <a:pt x="9766" y="59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5" name="Google Shape;595;p21"/>
            <p:cNvSpPr/>
            <p:nvPr/>
          </p:nvSpPr>
          <p:spPr>
            <a:xfrm>
              <a:off x="12312147" y="4224077"/>
              <a:ext cx="453714" cy="81954"/>
            </a:xfrm>
            <a:custGeom>
              <a:avLst/>
              <a:gdLst/>
              <a:ahLst/>
              <a:cxnLst/>
              <a:rect l="l" t="t" r="r" b="b"/>
              <a:pathLst>
                <a:path w="453714" h="81954" extrusionOk="0">
                  <a:moveTo>
                    <a:pt x="2552" y="79603"/>
                  </a:moveTo>
                  <a:cubicBezTo>
                    <a:pt x="1286" y="79603"/>
                    <a:pt x="201" y="78518"/>
                    <a:pt x="20" y="77071"/>
                  </a:cubicBezTo>
                  <a:cubicBezTo>
                    <a:pt x="-161" y="75625"/>
                    <a:pt x="924" y="74359"/>
                    <a:pt x="2190" y="74178"/>
                  </a:cubicBezTo>
                  <a:lnTo>
                    <a:pt x="450528" y="28"/>
                  </a:lnTo>
                  <a:cubicBezTo>
                    <a:pt x="451794" y="-153"/>
                    <a:pt x="453061" y="570"/>
                    <a:pt x="453603" y="1836"/>
                  </a:cubicBezTo>
                  <a:cubicBezTo>
                    <a:pt x="453965" y="3102"/>
                    <a:pt x="453422" y="4549"/>
                    <a:pt x="452337" y="5091"/>
                  </a:cubicBezTo>
                  <a:lnTo>
                    <a:pt x="304217" y="81593"/>
                  </a:lnTo>
                  <a:cubicBezTo>
                    <a:pt x="303856" y="81774"/>
                    <a:pt x="303313" y="81955"/>
                    <a:pt x="302951" y="81955"/>
                  </a:cubicBezTo>
                  <a:lnTo>
                    <a:pt x="2552" y="79603"/>
                  </a:lnTo>
                  <a:cubicBezTo>
                    <a:pt x="2733" y="79603"/>
                    <a:pt x="2733" y="79603"/>
                    <a:pt x="2552" y="79603"/>
                  </a:cubicBezTo>
                  <a:close/>
                  <a:moveTo>
                    <a:pt x="434613" y="8166"/>
                  </a:moveTo>
                  <a:lnTo>
                    <a:pt x="34020" y="74539"/>
                  </a:lnTo>
                  <a:lnTo>
                    <a:pt x="302408" y="76710"/>
                  </a:lnTo>
                  <a:lnTo>
                    <a:pt x="434613" y="816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6" name="Google Shape;596;p21"/>
            <p:cNvSpPr/>
            <p:nvPr/>
          </p:nvSpPr>
          <p:spPr>
            <a:xfrm>
              <a:off x="12312209" y="4298254"/>
              <a:ext cx="496708" cy="367380"/>
            </a:xfrm>
            <a:custGeom>
              <a:avLst/>
              <a:gdLst/>
              <a:ahLst/>
              <a:cxnLst/>
              <a:rect l="l" t="t" r="r" b="b"/>
              <a:pathLst>
                <a:path w="496708" h="367380" extrusionOk="0">
                  <a:moveTo>
                    <a:pt x="493871" y="367315"/>
                  </a:moveTo>
                  <a:cubicBezTo>
                    <a:pt x="493329" y="367315"/>
                    <a:pt x="492786" y="367135"/>
                    <a:pt x="492425" y="366773"/>
                  </a:cubicBezTo>
                  <a:lnTo>
                    <a:pt x="1043" y="4883"/>
                  </a:lnTo>
                  <a:cubicBezTo>
                    <a:pt x="139" y="4160"/>
                    <a:pt x="-223" y="2894"/>
                    <a:pt x="139" y="1809"/>
                  </a:cubicBezTo>
                  <a:cubicBezTo>
                    <a:pt x="500" y="724"/>
                    <a:pt x="1585" y="0"/>
                    <a:pt x="2671" y="0"/>
                  </a:cubicBezTo>
                  <a:lnTo>
                    <a:pt x="302889" y="2351"/>
                  </a:lnTo>
                  <a:cubicBezTo>
                    <a:pt x="303974" y="2351"/>
                    <a:pt x="304697" y="2894"/>
                    <a:pt x="305240" y="3798"/>
                  </a:cubicBezTo>
                  <a:lnTo>
                    <a:pt x="496403" y="363337"/>
                  </a:lnTo>
                  <a:cubicBezTo>
                    <a:pt x="496946" y="364422"/>
                    <a:pt x="496765" y="365869"/>
                    <a:pt x="495861" y="366592"/>
                  </a:cubicBezTo>
                  <a:cubicBezTo>
                    <a:pt x="495137" y="367315"/>
                    <a:pt x="494595" y="367496"/>
                    <a:pt x="493871" y="367315"/>
                  </a:cubicBezTo>
                  <a:close/>
                  <a:moveTo>
                    <a:pt x="10990" y="5606"/>
                  </a:moveTo>
                  <a:lnTo>
                    <a:pt x="486094" y="355560"/>
                  </a:lnTo>
                  <a:lnTo>
                    <a:pt x="301261" y="7777"/>
                  </a:lnTo>
                  <a:lnTo>
                    <a:pt x="10990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7" name="Google Shape;597;p21"/>
            <p:cNvSpPr/>
            <p:nvPr/>
          </p:nvSpPr>
          <p:spPr>
            <a:xfrm>
              <a:off x="10225106" y="3577622"/>
              <a:ext cx="898800" cy="781941"/>
            </a:xfrm>
            <a:custGeom>
              <a:avLst/>
              <a:gdLst/>
              <a:ahLst/>
              <a:cxnLst/>
              <a:rect l="l" t="t" r="r" b="b"/>
              <a:pathLst>
                <a:path w="898800" h="781941" extrusionOk="0">
                  <a:moveTo>
                    <a:pt x="895953" y="781942"/>
                  </a:moveTo>
                  <a:cubicBezTo>
                    <a:pt x="895592" y="781942"/>
                    <a:pt x="895230" y="781761"/>
                    <a:pt x="895049" y="781761"/>
                  </a:cubicBezTo>
                  <a:lnTo>
                    <a:pt x="1447" y="359104"/>
                  </a:lnTo>
                  <a:cubicBezTo>
                    <a:pt x="543" y="358743"/>
                    <a:pt x="0" y="357838"/>
                    <a:pt x="0" y="356934"/>
                  </a:cubicBezTo>
                  <a:cubicBezTo>
                    <a:pt x="0" y="356030"/>
                    <a:pt x="362" y="355125"/>
                    <a:pt x="1085" y="354583"/>
                  </a:cubicBezTo>
                  <a:lnTo>
                    <a:pt x="487584" y="470"/>
                  </a:lnTo>
                  <a:cubicBezTo>
                    <a:pt x="488307" y="-73"/>
                    <a:pt x="489031" y="-73"/>
                    <a:pt x="489754" y="108"/>
                  </a:cubicBezTo>
                  <a:cubicBezTo>
                    <a:pt x="490478" y="289"/>
                    <a:pt x="491201" y="832"/>
                    <a:pt x="491563" y="1555"/>
                  </a:cubicBezTo>
                  <a:lnTo>
                    <a:pt x="898485" y="778506"/>
                  </a:lnTo>
                  <a:cubicBezTo>
                    <a:pt x="899028" y="779591"/>
                    <a:pt x="898847" y="780857"/>
                    <a:pt x="898124" y="781580"/>
                  </a:cubicBezTo>
                  <a:cubicBezTo>
                    <a:pt x="897581" y="781580"/>
                    <a:pt x="896858" y="781942"/>
                    <a:pt x="895953" y="781942"/>
                  </a:cubicBezTo>
                  <a:close/>
                  <a:moveTo>
                    <a:pt x="7958" y="356030"/>
                  </a:moveTo>
                  <a:lnTo>
                    <a:pt x="890166" y="773261"/>
                  </a:lnTo>
                  <a:lnTo>
                    <a:pt x="488307" y="6257"/>
                  </a:lnTo>
                  <a:lnTo>
                    <a:pt x="7958" y="3560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8" name="Google Shape;598;p21"/>
            <p:cNvSpPr/>
            <p:nvPr/>
          </p:nvSpPr>
          <p:spPr>
            <a:xfrm>
              <a:off x="10711667" y="3430146"/>
              <a:ext cx="412647" cy="929418"/>
            </a:xfrm>
            <a:custGeom>
              <a:avLst/>
              <a:gdLst/>
              <a:ahLst/>
              <a:cxnLst/>
              <a:rect l="l" t="t" r="r" b="b"/>
              <a:pathLst>
                <a:path w="412647" h="929418" extrusionOk="0">
                  <a:moveTo>
                    <a:pt x="409393" y="929418"/>
                  </a:moveTo>
                  <a:cubicBezTo>
                    <a:pt x="408488" y="929418"/>
                    <a:pt x="407584" y="928876"/>
                    <a:pt x="407222" y="927971"/>
                  </a:cubicBezTo>
                  <a:lnTo>
                    <a:pt x="299" y="151021"/>
                  </a:lnTo>
                  <a:cubicBezTo>
                    <a:pt x="-62" y="150297"/>
                    <a:pt x="-62" y="149574"/>
                    <a:pt x="119" y="148850"/>
                  </a:cubicBezTo>
                  <a:cubicBezTo>
                    <a:pt x="481" y="148127"/>
                    <a:pt x="1023" y="147585"/>
                    <a:pt x="1746" y="147223"/>
                  </a:cubicBezTo>
                  <a:lnTo>
                    <a:pt x="391850" y="188"/>
                  </a:lnTo>
                  <a:cubicBezTo>
                    <a:pt x="392754" y="-174"/>
                    <a:pt x="393658" y="7"/>
                    <a:pt x="394382" y="550"/>
                  </a:cubicBezTo>
                  <a:cubicBezTo>
                    <a:pt x="395105" y="1092"/>
                    <a:pt x="395467" y="1816"/>
                    <a:pt x="395647" y="2720"/>
                  </a:cubicBezTo>
                  <a:lnTo>
                    <a:pt x="412648" y="926705"/>
                  </a:lnTo>
                  <a:cubicBezTo>
                    <a:pt x="412648" y="927971"/>
                    <a:pt x="411743" y="929057"/>
                    <a:pt x="410658" y="929418"/>
                  </a:cubicBezTo>
                  <a:cubicBezTo>
                    <a:pt x="409935" y="929418"/>
                    <a:pt x="409754" y="929418"/>
                    <a:pt x="409393" y="929418"/>
                  </a:cubicBezTo>
                  <a:close/>
                  <a:moveTo>
                    <a:pt x="6449" y="151202"/>
                  </a:moveTo>
                  <a:lnTo>
                    <a:pt x="406680" y="915312"/>
                  </a:lnTo>
                  <a:lnTo>
                    <a:pt x="390041" y="6699"/>
                  </a:lnTo>
                  <a:lnTo>
                    <a:pt x="6449" y="15120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9" name="Google Shape;599;p21"/>
            <p:cNvSpPr/>
            <p:nvPr/>
          </p:nvSpPr>
          <p:spPr>
            <a:xfrm>
              <a:off x="11101527" y="3430334"/>
              <a:ext cx="321667" cy="929230"/>
            </a:xfrm>
            <a:custGeom>
              <a:avLst/>
              <a:gdLst/>
              <a:ahLst/>
              <a:cxnLst/>
              <a:rect l="l" t="t" r="r" b="b"/>
              <a:pathLst>
                <a:path w="321667" h="929230" extrusionOk="0">
                  <a:moveTo>
                    <a:pt x="19532" y="929230"/>
                  </a:moveTo>
                  <a:cubicBezTo>
                    <a:pt x="19532" y="929230"/>
                    <a:pt x="19351" y="929230"/>
                    <a:pt x="19351" y="929230"/>
                  </a:cubicBezTo>
                  <a:cubicBezTo>
                    <a:pt x="18085" y="929049"/>
                    <a:pt x="17000" y="927964"/>
                    <a:pt x="17000" y="926698"/>
                  </a:cubicBezTo>
                  <a:lnTo>
                    <a:pt x="0" y="2713"/>
                  </a:lnTo>
                  <a:cubicBezTo>
                    <a:pt x="0" y="1989"/>
                    <a:pt x="362" y="1266"/>
                    <a:pt x="723" y="723"/>
                  </a:cubicBezTo>
                  <a:cubicBezTo>
                    <a:pt x="1266" y="181"/>
                    <a:pt x="1989" y="0"/>
                    <a:pt x="2713" y="0"/>
                  </a:cubicBezTo>
                  <a:lnTo>
                    <a:pt x="319208" y="16277"/>
                  </a:lnTo>
                  <a:cubicBezTo>
                    <a:pt x="320293" y="16458"/>
                    <a:pt x="320836" y="16819"/>
                    <a:pt x="321198" y="17362"/>
                  </a:cubicBezTo>
                  <a:cubicBezTo>
                    <a:pt x="321740" y="18085"/>
                    <a:pt x="321740" y="18990"/>
                    <a:pt x="321559" y="19713"/>
                  </a:cubicBezTo>
                  <a:lnTo>
                    <a:pt x="22064" y="927241"/>
                  </a:lnTo>
                  <a:cubicBezTo>
                    <a:pt x="21883" y="928507"/>
                    <a:pt x="20798" y="929230"/>
                    <a:pt x="19532" y="929230"/>
                  </a:cubicBezTo>
                  <a:close/>
                  <a:moveTo>
                    <a:pt x="5606" y="5426"/>
                  </a:moveTo>
                  <a:lnTo>
                    <a:pt x="22245" y="910602"/>
                  </a:lnTo>
                  <a:lnTo>
                    <a:pt x="315772" y="21341"/>
                  </a:lnTo>
                  <a:lnTo>
                    <a:pt x="5606" y="542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0" name="Google Shape;600;p21"/>
            <p:cNvSpPr/>
            <p:nvPr/>
          </p:nvSpPr>
          <p:spPr>
            <a:xfrm>
              <a:off x="11118534" y="4298254"/>
              <a:ext cx="1198905" cy="296676"/>
            </a:xfrm>
            <a:custGeom>
              <a:avLst/>
              <a:gdLst/>
              <a:ahLst/>
              <a:cxnLst/>
              <a:rect l="l" t="t" r="r" b="b"/>
              <a:pathLst>
                <a:path w="1198905" h="296676" extrusionOk="0">
                  <a:moveTo>
                    <a:pt x="273265" y="296601"/>
                  </a:moveTo>
                  <a:cubicBezTo>
                    <a:pt x="272723" y="296601"/>
                    <a:pt x="272180" y="296420"/>
                    <a:pt x="271637" y="295878"/>
                  </a:cubicBezTo>
                  <a:lnTo>
                    <a:pt x="898" y="60406"/>
                  </a:lnTo>
                  <a:cubicBezTo>
                    <a:pt x="-6" y="59682"/>
                    <a:pt x="-187" y="58597"/>
                    <a:pt x="175" y="57512"/>
                  </a:cubicBezTo>
                  <a:cubicBezTo>
                    <a:pt x="536" y="56427"/>
                    <a:pt x="1441" y="55703"/>
                    <a:pt x="2526" y="55703"/>
                  </a:cubicBezTo>
                  <a:lnTo>
                    <a:pt x="1196166" y="0"/>
                  </a:lnTo>
                  <a:cubicBezTo>
                    <a:pt x="1197612" y="0"/>
                    <a:pt x="1198697" y="904"/>
                    <a:pt x="1198878" y="2170"/>
                  </a:cubicBezTo>
                  <a:cubicBezTo>
                    <a:pt x="1199059" y="3436"/>
                    <a:pt x="1198336" y="4883"/>
                    <a:pt x="1197070" y="5245"/>
                  </a:cubicBezTo>
                  <a:lnTo>
                    <a:pt x="274169" y="296420"/>
                  </a:lnTo>
                  <a:cubicBezTo>
                    <a:pt x="273988" y="296601"/>
                    <a:pt x="273627" y="296782"/>
                    <a:pt x="273265" y="296601"/>
                  </a:cubicBezTo>
                  <a:close/>
                  <a:moveTo>
                    <a:pt x="9579" y="60948"/>
                  </a:moveTo>
                  <a:lnTo>
                    <a:pt x="273988" y="290995"/>
                  </a:lnTo>
                  <a:lnTo>
                    <a:pt x="1175729" y="6511"/>
                  </a:lnTo>
                  <a:lnTo>
                    <a:pt x="9579" y="609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1" name="Google Shape;601;p21"/>
            <p:cNvSpPr/>
            <p:nvPr/>
          </p:nvSpPr>
          <p:spPr>
            <a:xfrm>
              <a:off x="11101747" y="3147886"/>
              <a:ext cx="338367" cy="303970"/>
            </a:xfrm>
            <a:custGeom>
              <a:avLst/>
              <a:gdLst/>
              <a:ahLst/>
              <a:cxnLst/>
              <a:rect l="l" t="t" r="r" b="b"/>
              <a:pathLst>
                <a:path w="338367" h="303970" extrusionOk="0">
                  <a:moveTo>
                    <a:pt x="2493" y="287693"/>
                  </a:moveTo>
                  <a:cubicBezTo>
                    <a:pt x="1408" y="287693"/>
                    <a:pt x="503" y="286970"/>
                    <a:pt x="142" y="285885"/>
                  </a:cubicBezTo>
                  <a:cubicBezTo>
                    <a:pt x="-220" y="284800"/>
                    <a:pt x="142" y="283714"/>
                    <a:pt x="865" y="282991"/>
                  </a:cubicBezTo>
                  <a:lnTo>
                    <a:pt x="333999" y="677"/>
                  </a:lnTo>
                  <a:cubicBezTo>
                    <a:pt x="334904" y="-46"/>
                    <a:pt x="335989" y="-227"/>
                    <a:pt x="336893" y="315"/>
                  </a:cubicBezTo>
                  <a:cubicBezTo>
                    <a:pt x="337797" y="858"/>
                    <a:pt x="338521" y="1762"/>
                    <a:pt x="338340" y="2847"/>
                  </a:cubicBezTo>
                  <a:lnTo>
                    <a:pt x="321701" y="301438"/>
                  </a:lnTo>
                  <a:cubicBezTo>
                    <a:pt x="321701" y="302885"/>
                    <a:pt x="320435" y="303970"/>
                    <a:pt x="318807" y="303970"/>
                  </a:cubicBezTo>
                  <a:lnTo>
                    <a:pt x="2493" y="287693"/>
                  </a:lnTo>
                  <a:cubicBezTo>
                    <a:pt x="2493" y="287693"/>
                    <a:pt x="2493" y="287693"/>
                    <a:pt x="2493" y="287693"/>
                  </a:cubicBezTo>
                  <a:close/>
                  <a:moveTo>
                    <a:pt x="332552" y="8816"/>
                  </a:moveTo>
                  <a:lnTo>
                    <a:pt x="9546" y="282629"/>
                  </a:lnTo>
                  <a:lnTo>
                    <a:pt x="316637" y="298544"/>
                  </a:lnTo>
                  <a:lnTo>
                    <a:pt x="332552" y="881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2" name="Google Shape;602;p21"/>
            <p:cNvSpPr/>
            <p:nvPr/>
          </p:nvSpPr>
          <p:spPr>
            <a:xfrm>
              <a:off x="11434661" y="1766902"/>
              <a:ext cx="796011" cy="1386362"/>
            </a:xfrm>
            <a:custGeom>
              <a:avLst/>
              <a:gdLst/>
              <a:ahLst/>
              <a:cxnLst/>
              <a:rect l="l" t="t" r="r" b="b"/>
              <a:pathLst>
                <a:path w="796011" h="1386362" extrusionOk="0">
                  <a:moveTo>
                    <a:pt x="2532" y="1386363"/>
                  </a:moveTo>
                  <a:cubicBezTo>
                    <a:pt x="1989" y="1386363"/>
                    <a:pt x="1628" y="1386182"/>
                    <a:pt x="1085" y="1385820"/>
                  </a:cubicBezTo>
                  <a:cubicBezTo>
                    <a:pt x="362" y="1385277"/>
                    <a:pt x="0" y="1384373"/>
                    <a:pt x="0" y="1383469"/>
                  </a:cubicBezTo>
                  <a:lnTo>
                    <a:pt x="81565" y="2464"/>
                  </a:lnTo>
                  <a:cubicBezTo>
                    <a:pt x="81565" y="1379"/>
                    <a:pt x="82470" y="294"/>
                    <a:pt x="83555" y="113"/>
                  </a:cubicBezTo>
                  <a:cubicBezTo>
                    <a:pt x="84640" y="-248"/>
                    <a:pt x="85906" y="294"/>
                    <a:pt x="86448" y="1198"/>
                  </a:cubicBezTo>
                  <a:lnTo>
                    <a:pt x="795579" y="1056484"/>
                  </a:lnTo>
                  <a:cubicBezTo>
                    <a:pt x="795941" y="1057208"/>
                    <a:pt x="796121" y="1057931"/>
                    <a:pt x="795941" y="1058835"/>
                  </a:cubicBezTo>
                  <a:cubicBezTo>
                    <a:pt x="795760" y="1059559"/>
                    <a:pt x="795217" y="1060282"/>
                    <a:pt x="794313" y="1060463"/>
                  </a:cubicBezTo>
                  <a:lnTo>
                    <a:pt x="3617" y="1386182"/>
                  </a:lnTo>
                  <a:cubicBezTo>
                    <a:pt x="3436" y="1386363"/>
                    <a:pt x="2894" y="1386363"/>
                    <a:pt x="2532" y="1386363"/>
                  </a:cubicBezTo>
                  <a:close/>
                  <a:moveTo>
                    <a:pt x="86448" y="10784"/>
                  </a:moveTo>
                  <a:lnTo>
                    <a:pt x="5606" y="1379490"/>
                  </a:lnTo>
                  <a:lnTo>
                    <a:pt x="789430" y="1056665"/>
                  </a:lnTo>
                  <a:lnTo>
                    <a:pt x="86448" y="107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3" name="Google Shape;603;p21"/>
            <p:cNvSpPr/>
            <p:nvPr/>
          </p:nvSpPr>
          <p:spPr>
            <a:xfrm>
              <a:off x="11418023" y="3147952"/>
              <a:ext cx="434989" cy="303974"/>
            </a:xfrm>
            <a:custGeom>
              <a:avLst/>
              <a:gdLst/>
              <a:ahLst/>
              <a:cxnLst/>
              <a:rect l="l" t="t" r="r" b="b"/>
              <a:pathLst>
                <a:path w="434989" h="303974" extrusionOk="0">
                  <a:moveTo>
                    <a:pt x="2532" y="303903"/>
                  </a:moveTo>
                  <a:cubicBezTo>
                    <a:pt x="2170" y="303903"/>
                    <a:pt x="1628" y="303722"/>
                    <a:pt x="1266" y="303542"/>
                  </a:cubicBezTo>
                  <a:cubicBezTo>
                    <a:pt x="362" y="302999"/>
                    <a:pt x="0" y="302095"/>
                    <a:pt x="0" y="301190"/>
                  </a:cubicBezTo>
                  <a:lnTo>
                    <a:pt x="16639" y="2600"/>
                  </a:lnTo>
                  <a:cubicBezTo>
                    <a:pt x="16639" y="1876"/>
                    <a:pt x="17000" y="1153"/>
                    <a:pt x="17724" y="610"/>
                  </a:cubicBezTo>
                  <a:cubicBezTo>
                    <a:pt x="18266" y="68"/>
                    <a:pt x="18990" y="-113"/>
                    <a:pt x="19894" y="68"/>
                  </a:cubicBezTo>
                  <a:lnTo>
                    <a:pt x="432785" y="72229"/>
                  </a:lnTo>
                  <a:cubicBezTo>
                    <a:pt x="433870" y="72410"/>
                    <a:pt x="434774" y="73314"/>
                    <a:pt x="434955" y="74399"/>
                  </a:cubicBezTo>
                  <a:cubicBezTo>
                    <a:pt x="435136" y="75484"/>
                    <a:pt x="434593" y="76750"/>
                    <a:pt x="433508" y="77112"/>
                  </a:cubicBezTo>
                  <a:lnTo>
                    <a:pt x="3979" y="303542"/>
                  </a:lnTo>
                  <a:cubicBezTo>
                    <a:pt x="3617" y="303903"/>
                    <a:pt x="3074" y="304084"/>
                    <a:pt x="2532" y="303903"/>
                  </a:cubicBezTo>
                  <a:close/>
                  <a:moveTo>
                    <a:pt x="21883" y="5855"/>
                  </a:moveTo>
                  <a:lnTo>
                    <a:pt x="5606" y="296669"/>
                  </a:lnTo>
                  <a:lnTo>
                    <a:pt x="423923" y="76207"/>
                  </a:lnTo>
                  <a:lnTo>
                    <a:pt x="21883" y="58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4" name="Google Shape;604;p21"/>
            <p:cNvSpPr/>
            <p:nvPr/>
          </p:nvSpPr>
          <p:spPr>
            <a:xfrm>
              <a:off x="11434814" y="2822414"/>
              <a:ext cx="796067" cy="403192"/>
            </a:xfrm>
            <a:custGeom>
              <a:avLst/>
              <a:gdLst/>
              <a:ahLst/>
              <a:cxnLst/>
              <a:rect l="l" t="t" r="r" b="b"/>
              <a:pathLst>
                <a:path w="796067" h="403192" extrusionOk="0">
                  <a:moveTo>
                    <a:pt x="415450" y="403193"/>
                  </a:moveTo>
                  <a:cubicBezTo>
                    <a:pt x="415270" y="403193"/>
                    <a:pt x="415270" y="403193"/>
                    <a:pt x="415089" y="403193"/>
                  </a:cubicBezTo>
                  <a:lnTo>
                    <a:pt x="2198" y="331032"/>
                  </a:lnTo>
                  <a:cubicBezTo>
                    <a:pt x="932" y="330851"/>
                    <a:pt x="209" y="329947"/>
                    <a:pt x="28" y="328681"/>
                  </a:cubicBezTo>
                  <a:cubicBezTo>
                    <a:pt x="-153" y="327415"/>
                    <a:pt x="570" y="326330"/>
                    <a:pt x="1656" y="325968"/>
                  </a:cubicBezTo>
                  <a:lnTo>
                    <a:pt x="792351" y="249"/>
                  </a:lnTo>
                  <a:cubicBezTo>
                    <a:pt x="793437" y="-293"/>
                    <a:pt x="794883" y="68"/>
                    <a:pt x="795607" y="1154"/>
                  </a:cubicBezTo>
                  <a:cubicBezTo>
                    <a:pt x="796330" y="2239"/>
                    <a:pt x="796149" y="3686"/>
                    <a:pt x="795426" y="4590"/>
                  </a:cubicBezTo>
                  <a:lnTo>
                    <a:pt x="417621" y="402469"/>
                  </a:lnTo>
                  <a:cubicBezTo>
                    <a:pt x="416897" y="402831"/>
                    <a:pt x="416174" y="403193"/>
                    <a:pt x="415450" y="403193"/>
                  </a:cubicBezTo>
                  <a:close/>
                  <a:moveTo>
                    <a:pt x="12145" y="327234"/>
                  </a:moveTo>
                  <a:lnTo>
                    <a:pt x="414546" y="397586"/>
                  </a:lnTo>
                  <a:lnTo>
                    <a:pt x="782766" y="9835"/>
                  </a:lnTo>
                  <a:lnTo>
                    <a:pt x="12145" y="32723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5" name="Google Shape;605;p21"/>
            <p:cNvSpPr/>
            <p:nvPr/>
          </p:nvSpPr>
          <p:spPr>
            <a:xfrm>
              <a:off x="11847867" y="2822159"/>
              <a:ext cx="424512" cy="644164"/>
            </a:xfrm>
            <a:custGeom>
              <a:avLst/>
              <a:gdLst/>
              <a:ahLst/>
              <a:cxnLst/>
              <a:rect l="l" t="t" r="r" b="b"/>
              <a:pathLst>
                <a:path w="424512" h="644164" extrusionOk="0">
                  <a:moveTo>
                    <a:pt x="421438" y="644165"/>
                  </a:moveTo>
                  <a:cubicBezTo>
                    <a:pt x="421076" y="644165"/>
                    <a:pt x="420714" y="643984"/>
                    <a:pt x="420353" y="643803"/>
                  </a:cubicBezTo>
                  <a:lnTo>
                    <a:pt x="1313" y="402905"/>
                  </a:lnTo>
                  <a:cubicBezTo>
                    <a:pt x="590" y="402543"/>
                    <a:pt x="47" y="401820"/>
                    <a:pt x="47" y="400915"/>
                  </a:cubicBezTo>
                  <a:cubicBezTo>
                    <a:pt x="-134" y="400192"/>
                    <a:pt x="228" y="399288"/>
                    <a:pt x="770" y="398745"/>
                  </a:cubicBezTo>
                  <a:lnTo>
                    <a:pt x="378575" y="865"/>
                  </a:lnTo>
                  <a:cubicBezTo>
                    <a:pt x="379299" y="142"/>
                    <a:pt x="380384" y="-220"/>
                    <a:pt x="381469" y="142"/>
                  </a:cubicBezTo>
                  <a:cubicBezTo>
                    <a:pt x="382554" y="504"/>
                    <a:pt x="383097" y="1408"/>
                    <a:pt x="383278" y="2493"/>
                  </a:cubicBezTo>
                  <a:lnTo>
                    <a:pt x="424513" y="641271"/>
                  </a:lnTo>
                  <a:cubicBezTo>
                    <a:pt x="424513" y="642175"/>
                    <a:pt x="424151" y="643260"/>
                    <a:pt x="423247" y="643803"/>
                  </a:cubicBezTo>
                  <a:cubicBezTo>
                    <a:pt x="422523" y="644165"/>
                    <a:pt x="421980" y="644165"/>
                    <a:pt x="421438" y="644165"/>
                  </a:cubicBezTo>
                  <a:close/>
                  <a:moveTo>
                    <a:pt x="6739" y="400011"/>
                  </a:moveTo>
                  <a:lnTo>
                    <a:pt x="418544" y="636569"/>
                  </a:lnTo>
                  <a:lnTo>
                    <a:pt x="378033" y="9004"/>
                  </a:lnTo>
                  <a:lnTo>
                    <a:pt x="6739" y="40001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6" name="Google Shape;606;p21"/>
            <p:cNvSpPr/>
            <p:nvPr/>
          </p:nvSpPr>
          <p:spPr>
            <a:xfrm>
              <a:off x="11847696" y="3220166"/>
              <a:ext cx="424572" cy="326818"/>
            </a:xfrm>
            <a:custGeom>
              <a:avLst/>
              <a:gdLst/>
              <a:ahLst/>
              <a:cxnLst/>
              <a:rect l="l" t="t" r="r" b="b"/>
              <a:pathLst>
                <a:path w="424572" h="326818" extrusionOk="0">
                  <a:moveTo>
                    <a:pt x="367714" y="326819"/>
                  </a:moveTo>
                  <a:cubicBezTo>
                    <a:pt x="367171" y="326819"/>
                    <a:pt x="366628" y="326638"/>
                    <a:pt x="366086" y="326095"/>
                  </a:cubicBezTo>
                  <a:lnTo>
                    <a:pt x="941" y="4717"/>
                  </a:lnTo>
                  <a:cubicBezTo>
                    <a:pt x="-144" y="3813"/>
                    <a:pt x="-325" y="2185"/>
                    <a:pt x="579" y="1100"/>
                  </a:cubicBezTo>
                  <a:cubicBezTo>
                    <a:pt x="1302" y="15"/>
                    <a:pt x="2930" y="-347"/>
                    <a:pt x="4196" y="376"/>
                  </a:cubicBezTo>
                  <a:lnTo>
                    <a:pt x="423236" y="241274"/>
                  </a:lnTo>
                  <a:cubicBezTo>
                    <a:pt x="423959" y="241636"/>
                    <a:pt x="424321" y="242360"/>
                    <a:pt x="424502" y="243083"/>
                  </a:cubicBezTo>
                  <a:cubicBezTo>
                    <a:pt x="424683" y="243806"/>
                    <a:pt x="424502" y="244530"/>
                    <a:pt x="424140" y="245253"/>
                  </a:cubicBezTo>
                  <a:lnTo>
                    <a:pt x="370245" y="325733"/>
                  </a:lnTo>
                  <a:cubicBezTo>
                    <a:pt x="369884" y="326457"/>
                    <a:pt x="369160" y="326819"/>
                    <a:pt x="368437" y="326819"/>
                  </a:cubicBezTo>
                  <a:cubicBezTo>
                    <a:pt x="368075" y="326819"/>
                    <a:pt x="367894" y="326819"/>
                    <a:pt x="367714" y="326819"/>
                  </a:cubicBezTo>
                  <a:close/>
                  <a:moveTo>
                    <a:pt x="24633" y="18462"/>
                  </a:moveTo>
                  <a:lnTo>
                    <a:pt x="367352" y="320127"/>
                  </a:lnTo>
                  <a:lnTo>
                    <a:pt x="417991" y="244530"/>
                  </a:lnTo>
                  <a:lnTo>
                    <a:pt x="24633" y="1846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7" name="Google Shape;607;p21"/>
            <p:cNvSpPr/>
            <p:nvPr/>
          </p:nvSpPr>
          <p:spPr>
            <a:xfrm>
              <a:off x="12225538" y="2820096"/>
              <a:ext cx="271650" cy="646255"/>
            </a:xfrm>
            <a:custGeom>
              <a:avLst/>
              <a:gdLst/>
              <a:ahLst/>
              <a:cxnLst/>
              <a:rect l="l" t="t" r="r" b="b"/>
              <a:pathLst>
                <a:path w="271650" h="646255" extrusionOk="0">
                  <a:moveTo>
                    <a:pt x="43766" y="646228"/>
                  </a:moveTo>
                  <a:cubicBezTo>
                    <a:pt x="43766" y="646228"/>
                    <a:pt x="43586" y="646228"/>
                    <a:pt x="43586" y="646228"/>
                  </a:cubicBezTo>
                  <a:cubicBezTo>
                    <a:pt x="42320" y="646047"/>
                    <a:pt x="41415" y="644962"/>
                    <a:pt x="41235" y="643696"/>
                  </a:cubicBezTo>
                  <a:lnTo>
                    <a:pt x="0" y="4918"/>
                  </a:lnTo>
                  <a:cubicBezTo>
                    <a:pt x="0" y="4195"/>
                    <a:pt x="180" y="3471"/>
                    <a:pt x="723" y="2929"/>
                  </a:cubicBezTo>
                  <a:cubicBezTo>
                    <a:pt x="1266" y="2386"/>
                    <a:pt x="1989" y="2024"/>
                    <a:pt x="2713" y="2024"/>
                  </a:cubicBezTo>
                  <a:lnTo>
                    <a:pt x="268931" y="35"/>
                  </a:lnTo>
                  <a:cubicBezTo>
                    <a:pt x="270016" y="-146"/>
                    <a:pt x="270558" y="397"/>
                    <a:pt x="271101" y="1120"/>
                  </a:cubicBezTo>
                  <a:cubicBezTo>
                    <a:pt x="271643" y="1844"/>
                    <a:pt x="271824" y="2748"/>
                    <a:pt x="271462" y="3652"/>
                  </a:cubicBezTo>
                  <a:lnTo>
                    <a:pt x="46479" y="644419"/>
                  </a:lnTo>
                  <a:cubicBezTo>
                    <a:pt x="46118" y="645685"/>
                    <a:pt x="44852" y="646409"/>
                    <a:pt x="43766" y="646228"/>
                  </a:cubicBezTo>
                  <a:close/>
                  <a:moveTo>
                    <a:pt x="5425" y="7450"/>
                  </a:moveTo>
                  <a:lnTo>
                    <a:pt x="45575" y="630132"/>
                  </a:lnTo>
                  <a:lnTo>
                    <a:pt x="264771" y="5461"/>
                  </a:lnTo>
                  <a:lnTo>
                    <a:pt x="5425" y="745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8" name="Google Shape;608;p21"/>
            <p:cNvSpPr/>
            <p:nvPr/>
          </p:nvSpPr>
          <p:spPr>
            <a:xfrm>
              <a:off x="12212988" y="3461119"/>
              <a:ext cx="580801" cy="341086"/>
            </a:xfrm>
            <a:custGeom>
              <a:avLst/>
              <a:gdLst/>
              <a:ahLst/>
              <a:cxnLst/>
              <a:rect l="l" t="t" r="r" b="b"/>
              <a:pathLst>
                <a:path w="580801" h="341086" extrusionOk="0">
                  <a:moveTo>
                    <a:pt x="577901" y="341051"/>
                  </a:moveTo>
                  <a:cubicBezTo>
                    <a:pt x="577539" y="341051"/>
                    <a:pt x="577358" y="340870"/>
                    <a:pt x="576997" y="340870"/>
                  </a:cubicBezTo>
                  <a:lnTo>
                    <a:pt x="1518" y="85504"/>
                  </a:lnTo>
                  <a:cubicBezTo>
                    <a:pt x="794" y="85142"/>
                    <a:pt x="252" y="84600"/>
                    <a:pt x="71" y="83876"/>
                  </a:cubicBezTo>
                  <a:cubicBezTo>
                    <a:pt x="-110" y="83153"/>
                    <a:pt x="71" y="82248"/>
                    <a:pt x="433" y="81706"/>
                  </a:cubicBezTo>
                  <a:lnTo>
                    <a:pt x="54327" y="1226"/>
                  </a:lnTo>
                  <a:cubicBezTo>
                    <a:pt x="55231" y="-40"/>
                    <a:pt x="56859" y="-402"/>
                    <a:pt x="57944" y="502"/>
                  </a:cubicBezTo>
                  <a:lnTo>
                    <a:pt x="579528" y="336349"/>
                  </a:lnTo>
                  <a:cubicBezTo>
                    <a:pt x="580795" y="337072"/>
                    <a:pt x="581157" y="338700"/>
                    <a:pt x="580433" y="339966"/>
                  </a:cubicBezTo>
                  <a:cubicBezTo>
                    <a:pt x="579891" y="340689"/>
                    <a:pt x="578986" y="341232"/>
                    <a:pt x="577901" y="341051"/>
                  </a:cubicBezTo>
                  <a:close/>
                  <a:moveTo>
                    <a:pt x="6582" y="81887"/>
                  </a:moveTo>
                  <a:lnTo>
                    <a:pt x="547336" y="321881"/>
                  </a:lnTo>
                  <a:lnTo>
                    <a:pt x="57221" y="6290"/>
                  </a:lnTo>
                  <a:lnTo>
                    <a:pt x="6582" y="8188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9" name="Google Shape;609;p21"/>
            <p:cNvSpPr/>
            <p:nvPr/>
          </p:nvSpPr>
          <p:spPr>
            <a:xfrm>
              <a:off x="12266818" y="2820312"/>
              <a:ext cx="527103" cy="981929"/>
            </a:xfrm>
            <a:custGeom>
              <a:avLst/>
              <a:gdLst/>
              <a:ahLst/>
              <a:cxnLst/>
              <a:rect l="l" t="t" r="r" b="b"/>
              <a:pathLst>
                <a:path w="527103" h="981929" extrusionOk="0">
                  <a:moveTo>
                    <a:pt x="524071" y="981859"/>
                  </a:moveTo>
                  <a:cubicBezTo>
                    <a:pt x="523710" y="981859"/>
                    <a:pt x="523167" y="981678"/>
                    <a:pt x="522806" y="981497"/>
                  </a:cubicBezTo>
                  <a:lnTo>
                    <a:pt x="1221" y="645650"/>
                  </a:lnTo>
                  <a:cubicBezTo>
                    <a:pt x="136" y="644927"/>
                    <a:pt x="-226" y="643661"/>
                    <a:pt x="136" y="642576"/>
                  </a:cubicBezTo>
                  <a:lnTo>
                    <a:pt x="225119" y="1809"/>
                  </a:lnTo>
                  <a:cubicBezTo>
                    <a:pt x="225481" y="723"/>
                    <a:pt x="226566" y="0"/>
                    <a:pt x="227651" y="0"/>
                  </a:cubicBezTo>
                  <a:cubicBezTo>
                    <a:pt x="228917" y="181"/>
                    <a:pt x="229821" y="723"/>
                    <a:pt x="230183" y="1989"/>
                  </a:cubicBezTo>
                  <a:lnTo>
                    <a:pt x="526965" y="978603"/>
                  </a:lnTo>
                  <a:cubicBezTo>
                    <a:pt x="527327" y="979688"/>
                    <a:pt x="526965" y="980774"/>
                    <a:pt x="526061" y="981497"/>
                  </a:cubicBezTo>
                  <a:cubicBezTo>
                    <a:pt x="525337" y="981859"/>
                    <a:pt x="524614" y="982040"/>
                    <a:pt x="524071" y="981859"/>
                  </a:cubicBezTo>
                  <a:close/>
                  <a:moveTo>
                    <a:pt x="5923" y="642214"/>
                  </a:moveTo>
                  <a:lnTo>
                    <a:pt x="519550" y="972997"/>
                  </a:lnTo>
                  <a:lnTo>
                    <a:pt x="227289" y="11213"/>
                  </a:lnTo>
                  <a:lnTo>
                    <a:pt x="5923" y="64221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0" name="Google Shape;610;p21"/>
            <p:cNvSpPr/>
            <p:nvPr/>
          </p:nvSpPr>
          <p:spPr>
            <a:xfrm>
              <a:off x="8942124" y="4957027"/>
              <a:ext cx="912491" cy="634698"/>
            </a:xfrm>
            <a:custGeom>
              <a:avLst/>
              <a:gdLst/>
              <a:ahLst/>
              <a:cxnLst/>
              <a:rect l="l" t="t" r="r" b="b"/>
              <a:pathLst>
                <a:path w="912491" h="634698" extrusionOk="0">
                  <a:moveTo>
                    <a:pt x="642576" y="634699"/>
                  </a:moveTo>
                  <a:cubicBezTo>
                    <a:pt x="642395" y="634699"/>
                    <a:pt x="642033" y="634699"/>
                    <a:pt x="641853" y="634518"/>
                  </a:cubicBezTo>
                  <a:lnTo>
                    <a:pt x="1809" y="405194"/>
                  </a:lnTo>
                  <a:cubicBezTo>
                    <a:pt x="723" y="404832"/>
                    <a:pt x="0" y="403928"/>
                    <a:pt x="0" y="402843"/>
                  </a:cubicBezTo>
                  <a:cubicBezTo>
                    <a:pt x="0" y="401758"/>
                    <a:pt x="543" y="400673"/>
                    <a:pt x="1628" y="400311"/>
                  </a:cubicBezTo>
                  <a:lnTo>
                    <a:pt x="908794" y="261"/>
                  </a:lnTo>
                  <a:cubicBezTo>
                    <a:pt x="909879" y="-281"/>
                    <a:pt x="910964" y="80"/>
                    <a:pt x="911687" y="804"/>
                  </a:cubicBezTo>
                  <a:cubicBezTo>
                    <a:pt x="912411" y="1527"/>
                    <a:pt x="912773" y="2793"/>
                    <a:pt x="912230" y="3697"/>
                  </a:cubicBezTo>
                  <a:lnTo>
                    <a:pt x="645108" y="633071"/>
                  </a:lnTo>
                  <a:cubicBezTo>
                    <a:pt x="644746" y="634156"/>
                    <a:pt x="643661" y="634699"/>
                    <a:pt x="642576" y="634699"/>
                  </a:cubicBezTo>
                  <a:close/>
                  <a:moveTo>
                    <a:pt x="9766" y="402301"/>
                  </a:moveTo>
                  <a:lnTo>
                    <a:pt x="641129" y="628550"/>
                  </a:lnTo>
                  <a:lnTo>
                    <a:pt x="904634" y="7676"/>
                  </a:lnTo>
                  <a:lnTo>
                    <a:pt x="9766" y="40230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1" name="Google Shape;611;p21"/>
            <p:cNvSpPr/>
            <p:nvPr/>
          </p:nvSpPr>
          <p:spPr>
            <a:xfrm>
              <a:off x="9582169" y="4956988"/>
              <a:ext cx="832654" cy="634737"/>
            </a:xfrm>
            <a:custGeom>
              <a:avLst/>
              <a:gdLst/>
              <a:ahLst/>
              <a:cxnLst/>
              <a:rect l="l" t="t" r="r" b="b"/>
              <a:pathLst>
                <a:path w="832654" h="634737" extrusionOk="0">
                  <a:moveTo>
                    <a:pt x="2532" y="634737"/>
                  </a:moveTo>
                  <a:cubicBezTo>
                    <a:pt x="1809" y="634737"/>
                    <a:pt x="1266" y="634375"/>
                    <a:pt x="723" y="633833"/>
                  </a:cubicBezTo>
                  <a:cubicBezTo>
                    <a:pt x="0" y="633109"/>
                    <a:pt x="-181" y="631843"/>
                    <a:pt x="181" y="630939"/>
                  </a:cubicBezTo>
                  <a:lnTo>
                    <a:pt x="267303" y="1566"/>
                  </a:lnTo>
                  <a:cubicBezTo>
                    <a:pt x="267665" y="842"/>
                    <a:pt x="268207" y="300"/>
                    <a:pt x="268931" y="119"/>
                  </a:cubicBezTo>
                  <a:cubicBezTo>
                    <a:pt x="269654" y="-62"/>
                    <a:pt x="270378" y="-62"/>
                    <a:pt x="271101" y="300"/>
                  </a:cubicBezTo>
                  <a:lnTo>
                    <a:pt x="831207" y="314987"/>
                  </a:lnTo>
                  <a:cubicBezTo>
                    <a:pt x="832112" y="315529"/>
                    <a:pt x="832654" y="316433"/>
                    <a:pt x="832654" y="317519"/>
                  </a:cubicBezTo>
                  <a:cubicBezTo>
                    <a:pt x="832654" y="318604"/>
                    <a:pt x="831931" y="319508"/>
                    <a:pt x="830846" y="319869"/>
                  </a:cubicBezTo>
                  <a:lnTo>
                    <a:pt x="3617" y="634556"/>
                  </a:lnTo>
                  <a:cubicBezTo>
                    <a:pt x="3255" y="634737"/>
                    <a:pt x="2894" y="634737"/>
                    <a:pt x="2532" y="634737"/>
                  </a:cubicBezTo>
                  <a:close/>
                  <a:moveTo>
                    <a:pt x="270920" y="6449"/>
                  </a:moveTo>
                  <a:lnTo>
                    <a:pt x="7415" y="627322"/>
                  </a:lnTo>
                  <a:lnTo>
                    <a:pt x="823431" y="316976"/>
                  </a:lnTo>
                  <a:lnTo>
                    <a:pt x="270920" y="64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2" name="Google Shape;612;p21"/>
            <p:cNvSpPr/>
            <p:nvPr/>
          </p:nvSpPr>
          <p:spPr>
            <a:xfrm>
              <a:off x="11896931" y="6101781"/>
              <a:ext cx="757350" cy="1017260"/>
            </a:xfrm>
            <a:custGeom>
              <a:avLst/>
              <a:gdLst/>
              <a:ahLst/>
              <a:cxnLst/>
              <a:rect l="l" t="t" r="r" b="b"/>
              <a:pathLst>
                <a:path w="757350" h="1017260" extrusionOk="0">
                  <a:moveTo>
                    <a:pt x="408544" y="1017260"/>
                  </a:moveTo>
                  <a:lnTo>
                    <a:pt x="408544" y="1017260"/>
                  </a:lnTo>
                  <a:cubicBezTo>
                    <a:pt x="407459" y="1017260"/>
                    <a:pt x="406555" y="1016537"/>
                    <a:pt x="406193" y="1015632"/>
                  </a:cubicBezTo>
                  <a:lnTo>
                    <a:pt x="175" y="3752"/>
                  </a:lnTo>
                  <a:cubicBezTo>
                    <a:pt x="-187" y="2667"/>
                    <a:pt x="-6" y="1581"/>
                    <a:pt x="898" y="677"/>
                  </a:cubicBezTo>
                  <a:cubicBezTo>
                    <a:pt x="1802" y="-46"/>
                    <a:pt x="3068" y="-227"/>
                    <a:pt x="3973" y="315"/>
                  </a:cubicBezTo>
                  <a:lnTo>
                    <a:pt x="755965" y="400908"/>
                  </a:lnTo>
                  <a:cubicBezTo>
                    <a:pt x="756689" y="401270"/>
                    <a:pt x="757051" y="401813"/>
                    <a:pt x="757231" y="402536"/>
                  </a:cubicBezTo>
                  <a:cubicBezTo>
                    <a:pt x="757412" y="403259"/>
                    <a:pt x="757412" y="403983"/>
                    <a:pt x="757051" y="404525"/>
                  </a:cubicBezTo>
                  <a:lnTo>
                    <a:pt x="411076" y="1015813"/>
                  </a:lnTo>
                  <a:cubicBezTo>
                    <a:pt x="410534" y="1016718"/>
                    <a:pt x="409629" y="1017260"/>
                    <a:pt x="408544" y="1017260"/>
                  </a:cubicBezTo>
                  <a:close/>
                  <a:moveTo>
                    <a:pt x="8132" y="8454"/>
                  </a:moveTo>
                  <a:lnTo>
                    <a:pt x="409268" y="1008217"/>
                  </a:lnTo>
                  <a:lnTo>
                    <a:pt x="751082" y="404163"/>
                  </a:lnTo>
                  <a:lnTo>
                    <a:pt x="8132" y="84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3" name="Google Shape;613;p21"/>
            <p:cNvSpPr/>
            <p:nvPr/>
          </p:nvSpPr>
          <p:spPr>
            <a:xfrm>
              <a:off x="9686630" y="4070888"/>
              <a:ext cx="397799" cy="210908"/>
            </a:xfrm>
            <a:custGeom>
              <a:avLst/>
              <a:gdLst/>
              <a:ahLst/>
              <a:cxnLst/>
              <a:rect l="l" t="t" r="r" b="b"/>
              <a:pathLst>
                <a:path w="397799" h="210908" extrusionOk="0">
                  <a:moveTo>
                    <a:pt x="243864" y="210908"/>
                  </a:moveTo>
                  <a:cubicBezTo>
                    <a:pt x="243322" y="210908"/>
                    <a:pt x="242779" y="210727"/>
                    <a:pt x="242237" y="210185"/>
                  </a:cubicBezTo>
                  <a:lnTo>
                    <a:pt x="977" y="4734"/>
                  </a:lnTo>
                  <a:cubicBezTo>
                    <a:pt x="-109" y="3830"/>
                    <a:pt x="-289" y="2383"/>
                    <a:pt x="434" y="1298"/>
                  </a:cubicBezTo>
                  <a:cubicBezTo>
                    <a:pt x="1158" y="213"/>
                    <a:pt x="2604" y="-330"/>
                    <a:pt x="3870" y="213"/>
                  </a:cubicBezTo>
                  <a:lnTo>
                    <a:pt x="396144" y="170216"/>
                  </a:lnTo>
                  <a:cubicBezTo>
                    <a:pt x="397229" y="170759"/>
                    <a:pt x="397952" y="171844"/>
                    <a:pt x="397771" y="172929"/>
                  </a:cubicBezTo>
                  <a:cubicBezTo>
                    <a:pt x="397591" y="174014"/>
                    <a:pt x="396867" y="175099"/>
                    <a:pt x="395782" y="175280"/>
                  </a:cubicBezTo>
                  <a:lnTo>
                    <a:pt x="244769" y="210727"/>
                  </a:lnTo>
                  <a:cubicBezTo>
                    <a:pt x="244407" y="210908"/>
                    <a:pt x="244045" y="210908"/>
                    <a:pt x="243864" y="210908"/>
                  </a:cubicBezTo>
                  <a:close/>
                  <a:moveTo>
                    <a:pt x="18339" y="12330"/>
                  </a:moveTo>
                  <a:lnTo>
                    <a:pt x="244769" y="205302"/>
                  </a:lnTo>
                  <a:lnTo>
                    <a:pt x="386558" y="172025"/>
                  </a:lnTo>
                  <a:lnTo>
                    <a:pt x="18339" y="123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4" name="Google Shape;614;p21"/>
            <p:cNvSpPr/>
            <p:nvPr/>
          </p:nvSpPr>
          <p:spPr>
            <a:xfrm>
              <a:off x="9686702" y="3931524"/>
              <a:ext cx="543705" cy="314853"/>
            </a:xfrm>
            <a:custGeom>
              <a:avLst/>
              <a:gdLst/>
              <a:ahLst/>
              <a:cxnLst/>
              <a:rect l="l" t="t" r="r" b="b"/>
              <a:pathLst>
                <a:path w="543705" h="314853" extrusionOk="0">
                  <a:moveTo>
                    <a:pt x="394805" y="314825"/>
                  </a:moveTo>
                  <a:cubicBezTo>
                    <a:pt x="394444" y="314825"/>
                    <a:pt x="394263" y="314645"/>
                    <a:pt x="393901" y="314645"/>
                  </a:cubicBezTo>
                  <a:lnTo>
                    <a:pt x="1628" y="144641"/>
                  </a:lnTo>
                  <a:cubicBezTo>
                    <a:pt x="543" y="144099"/>
                    <a:pt x="0" y="143194"/>
                    <a:pt x="0" y="141929"/>
                  </a:cubicBezTo>
                  <a:cubicBezTo>
                    <a:pt x="0" y="140662"/>
                    <a:pt x="904" y="139758"/>
                    <a:pt x="1989" y="139577"/>
                  </a:cubicBezTo>
                  <a:lnTo>
                    <a:pt x="540393" y="139"/>
                  </a:lnTo>
                  <a:cubicBezTo>
                    <a:pt x="541298" y="-223"/>
                    <a:pt x="542564" y="139"/>
                    <a:pt x="543106" y="1043"/>
                  </a:cubicBezTo>
                  <a:cubicBezTo>
                    <a:pt x="543829" y="1766"/>
                    <a:pt x="543829" y="3032"/>
                    <a:pt x="543468" y="3937"/>
                  </a:cubicBezTo>
                  <a:lnTo>
                    <a:pt x="397338" y="313559"/>
                  </a:lnTo>
                  <a:cubicBezTo>
                    <a:pt x="396976" y="314283"/>
                    <a:pt x="395891" y="315006"/>
                    <a:pt x="394805" y="314825"/>
                  </a:cubicBezTo>
                  <a:close/>
                  <a:moveTo>
                    <a:pt x="11032" y="142833"/>
                  </a:moveTo>
                  <a:lnTo>
                    <a:pt x="393720" y="308676"/>
                  </a:lnTo>
                  <a:lnTo>
                    <a:pt x="536234" y="6649"/>
                  </a:lnTo>
                  <a:lnTo>
                    <a:pt x="11032" y="14283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5" name="Google Shape;615;p21"/>
            <p:cNvSpPr/>
            <p:nvPr/>
          </p:nvSpPr>
          <p:spPr>
            <a:xfrm>
              <a:off x="9849110" y="4241057"/>
              <a:ext cx="234929" cy="721294"/>
            </a:xfrm>
            <a:custGeom>
              <a:avLst/>
              <a:gdLst/>
              <a:ahLst/>
              <a:cxnLst/>
              <a:rect l="l" t="t" r="r" b="b"/>
              <a:pathLst>
                <a:path w="234929" h="721294" extrusionOk="0">
                  <a:moveTo>
                    <a:pt x="2532" y="721294"/>
                  </a:moveTo>
                  <a:cubicBezTo>
                    <a:pt x="2351" y="721294"/>
                    <a:pt x="2351" y="721294"/>
                    <a:pt x="2170" y="721294"/>
                  </a:cubicBezTo>
                  <a:cubicBezTo>
                    <a:pt x="904" y="720933"/>
                    <a:pt x="0" y="719667"/>
                    <a:pt x="0" y="718401"/>
                  </a:cubicBezTo>
                  <a:lnTo>
                    <a:pt x="78672" y="37846"/>
                  </a:lnTo>
                  <a:cubicBezTo>
                    <a:pt x="78853" y="36761"/>
                    <a:pt x="79576" y="35856"/>
                    <a:pt x="80661" y="35494"/>
                  </a:cubicBezTo>
                  <a:lnTo>
                    <a:pt x="231675" y="47"/>
                  </a:lnTo>
                  <a:cubicBezTo>
                    <a:pt x="232579" y="-134"/>
                    <a:pt x="233664" y="228"/>
                    <a:pt x="234207" y="770"/>
                  </a:cubicBezTo>
                  <a:cubicBezTo>
                    <a:pt x="234930" y="1494"/>
                    <a:pt x="235111" y="2579"/>
                    <a:pt x="234749" y="3483"/>
                  </a:cubicBezTo>
                  <a:lnTo>
                    <a:pt x="4883" y="719486"/>
                  </a:lnTo>
                  <a:cubicBezTo>
                    <a:pt x="4883" y="720571"/>
                    <a:pt x="3798" y="721294"/>
                    <a:pt x="2532" y="721294"/>
                  </a:cubicBezTo>
                  <a:close/>
                  <a:moveTo>
                    <a:pt x="83916" y="40197"/>
                  </a:moveTo>
                  <a:lnTo>
                    <a:pt x="8500" y="691454"/>
                  </a:lnTo>
                  <a:lnTo>
                    <a:pt x="228419" y="6196"/>
                  </a:lnTo>
                  <a:lnTo>
                    <a:pt x="83916" y="401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6" name="Google Shape;616;p21"/>
            <p:cNvSpPr/>
            <p:nvPr/>
          </p:nvSpPr>
          <p:spPr>
            <a:xfrm>
              <a:off x="10078995" y="3931182"/>
              <a:ext cx="1045068" cy="428381"/>
            </a:xfrm>
            <a:custGeom>
              <a:avLst/>
              <a:gdLst/>
              <a:ahLst/>
              <a:cxnLst/>
              <a:rect l="l" t="t" r="r" b="b"/>
              <a:pathLst>
                <a:path w="1045068" h="428381" extrusionOk="0">
                  <a:moveTo>
                    <a:pt x="1042064" y="428382"/>
                  </a:moveTo>
                  <a:cubicBezTo>
                    <a:pt x="1042064" y="428382"/>
                    <a:pt x="1042064" y="428382"/>
                    <a:pt x="1042064" y="428382"/>
                  </a:cubicBezTo>
                  <a:lnTo>
                    <a:pt x="2332" y="315167"/>
                  </a:lnTo>
                  <a:cubicBezTo>
                    <a:pt x="1428" y="314986"/>
                    <a:pt x="704" y="314625"/>
                    <a:pt x="342" y="313720"/>
                  </a:cubicBezTo>
                  <a:cubicBezTo>
                    <a:pt x="-19" y="312997"/>
                    <a:pt x="-200" y="312093"/>
                    <a:pt x="342" y="311188"/>
                  </a:cubicBezTo>
                  <a:lnTo>
                    <a:pt x="146473" y="1566"/>
                  </a:lnTo>
                  <a:cubicBezTo>
                    <a:pt x="146835" y="842"/>
                    <a:pt x="147377" y="480"/>
                    <a:pt x="147920" y="119"/>
                  </a:cubicBezTo>
                  <a:cubicBezTo>
                    <a:pt x="148643" y="-62"/>
                    <a:pt x="149367" y="-62"/>
                    <a:pt x="149909" y="300"/>
                  </a:cubicBezTo>
                  <a:lnTo>
                    <a:pt x="1043511" y="422957"/>
                  </a:lnTo>
                  <a:cubicBezTo>
                    <a:pt x="1044777" y="423499"/>
                    <a:pt x="1045320" y="424765"/>
                    <a:pt x="1044958" y="426031"/>
                  </a:cubicBezTo>
                  <a:cubicBezTo>
                    <a:pt x="1044596" y="427659"/>
                    <a:pt x="1043330" y="428382"/>
                    <a:pt x="1042064" y="428382"/>
                  </a:cubicBezTo>
                  <a:close/>
                  <a:moveTo>
                    <a:pt x="6672" y="310284"/>
                  </a:moveTo>
                  <a:lnTo>
                    <a:pt x="1026692" y="421329"/>
                  </a:lnTo>
                  <a:lnTo>
                    <a:pt x="150090" y="6630"/>
                  </a:lnTo>
                  <a:lnTo>
                    <a:pt x="6672" y="3102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7" name="Google Shape;617;p21"/>
            <p:cNvSpPr/>
            <p:nvPr/>
          </p:nvSpPr>
          <p:spPr>
            <a:xfrm>
              <a:off x="10167956" y="3097608"/>
              <a:ext cx="548893" cy="839186"/>
            </a:xfrm>
            <a:custGeom>
              <a:avLst/>
              <a:gdLst/>
              <a:ahLst/>
              <a:cxnLst/>
              <a:rect l="l" t="t" r="r" b="b"/>
              <a:pathLst>
                <a:path w="548893" h="839186" extrusionOk="0">
                  <a:moveTo>
                    <a:pt x="59682" y="839118"/>
                  </a:moveTo>
                  <a:cubicBezTo>
                    <a:pt x="59320" y="839118"/>
                    <a:pt x="58958" y="838938"/>
                    <a:pt x="58778" y="838938"/>
                  </a:cubicBezTo>
                  <a:cubicBezTo>
                    <a:pt x="57873" y="838576"/>
                    <a:pt x="57331" y="837672"/>
                    <a:pt x="57150" y="836586"/>
                  </a:cubicBezTo>
                  <a:lnTo>
                    <a:pt x="0" y="2847"/>
                  </a:lnTo>
                  <a:cubicBezTo>
                    <a:pt x="0" y="1762"/>
                    <a:pt x="543" y="677"/>
                    <a:pt x="1447" y="315"/>
                  </a:cubicBezTo>
                  <a:cubicBezTo>
                    <a:pt x="2351" y="-227"/>
                    <a:pt x="3617" y="-46"/>
                    <a:pt x="4340" y="677"/>
                  </a:cubicBezTo>
                  <a:lnTo>
                    <a:pt x="547989" y="480303"/>
                  </a:lnTo>
                  <a:cubicBezTo>
                    <a:pt x="548531" y="480846"/>
                    <a:pt x="548893" y="481569"/>
                    <a:pt x="548893" y="482473"/>
                  </a:cubicBezTo>
                  <a:cubicBezTo>
                    <a:pt x="548893" y="483378"/>
                    <a:pt x="548531" y="484101"/>
                    <a:pt x="547808" y="484463"/>
                  </a:cubicBezTo>
                  <a:lnTo>
                    <a:pt x="61310" y="838576"/>
                  </a:lnTo>
                  <a:cubicBezTo>
                    <a:pt x="60767" y="839118"/>
                    <a:pt x="60224" y="839299"/>
                    <a:pt x="59682" y="839118"/>
                  </a:cubicBezTo>
                  <a:close/>
                  <a:moveTo>
                    <a:pt x="5787" y="8996"/>
                  </a:moveTo>
                  <a:lnTo>
                    <a:pt x="62214" y="831342"/>
                  </a:lnTo>
                  <a:lnTo>
                    <a:pt x="542021" y="481931"/>
                  </a:lnTo>
                  <a:lnTo>
                    <a:pt x="5787" y="89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8" name="Google Shape;618;p21"/>
            <p:cNvSpPr/>
            <p:nvPr/>
          </p:nvSpPr>
          <p:spPr>
            <a:xfrm>
              <a:off x="10167910" y="2904393"/>
              <a:ext cx="548939" cy="678220"/>
            </a:xfrm>
            <a:custGeom>
              <a:avLst/>
              <a:gdLst/>
              <a:ahLst/>
              <a:cxnLst/>
              <a:rect l="l" t="t" r="r" b="b"/>
              <a:pathLst>
                <a:path w="548939" h="678220" extrusionOk="0">
                  <a:moveTo>
                    <a:pt x="546227" y="678220"/>
                  </a:moveTo>
                  <a:cubicBezTo>
                    <a:pt x="545684" y="678220"/>
                    <a:pt x="545142" y="678040"/>
                    <a:pt x="544599" y="677497"/>
                  </a:cubicBezTo>
                  <a:lnTo>
                    <a:pt x="950" y="197871"/>
                  </a:lnTo>
                  <a:cubicBezTo>
                    <a:pt x="227" y="197328"/>
                    <a:pt x="-135" y="196243"/>
                    <a:pt x="46" y="195339"/>
                  </a:cubicBezTo>
                  <a:cubicBezTo>
                    <a:pt x="227" y="194435"/>
                    <a:pt x="769" y="193711"/>
                    <a:pt x="1674" y="193350"/>
                  </a:cubicBezTo>
                  <a:lnTo>
                    <a:pt x="512045" y="197"/>
                  </a:lnTo>
                  <a:cubicBezTo>
                    <a:pt x="512769" y="-165"/>
                    <a:pt x="513673" y="16"/>
                    <a:pt x="514396" y="378"/>
                  </a:cubicBezTo>
                  <a:cubicBezTo>
                    <a:pt x="515120" y="921"/>
                    <a:pt x="515481" y="1644"/>
                    <a:pt x="515662" y="2548"/>
                  </a:cubicBezTo>
                  <a:lnTo>
                    <a:pt x="548939" y="675327"/>
                  </a:lnTo>
                  <a:cubicBezTo>
                    <a:pt x="548939" y="676412"/>
                    <a:pt x="548397" y="677497"/>
                    <a:pt x="547493" y="677859"/>
                  </a:cubicBezTo>
                  <a:cubicBezTo>
                    <a:pt x="547131" y="678220"/>
                    <a:pt x="546588" y="678220"/>
                    <a:pt x="546227" y="678220"/>
                  </a:cubicBezTo>
                  <a:close/>
                  <a:moveTo>
                    <a:pt x="7823" y="196786"/>
                  </a:moveTo>
                  <a:lnTo>
                    <a:pt x="543333" y="669178"/>
                  </a:lnTo>
                  <a:lnTo>
                    <a:pt x="510417" y="6527"/>
                  </a:lnTo>
                  <a:lnTo>
                    <a:pt x="7823" y="19678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9" name="Google Shape;619;p21"/>
            <p:cNvSpPr/>
            <p:nvPr/>
          </p:nvSpPr>
          <p:spPr>
            <a:xfrm>
              <a:off x="10500480" y="1766981"/>
              <a:ext cx="1021558" cy="1142888"/>
            </a:xfrm>
            <a:custGeom>
              <a:avLst/>
              <a:gdLst/>
              <a:ahLst/>
              <a:cxnLst/>
              <a:rect l="l" t="t" r="r" b="b"/>
              <a:pathLst>
                <a:path w="1021558" h="1142888" extrusionOk="0">
                  <a:moveTo>
                    <a:pt x="180380" y="1142854"/>
                  </a:moveTo>
                  <a:cubicBezTo>
                    <a:pt x="180199" y="1142854"/>
                    <a:pt x="180018" y="1142854"/>
                    <a:pt x="180018" y="1142854"/>
                  </a:cubicBezTo>
                  <a:cubicBezTo>
                    <a:pt x="178933" y="1142673"/>
                    <a:pt x="178209" y="1141769"/>
                    <a:pt x="178029" y="1140684"/>
                  </a:cubicBezTo>
                  <a:lnTo>
                    <a:pt x="68" y="141644"/>
                  </a:lnTo>
                  <a:cubicBezTo>
                    <a:pt x="-113" y="140920"/>
                    <a:pt x="68" y="140197"/>
                    <a:pt x="610" y="139654"/>
                  </a:cubicBezTo>
                  <a:cubicBezTo>
                    <a:pt x="972" y="139112"/>
                    <a:pt x="1696" y="138750"/>
                    <a:pt x="2419" y="138569"/>
                  </a:cubicBezTo>
                  <a:lnTo>
                    <a:pt x="1018460" y="35"/>
                  </a:lnTo>
                  <a:cubicBezTo>
                    <a:pt x="1019545" y="-146"/>
                    <a:pt x="1020630" y="396"/>
                    <a:pt x="1021172" y="1301"/>
                  </a:cubicBezTo>
                  <a:cubicBezTo>
                    <a:pt x="1021715" y="2205"/>
                    <a:pt x="1021715" y="3471"/>
                    <a:pt x="1020992" y="4194"/>
                  </a:cubicBezTo>
                  <a:lnTo>
                    <a:pt x="182912" y="1141769"/>
                  </a:lnTo>
                  <a:cubicBezTo>
                    <a:pt x="182007" y="1142492"/>
                    <a:pt x="181103" y="1143035"/>
                    <a:pt x="180380" y="1142854"/>
                  </a:cubicBezTo>
                  <a:close/>
                  <a:moveTo>
                    <a:pt x="5674" y="143452"/>
                  </a:moveTo>
                  <a:lnTo>
                    <a:pt x="182007" y="1133630"/>
                  </a:lnTo>
                  <a:lnTo>
                    <a:pt x="1012491" y="6184"/>
                  </a:lnTo>
                  <a:lnTo>
                    <a:pt x="5674" y="1434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0" name="Google Shape;620;p21"/>
            <p:cNvSpPr/>
            <p:nvPr/>
          </p:nvSpPr>
          <p:spPr>
            <a:xfrm>
              <a:off x="10678328" y="2904421"/>
              <a:ext cx="428873" cy="678192"/>
            </a:xfrm>
            <a:custGeom>
              <a:avLst/>
              <a:gdLst/>
              <a:ahLst/>
              <a:cxnLst/>
              <a:rect l="l" t="t" r="r" b="b"/>
              <a:pathLst>
                <a:path w="428873" h="678192" extrusionOk="0">
                  <a:moveTo>
                    <a:pt x="35809" y="678193"/>
                  </a:moveTo>
                  <a:cubicBezTo>
                    <a:pt x="35267" y="678193"/>
                    <a:pt x="34905" y="678012"/>
                    <a:pt x="34543" y="677831"/>
                  </a:cubicBezTo>
                  <a:cubicBezTo>
                    <a:pt x="33820" y="677288"/>
                    <a:pt x="33458" y="676565"/>
                    <a:pt x="33277" y="675661"/>
                  </a:cubicBezTo>
                  <a:lnTo>
                    <a:pt x="0" y="2882"/>
                  </a:lnTo>
                  <a:cubicBezTo>
                    <a:pt x="0" y="1797"/>
                    <a:pt x="724" y="712"/>
                    <a:pt x="1809" y="169"/>
                  </a:cubicBezTo>
                  <a:cubicBezTo>
                    <a:pt x="2894" y="-192"/>
                    <a:pt x="4160" y="-12"/>
                    <a:pt x="4883" y="1074"/>
                  </a:cubicBezTo>
                  <a:lnTo>
                    <a:pt x="428264" y="526817"/>
                  </a:lnTo>
                  <a:cubicBezTo>
                    <a:pt x="428806" y="527541"/>
                    <a:pt x="428987" y="528445"/>
                    <a:pt x="428806" y="529168"/>
                  </a:cubicBezTo>
                  <a:cubicBezTo>
                    <a:pt x="428625" y="530073"/>
                    <a:pt x="427902" y="530615"/>
                    <a:pt x="427179" y="530977"/>
                  </a:cubicBezTo>
                  <a:lnTo>
                    <a:pt x="37075" y="678012"/>
                  </a:lnTo>
                  <a:cubicBezTo>
                    <a:pt x="36533" y="678193"/>
                    <a:pt x="36171" y="678193"/>
                    <a:pt x="35809" y="678193"/>
                  </a:cubicBezTo>
                  <a:close/>
                  <a:moveTo>
                    <a:pt x="5787" y="11020"/>
                  </a:moveTo>
                  <a:lnTo>
                    <a:pt x="38522" y="671863"/>
                  </a:lnTo>
                  <a:lnTo>
                    <a:pt x="421572" y="527360"/>
                  </a:lnTo>
                  <a:lnTo>
                    <a:pt x="5787" y="110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1" name="Google Shape;621;p21"/>
            <p:cNvSpPr/>
            <p:nvPr/>
          </p:nvSpPr>
          <p:spPr>
            <a:xfrm>
              <a:off x="10678303" y="2904296"/>
              <a:ext cx="761830" cy="531282"/>
            </a:xfrm>
            <a:custGeom>
              <a:avLst/>
              <a:gdLst/>
              <a:ahLst/>
              <a:cxnLst/>
              <a:rect l="l" t="t" r="r" b="b"/>
              <a:pathLst>
                <a:path w="761830" h="531282" extrusionOk="0">
                  <a:moveTo>
                    <a:pt x="425937" y="531283"/>
                  </a:moveTo>
                  <a:cubicBezTo>
                    <a:pt x="425214" y="531102"/>
                    <a:pt x="424490" y="530921"/>
                    <a:pt x="423948" y="530198"/>
                  </a:cubicBezTo>
                  <a:lnTo>
                    <a:pt x="568" y="4454"/>
                  </a:lnTo>
                  <a:cubicBezTo>
                    <a:pt x="-156" y="3549"/>
                    <a:pt x="-156" y="2284"/>
                    <a:pt x="387" y="1198"/>
                  </a:cubicBezTo>
                  <a:cubicBezTo>
                    <a:pt x="1110" y="294"/>
                    <a:pt x="2376" y="-248"/>
                    <a:pt x="3461" y="113"/>
                  </a:cubicBezTo>
                  <a:lnTo>
                    <a:pt x="759976" y="243543"/>
                  </a:lnTo>
                  <a:cubicBezTo>
                    <a:pt x="760880" y="243905"/>
                    <a:pt x="761603" y="244628"/>
                    <a:pt x="761784" y="245533"/>
                  </a:cubicBezTo>
                  <a:cubicBezTo>
                    <a:pt x="761965" y="246437"/>
                    <a:pt x="761603" y="247522"/>
                    <a:pt x="760880" y="248065"/>
                  </a:cubicBezTo>
                  <a:lnTo>
                    <a:pt x="427746" y="530379"/>
                  </a:lnTo>
                  <a:cubicBezTo>
                    <a:pt x="427203" y="531102"/>
                    <a:pt x="426480" y="531283"/>
                    <a:pt x="425937" y="531283"/>
                  </a:cubicBezTo>
                  <a:close/>
                  <a:moveTo>
                    <a:pt x="10334" y="8252"/>
                  </a:moveTo>
                  <a:lnTo>
                    <a:pt x="426299" y="524772"/>
                  </a:lnTo>
                  <a:lnTo>
                    <a:pt x="753646" y="247341"/>
                  </a:lnTo>
                  <a:lnTo>
                    <a:pt x="10334" y="825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2" name="Google Shape;622;p21"/>
            <p:cNvSpPr/>
            <p:nvPr/>
          </p:nvSpPr>
          <p:spPr>
            <a:xfrm>
              <a:off x="10678039" y="1766877"/>
              <a:ext cx="843432" cy="1386455"/>
            </a:xfrm>
            <a:custGeom>
              <a:avLst/>
              <a:gdLst/>
              <a:ahLst/>
              <a:cxnLst/>
              <a:rect l="l" t="t" r="r" b="b"/>
              <a:pathLst>
                <a:path w="843432" h="1386455" extrusionOk="0">
                  <a:moveTo>
                    <a:pt x="759154" y="1386388"/>
                  </a:moveTo>
                  <a:cubicBezTo>
                    <a:pt x="758974" y="1386388"/>
                    <a:pt x="758793" y="1386388"/>
                    <a:pt x="758431" y="1386207"/>
                  </a:cubicBezTo>
                  <a:lnTo>
                    <a:pt x="1917" y="1142777"/>
                  </a:lnTo>
                  <a:cubicBezTo>
                    <a:pt x="1012" y="1142596"/>
                    <a:pt x="470" y="1141873"/>
                    <a:pt x="108" y="1140968"/>
                  </a:cubicBezTo>
                  <a:cubicBezTo>
                    <a:pt x="-73" y="1140064"/>
                    <a:pt x="-73" y="1139160"/>
                    <a:pt x="470" y="1138617"/>
                  </a:cubicBezTo>
                  <a:lnTo>
                    <a:pt x="838550" y="1043"/>
                  </a:lnTo>
                  <a:cubicBezTo>
                    <a:pt x="839273" y="139"/>
                    <a:pt x="840539" y="-223"/>
                    <a:pt x="841624" y="139"/>
                  </a:cubicBezTo>
                  <a:cubicBezTo>
                    <a:pt x="842709" y="500"/>
                    <a:pt x="843433" y="1585"/>
                    <a:pt x="843433" y="2851"/>
                  </a:cubicBezTo>
                  <a:lnTo>
                    <a:pt x="761867" y="1383856"/>
                  </a:lnTo>
                  <a:cubicBezTo>
                    <a:pt x="761867" y="1384760"/>
                    <a:pt x="761325" y="1385484"/>
                    <a:pt x="760782" y="1385845"/>
                  </a:cubicBezTo>
                  <a:cubicBezTo>
                    <a:pt x="760421" y="1386388"/>
                    <a:pt x="759878" y="1386569"/>
                    <a:pt x="759154" y="1386388"/>
                  </a:cubicBezTo>
                  <a:close/>
                  <a:moveTo>
                    <a:pt x="7342" y="1138979"/>
                  </a:moveTo>
                  <a:lnTo>
                    <a:pt x="756984" y="1380239"/>
                  </a:lnTo>
                  <a:lnTo>
                    <a:pt x="837826" y="11713"/>
                  </a:lnTo>
                  <a:lnTo>
                    <a:pt x="7342" y="113897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3" name="Google Shape;623;p21"/>
            <p:cNvSpPr/>
            <p:nvPr/>
          </p:nvSpPr>
          <p:spPr>
            <a:xfrm>
              <a:off x="9849223" y="4241004"/>
              <a:ext cx="991831" cy="721347"/>
            </a:xfrm>
            <a:custGeom>
              <a:avLst/>
              <a:gdLst/>
              <a:ahLst/>
              <a:cxnLst/>
              <a:rect l="l" t="t" r="r" b="b"/>
              <a:pathLst>
                <a:path w="991831" h="721347" extrusionOk="0">
                  <a:moveTo>
                    <a:pt x="2419" y="721348"/>
                  </a:moveTo>
                  <a:cubicBezTo>
                    <a:pt x="1695" y="721348"/>
                    <a:pt x="972" y="720986"/>
                    <a:pt x="610" y="720444"/>
                  </a:cubicBezTo>
                  <a:cubicBezTo>
                    <a:pt x="68" y="719720"/>
                    <a:pt x="-113" y="718816"/>
                    <a:pt x="68" y="717912"/>
                  </a:cubicBezTo>
                  <a:lnTo>
                    <a:pt x="229934" y="1909"/>
                  </a:lnTo>
                  <a:cubicBezTo>
                    <a:pt x="230115" y="1005"/>
                    <a:pt x="230838" y="462"/>
                    <a:pt x="231742" y="101"/>
                  </a:cubicBezTo>
                  <a:cubicBezTo>
                    <a:pt x="232647" y="-80"/>
                    <a:pt x="233551" y="-80"/>
                    <a:pt x="234274" y="643"/>
                  </a:cubicBezTo>
                  <a:lnTo>
                    <a:pt x="990789" y="593303"/>
                  </a:lnTo>
                  <a:cubicBezTo>
                    <a:pt x="991693" y="594027"/>
                    <a:pt x="992055" y="595112"/>
                    <a:pt x="991693" y="596197"/>
                  </a:cubicBezTo>
                  <a:cubicBezTo>
                    <a:pt x="991331" y="597282"/>
                    <a:pt x="990427" y="598005"/>
                    <a:pt x="989342" y="598186"/>
                  </a:cubicBezTo>
                  <a:lnTo>
                    <a:pt x="2962" y="721348"/>
                  </a:lnTo>
                  <a:cubicBezTo>
                    <a:pt x="2781" y="721348"/>
                    <a:pt x="2600" y="721348"/>
                    <a:pt x="2419" y="721348"/>
                  </a:cubicBezTo>
                  <a:close/>
                  <a:moveTo>
                    <a:pt x="233913" y="7154"/>
                  </a:moveTo>
                  <a:lnTo>
                    <a:pt x="6579" y="715380"/>
                  </a:lnTo>
                  <a:lnTo>
                    <a:pt x="982289" y="593484"/>
                  </a:lnTo>
                  <a:lnTo>
                    <a:pt x="233913" y="71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4" name="Google Shape;624;p21"/>
            <p:cNvSpPr/>
            <p:nvPr/>
          </p:nvSpPr>
          <p:spPr>
            <a:xfrm>
              <a:off x="9849360" y="4833736"/>
              <a:ext cx="991861" cy="443302"/>
            </a:xfrm>
            <a:custGeom>
              <a:avLst/>
              <a:gdLst/>
              <a:ahLst/>
              <a:cxnLst/>
              <a:rect l="l" t="t" r="r" b="b"/>
              <a:pathLst>
                <a:path w="991861" h="443302" extrusionOk="0">
                  <a:moveTo>
                    <a:pt x="562569" y="443302"/>
                  </a:moveTo>
                  <a:cubicBezTo>
                    <a:pt x="562207" y="443302"/>
                    <a:pt x="561846" y="443121"/>
                    <a:pt x="561484" y="442940"/>
                  </a:cubicBezTo>
                  <a:lnTo>
                    <a:pt x="1377" y="128254"/>
                  </a:lnTo>
                  <a:cubicBezTo>
                    <a:pt x="292" y="127711"/>
                    <a:pt x="-250" y="126445"/>
                    <a:pt x="112" y="125360"/>
                  </a:cubicBezTo>
                  <a:cubicBezTo>
                    <a:pt x="292" y="124275"/>
                    <a:pt x="1197" y="123371"/>
                    <a:pt x="2463" y="123190"/>
                  </a:cubicBezTo>
                  <a:lnTo>
                    <a:pt x="988843" y="28"/>
                  </a:lnTo>
                  <a:cubicBezTo>
                    <a:pt x="989928" y="-153"/>
                    <a:pt x="991013" y="570"/>
                    <a:pt x="991556" y="1475"/>
                  </a:cubicBezTo>
                  <a:cubicBezTo>
                    <a:pt x="992098" y="2560"/>
                    <a:pt x="991918" y="3826"/>
                    <a:pt x="991013" y="4549"/>
                  </a:cubicBezTo>
                  <a:lnTo>
                    <a:pt x="564739" y="442398"/>
                  </a:lnTo>
                  <a:cubicBezTo>
                    <a:pt x="564016" y="442940"/>
                    <a:pt x="563293" y="443302"/>
                    <a:pt x="562569" y="443302"/>
                  </a:cubicBezTo>
                  <a:close/>
                  <a:moveTo>
                    <a:pt x="10963" y="127530"/>
                  </a:moveTo>
                  <a:lnTo>
                    <a:pt x="562207" y="437153"/>
                  </a:lnTo>
                  <a:lnTo>
                    <a:pt x="981609" y="6177"/>
                  </a:lnTo>
                  <a:lnTo>
                    <a:pt x="10963" y="1275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5" name="Google Shape;625;p21"/>
            <p:cNvSpPr/>
            <p:nvPr/>
          </p:nvSpPr>
          <p:spPr>
            <a:xfrm>
              <a:off x="10079018" y="4241104"/>
              <a:ext cx="1044825" cy="597904"/>
            </a:xfrm>
            <a:custGeom>
              <a:avLst/>
              <a:gdLst/>
              <a:ahLst/>
              <a:cxnLst/>
              <a:rect l="l" t="t" r="r" b="b"/>
              <a:pathLst>
                <a:path w="1044825" h="597904" extrusionOk="0">
                  <a:moveTo>
                    <a:pt x="759004" y="597905"/>
                  </a:moveTo>
                  <a:cubicBezTo>
                    <a:pt x="758461" y="597905"/>
                    <a:pt x="757919" y="597724"/>
                    <a:pt x="757557" y="597362"/>
                  </a:cubicBezTo>
                  <a:lnTo>
                    <a:pt x="1043" y="4702"/>
                  </a:lnTo>
                  <a:cubicBezTo>
                    <a:pt x="139" y="3979"/>
                    <a:pt x="-223" y="2713"/>
                    <a:pt x="139" y="1628"/>
                  </a:cubicBezTo>
                  <a:cubicBezTo>
                    <a:pt x="500" y="543"/>
                    <a:pt x="1766" y="0"/>
                    <a:pt x="2851" y="0"/>
                  </a:cubicBezTo>
                  <a:lnTo>
                    <a:pt x="1042403" y="113034"/>
                  </a:lnTo>
                  <a:cubicBezTo>
                    <a:pt x="1043307" y="113215"/>
                    <a:pt x="1044031" y="113757"/>
                    <a:pt x="1044573" y="114481"/>
                  </a:cubicBezTo>
                  <a:cubicBezTo>
                    <a:pt x="1044935" y="115385"/>
                    <a:pt x="1044935" y="116289"/>
                    <a:pt x="1044392" y="117013"/>
                  </a:cubicBezTo>
                  <a:lnTo>
                    <a:pt x="761355" y="596639"/>
                  </a:lnTo>
                  <a:cubicBezTo>
                    <a:pt x="760993" y="597362"/>
                    <a:pt x="760270" y="597724"/>
                    <a:pt x="759547" y="597905"/>
                  </a:cubicBezTo>
                  <a:cubicBezTo>
                    <a:pt x="759547" y="597905"/>
                    <a:pt x="759185" y="597905"/>
                    <a:pt x="759004" y="597905"/>
                  </a:cubicBezTo>
                  <a:close/>
                  <a:moveTo>
                    <a:pt x="11713" y="6330"/>
                  </a:moveTo>
                  <a:lnTo>
                    <a:pt x="758461" y="591394"/>
                  </a:lnTo>
                  <a:lnTo>
                    <a:pt x="1037882" y="118098"/>
                  </a:lnTo>
                  <a:lnTo>
                    <a:pt x="11713" y="63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6" name="Google Shape;626;p21"/>
            <p:cNvSpPr/>
            <p:nvPr/>
          </p:nvSpPr>
          <p:spPr>
            <a:xfrm>
              <a:off x="10409332" y="4833860"/>
              <a:ext cx="431695" cy="555307"/>
            </a:xfrm>
            <a:custGeom>
              <a:avLst/>
              <a:gdLst/>
              <a:ahLst/>
              <a:cxnLst/>
              <a:rect l="l" t="t" r="r" b="b"/>
              <a:pathLst>
                <a:path w="431695" h="555307" extrusionOk="0">
                  <a:moveTo>
                    <a:pt x="267007" y="555308"/>
                  </a:moveTo>
                  <a:cubicBezTo>
                    <a:pt x="266645" y="555308"/>
                    <a:pt x="266464" y="555127"/>
                    <a:pt x="266102" y="555127"/>
                  </a:cubicBezTo>
                  <a:lnTo>
                    <a:pt x="1693" y="442997"/>
                  </a:lnTo>
                  <a:cubicBezTo>
                    <a:pt x="789" y="442636"/>
                    <a:pt x="246" y="441912"/>
                    <a:pt x="65" y="441008"/>
                  </a:cubicBezTo>
                  <a:cubicBezTo>
                    <a:pt x="-116" y="440103"/>
                    <a:pt x="65" y="439199"/>
                    <a:pt x="789" y="438657"/>
                  </a:cubicBezTo>
                  <a:lnTo>
                    <a:pt x="427063" y="808"/>
                  </a:lnTo>
                  <a:cubicBezTo>
                    <a:pt x="427967" y="-96"/>
                    <a:pt x="429233" y="-277"/>
                    <a:pt x="430318" y="446"/>
                  </a:cubicBezTo>
                  <a:cubicBezTo>
                    <a:pt x="431403" y="989"/>
                    <a:pt x="431946" y="2255"/>
                    <a:pt x="431584" y="3521"/>
                  </a:cubicBezTo>
                  <a:lnTo>
                    <a:pt x="269900" y="553499"/>
                  </a:lnTo>
                  <a:cubicBezTo>
                    <a:pt x="269719" y="554223"/>
                    <a:pt x="269177" y="554765"/>
                    <a:pt x="268453" y="555127"/>
                  </a:cubicBezTo>
                  <a:cubicBezTo>
                    <a:pt x="267911" y="555127"/>
                    <a:pt x="267368" y="555308"/>
                    <a:pt x="267007" y="555308"/>
                  </a:cubicBezTo>
                  <a:close/>
                  <a:moveTo>
                    <a:pt x="7300" y="439561"/>
                  </a:moveTo>
                  <a:lnTo>
                    <a:pt x="265379" y="548978"/>
                  </a:lnTo>
                  <a:lnTo>
                    <a:pt x="423265" y="12202"/>
                  </a:lnTo>
                  <a:lnTo>
                    <a:pt x="7300" y="43956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7" name="Google Shape;627;p21"/>
            <p:cNvSpPr/>
            <p:nvPr/>
          </p:nvSpPr>
          <p:spPr>
            <a:xfrm>
              <a:off x="10673738" y="4833898"/>
              <a:ext cx="655846" cy="555270"/>
            </a:xfrm>
            <a:custGeom>
              <a:avLst/>
              <a:gdLst/>
              <a:ahLst/>
              <a:cxnLst/>
              <a:rect l="l" t="t" r="r" b="b"/>
              <a:pathLst>
                <a:path w="655846" h="555270" extrusionOk="0">
                  <a:moveTo>
                    <a:pt x="2600" y="555270"/>
                  </a:moveTo>
                  <a:cubicBezTo>
                    <a:pt x="1876" y="555270"/>
                    <a:pt x="1153" y="554908"/>
                    <a:pt x="611" y="554185"/>
                  </a:cubicBezTo>
                  <a:cubicBezTo>
                    <a:pt x="68" y="553462"/>
                    <a:pt x="-113" y="552557"/>
                    <a:pt x="68" y="551834"/>
                  </a:cubicBezTo>
                  <a:lnTo>
                    <a:pt x="161752" y="1855"/>
                  </a:lnTo>
                  <a:cubicBezTo>
                    <a:pt x="161933" y="951"/>
                    <a:pt x="162837" y="228"/>
                    <a:pt x="163741" y="47"/>
                  </a:cubicBezTo>
                  <a:cubicBezTo>
                    <a:pt x="164645" y="-134"/>
                    <a:pt x="165731" y="228"/>
                    <a:pt x="166273" y="770"/>
                  </a:cubicBezTo>
                  <a:lnTo>
                    <a:pt x="655123" y="532844"/>
                  </a:lnTo>
                  <a:cubicBezTo>
                    <a:pt x="655846" y="533568"/>
                    <a:pt x="656027" y="534653"/>
                    <a:pt x="655665" y="535738"/>
                  </a:cubicBezTo>
                  <a:cubicBezTo>
                    <a:pt x="655304" y="536642"/>
                    <a:pt x="654400" y="537366"/>
                    <a:pt x="653314" y="537366"/>
                  </a:cubicBezTo>
                  <a:lnTo>
                    <a:pt x="2781" y="555270"/>
                  </a:lnTo>
                  <a:cubicBezTo>
                    <a:pt x="2781" y="555270"/>
                    <a:pt x="2600" y="555270"/>
                    <a:pt x="2600" y="555270"/>
                  </a:cubicBezTo>
                  <a:close/>
                  <a:moveTo>
                    <a:pt x="165731" y="7824"/>
                  </a:moveTo>
                  <a:lnTo>
                    <a:pt x="6398" y="549664"/>
                  </a:lnTo>
                  <a:lnTo>
                    <a:pt x="647346" y="531940"/>
                  </a:lnTo>
                  <a:lnTo>
                    <a:pt x="165731" y="782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8" name="Google Shape;628;p21"/>
            <p:cNvSpPr/>
            <p:nvPr/>
          </p:nvSpPr>
          <p:spPr>
            <a:xfrm>
              <a:off x="10835536" y="4354090"/>
              <a:ext cx="559021" cy="484989"/>
            </a:xfrm>
            <a:custGeom>
              <a:avLst/>
              <a:gdLst/>
              <a:ahLst/>
              <a:cxnLst/>
              <a:rect l="l" t="t" r="r" b="b"/>
              <a:pathLst>
                <a:path w="559021" h="484989" extrusionOk="0">
                  <a:moveTo>
                    <a:pt x="2486" y="484919"/>
                  </a:moveTo>
                  <a:cubicBezTo>
                    <a:pt x="1762" y="484919"/>
                    <a:pt x="1039" y="484557"/>
                    <a:pt x="677" y="484015"/>
                  </a:cubicBezTo>
                  <a:cubicBezTo>
                    <a:pt x="-46" y="483110"/>
                    <a:pt x="-227" y="481844"/>
                    <a:pt x="315" y="480940"/>
                  </a:cubicBezTo>
                  <a:lnTo>
                    <a:pt x="283353" y="1314"/>
                  </a:lnTo>
                  <a:cubicBezTo>
                    <a:pt x="283714" y="591"/>
                    <a:pt x="284438" y="229"/>
                    <a:pt x="285161" y="48"/>
                  </a:cubicBezTo>
                  <a:cubicBezTo>
                    <a:pt x="285885" y="-133"/>
                    <a:pt x="286789" y="229"/>
                    <a:pt x="287331" y="591"/>
                  </a:cubicBezTo>
                  <a:lnTo>
                    <a:pt x="558071" y="236063"/>
                  </a:lnTo>
                  <a:cubicBezTo>
                    <a:pt x="558794" y="236606"/>
                    <a:pt x="559156" y="237510"/>
                    <a:pt x="558975" y="238414"/>
                  </a:cubicBezTo>
                  <a:cubicBezTo>
                    <a:pt x="558794" y="239319"/>
                    <a:pt x="558252" y="240042"/>
                    <a:pt x="557347" y="240404"/>
                  </a:cubicBezTo>
                  <a:lnTo>
                    <a:pt x="3571" y="484557"/>
                  </a:lnTo>
                  <a:cubicBezTo>
                    <a:pt x="3390" y="484919"/>
                    <a:pt x="3028" y="485100"/>
                    <a:pt x="2486" y="484919"/>
                  </a:cubicBezTo>
                  <a:close/>
                  <a:moveTo>
                    <a:pt x="286427" y="6920"/>
                  </a:moveTo>
                  <a:lnTo>
                    <a:pt x="9358" y="476599"/>
                  </a:lnTo>
                  <a:lnTo>
                    <a:pt x="551560" y="237510"/>
                  </a:lnTo>
                  <a:lnTo>
                    <a:pt x="286427" y="69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9" name="Google Shape;629;p21"/>
            <p:cNvSpPr/>
            <p:nvPr/>
          </p:nvSpPr>
          <p:spPr>
            <a:xfrm>
              <a:off x="10835490" y="4656662"/>
              <a:ext cx="760854" cy="714601"/>
            </a:xfrm>
            <a:custGeom>
              <a:avLst/>
              <a:gdLst/>
              <a:ahLst/>
              <a:cxnLst/>
              <a:rect l="l" t="t" r="r" b="b"/>
              <a:pathLst>
                <a:path w="760854" h="714601" extrusionOk="0">
                  <a:moveTo>
                    <a:pt x="491382" y="714602"/>
                  </a:moveTo>
                  <a:cubicBezTo>
                    <a:pt x="490658" y="714602"/>
                    <a:pt x="490116" y="714240"/>
                    <a:pt x="489573" y="713698"/>
                  </a:cubicBezTo>
                  <a:lnTo>
                    <a:pt x="723" y="181624"/>
                  </a:lnTo>
                  <a:cubicBezTo>
                    <a:pt x="0" y="180901"/>
                    <a:pt x="-181" y="179996"/>
                    <a:pt x="181" y="179092"/>
                  </a:cubicBezTo>
                  <a:cubicBezTo>
                    <a:pt x="542" y="178188"/>
                    <a:pt x="1266" y="177464"/>
                    <a:pt x="2170" y="177284"/>
                  </a:cubicBezTo>
                  <a:lnTo>
                    <a:pt x="757419" y="46"/>
                  </a:lnTo>
                  <a:cubicBezTo>
                    <a:pt x="758323" y="-135"/>
                    <a:pt x="759408" y="227"/>
                    <a:pt x="760131" y="950"/>
                  </a:cubicBezTo>
                  <a:cubicBezTo>
                    <a:pt x="760855" y="1674"/>
                    <a:pt x="761036" y="2759"/>
                    <a:pt x="760674" y="3663"/>
                  </a:cubicBezTo>
                  <a:lnTo>
                    <a:pt x="494095" y="712794"/>
                  </a:lnTo>
                  <a:cubicBezTo>
                    <a:pt x="493733" y="713698"/>
                    <a:pt x="493009" y="714240"/>
                    <a:pt x="492105" y="714421"/>
                  </a:cubicBezTo>
                  <a:cubicBezTo>
                    <a:pt x="491743" y="714602"/>
                    <a:pt x="491563" y="714602"/>
                    <a:pt x="491382" y="714602"/>
                  </a:cubicBezTo>
                  <a:close/>
                  <a:moveTo>
                    <a:pt x="7777" y="181262"/>
                  </a:moveTo>
                  <a:lnTo>
                    <a:pt x="490477" y="706825"/>
                  </a:lnTo>
                  <a:lnTo>
                    <a:pt x="753802" y="6376"/>
                  </a:lnTo>
                  <a:lnTo>
                    <a:pt x="7777" y="18126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0" name="Google Shape;630;p21"/>
            <p:cNvSpPr/>
            <p:nvPr/>
          </p:nvSpPr>
          <p:spPr>
            <a:xfrm>
              <a:off x="10835561" y="4589492"/>
              <a:ext cx="760784" cy="249597"/>
            </a:xfrm>
            <a:custGeom>
              <a:avLst/>
              <a:gdLst/>
              <a:ahLst/>
              <a:cxnLst/>
              <a:rect l="l" t="t" r="r" b="b"/>
              <a:pathLst>
                <a:path w="760784" h="249597" extrusionOk="0">
                  <a:moveTo>
                    <a:pt x="2461" y="249517"/>
                  </a:moveTo>
                  <a:cubicBezTo>
                    <a:pt x="1376" y="249517"/>
                    <a:pt x="472" y="248794"/>
                    <a:pt x="110" y="247708"/>
                  </a:cubicBezTo>
                  <a:cubicBezTo>
                    <a:pt x="-252" y="246443"/>
                    <a:pt x="291" y="244996"/>
                    <a:pt x="1557" y="244453"/>
                  </a:cubicBezTo>
                  <a:lnTo>
                    <a:pt x="555333" y="300"/>
                  </a:lnTo>
                  <a:cubicBezTo>
                    <a:pt x="555876" y="-62"/>
                    <a:pt x="556599" y="-62"/>
                    <a:pt x="557323" y="119"/>
                  </a:cubicBezTo>
                  <a:lnTo>
                    <a:pt x="758975" y="67216"/>
                  </a:lnTo>
                  <a:cubicBezTo>
                    <a:pt x="760060" y="67578"/>
                    <a:pt x="760784" y="68663"/>
                    <a:pt x="760784" y="69929"/>
                  </a:cubicBezTo>
                  <a:cubicBezTo>
                    <a:pt x="760784" y="71195"/>
                    <a:pt x="759880" y="72099"/>
                    <a:pt x="758795" y="72460"/>
                  </a:cubicBezTo>
                  <a:lnTo>
                    <a:pt x="3546" y="249517"/>
                  </a:lnTo>
                  <a:cubicBezTo>
                    <a:pt x="3004" y="249517"/>
                    <a:pt x="2823" y="249698"/>
                    <a:pt x="2461" y="249517"/>
                  </a:cubicBezTo>
                  <a:close/>
                  <a:moveTo>
                    <a:pt x="556599" y="5725"/>
                  </a:moveTo>
                  <a:lnTo>
                    <a:pt x="30313" y="237761"/>
                  </a:lnTo>
                  <a:lnTo>
                    <a:pt x="748124" y="69386"/>
                  </a:lnTo>
                  <a:lnTo>
                    <a:pt x="556599" y="57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1" name="Google Shape;631;p21"/>
            <p:cNvSpPr/>
            <p:nvPr/>
          </p:nvSpPr>
          <p:spPr>
            <a:xfrm>
              <a:off x="11896925" y="6061766"/>
              <a:ext cx="646006" cy="120991"/>
            </a:xfrm>
            <a:custGeom>
              <a:avLst/>
              <a:gdLst/>
              <a:ahLst/>
              <a:cxnLst/>
              <a:rect l="l" t="t" r="r" b="b"/>
              <a:pathLst>
                <a:path w="646006" h="120991" extrusionOk="0">
                  <a:moveTo>
                    <a:pt x="501148" y="120991"/>
                  </a:moveTo>
                  <a:cubicBezTo>
                    <a:pt x="501148" y="120991"/>
                    <a:pt x="500967" y="120991"/>
                    <a:pt x="500967" y="120991"/>
                  </a:cubicBezTo>
                  <a:lnTo>
                    <a:pt x="2351" y="45394"/>
                  </a:lnTo>
                  <a:cubicBezTo>
                    <a:pt x="1085" y="45214"/>
                    <a:pt x="0" y="43947"/>
                    <a:pt x="0" y="42682"/>
                  </a:cubicBezTo>
                  <a:cubicBezTo>
                    <a:pt x="0" y="41235"/>
                    <a:pt x="1085" y="40150"/>
                    <a:pt x="2532" y="40150"/>
                  </a:cubicBezTo>
                  <a:lnTo>
                    <a:pt x="643119" y="0"/>
                  </a:lnTo>
                  <a:cubicBezTo>
                    <a:pt x="644385" y="0"/>
                    <a:pt x="645289" y="543"/>
                    <a:pt x="645831" y="1628"/>
                  </a:cubicBezTo>
                  <a:cubicBezTo>
                    <a:pt x="646193" y="2713"/>
                    <a:pt x="646012" y="3979"/>
                    <a:pt x="645108" y="4702"/>
                  </a:cubicBezTo>
                  <a:lnTo>
                    <a:pt x="503137" y="120449"/>
                  </a:lnTo>
                  <a:cubicBezTo>
                    <a:pt x="502595" y="120811"/>
                    <a:pt x="501871" y="120991"/>
                    <a:pt x="501148" y="120991"/>
                  </a:cubicBezTo>
                  <a:close/>
                  <a:moveTo>
                    <a:pt x="28033" y="43767"/>
                  </a:moveTo>
                  <a:lnTo>
                    <a:pt x="500605" y="115385"/>
                  </a:lnTo>
                  <a:lnTo>
                    <a:pt x="635161" y="5606"/>
                  </a:lnTo>
                  <a:lnTo>
                    <a:pt x="28033" y="437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2" name="Google Shape;632;p21"/>
            <p:cNvSpPr/>
            <p:nvPr/>
          </p:nvSpPr>
          <p:spPr>
            <a:xfrm>
              <a:off x="11896995" y="6101526"/>
              <a:ext cx="757168" cy="406091"/>
            </a:xfrm>
            <a:custGeom>
              <a:avLst/>
              <a:gdLst/>
              <a:ahLst/>
              <a:cxnLst/>
              <a:rect l="l" t="t" r="r" b="b"/>
              <a:pathLst>
                <a:path w="757168" h="406091" extrusionOk="0">
                  <a:moveTo>
                    <a:pt x="754456" y="406046"/>
                  </a:moveTo>
                  <a:cubicBezTo>
                    <a:pt x="754094" y="406046"/>
                    <a:pt x="753732" y="405865"/>
                    <a:pt x="753371" y="405684"/>
                  </a:cubicBezTo>
                  <a:lnTo>
                    <a:pt x="1377" y="5091"/>
                  </a:lnTo>
                  <a:cubicBezTo>
                    <a:pt x="292" y="4549"/>
                    <a:pt x="-250" y="3102"/>
                    <a:pt x="112" y="1836"/>
                  </a:cubicBezTo>
                  <a:cubicBezTo>
                    <a:pt x="473" y="570"/>
                    <a:pt x="1558" y="-153"/>
                    <a:pt x="3005" y="28"/>
                  </a:cubicBezTo>
                  <a:lnTo>
                    <a:pt x="501621" y="75625"/>
                  </a:lnTo>
                  <a:cubicBezTo>
                    <a:pt x="502344" y="75806"/>
                    <a:pt x="502887" y="76167"/>
                    <a:pt x="503249" y="76710"/>
                  </a:cubicBezTo>
                  <a:lnTo>
                    <a:pt x="756626" y="401525"/>
                  </a:lnTo>
                  <a:cubicBezTo>
                    <a:pt x="757349" y="402610"/>
                    <a:pt x="757349" y="403875"/>
                    <a:pt x="756626" y="404960"/>
                  </a:cubicBezTo>
                  <a:cubicBezTo>
                    <a:pt x="756264" y="405865"/>
                    <a:pt x="755360" y="406226"/>
                    <a:pt x="754456" y="406046"/>
                  </a:cubicBezTo>
                  <a:close/>
                  <a:moveTo>
                    <a:pt x="17835" y="7985"/>
                  </a:moveTo>
                  <a:lnTo>
                    <a:pt x="744689" y="395195"/>
                  </a:lnTo>
                  <a:lnTo>
                    <a:pt x="499813" y="81231"/>
                  </a:lnTo>
                  <a:lnTo>
                    <a:pt x="17835" y="798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3" name="Google Shape;633;p21"/>
            <p:cNvSpPr/>
            <p:nvPr/>
          </p:nvSpPr>
          <p:spPr>
            <a:xfrm>
              <a:off x="7614904" y="4593833"/>
              <a:ext cx="754906" cy="328550"/>
            </a:xfrm>
            <a:custGeom>
              <a:avLst/>
              <a:gdLst/>
              <a:ahLst/>
              <a:cxnLst/>
              <a:rect l="l" t="t" r="r" b="b"/>
              <a:pathLst>
                <a:path w="754906" h="328550" extrusionOk="0">
                  <a:moveTo>
                    <a:pt x="2461" y="328369"/>
                  </a:moveTo>
                  <a:cubicBezTo>
                    <a:pt x="1376" y="328369"/>
                    <a:pt x="472" y="327465"/>
                    <a:pt x="110" y="326380"/>
                  </a:cubicBezTo>
                  <a:cubicBezTo>
                    <a:pt x="-252" y="325114"/>
                    <a:pt x="291" y="323848"/>
                    <a:pt x="1557" y="323125"/>
                  </a:cubicBezTo>
                  <a:lnTo>
                    <a:pt x="637622" y="299"/>
                  </a:lnTo>
                  <a:cubicBezTo>
                    <a:pt x="638165" y="-62"/>
                    <a:pt x="639069" y="-62"/>
                    <a:pt x="639612" y="119"/>
                  </a:cubicBezTo>
                  <a:cubicBezTo>
                    <a:pt x="640335" y="299"/>
                    <a:pt x="640878" y="842"/>
                    <a:pt x="641239" y="1566"/>
                  </a:cubicBezTo>
                  <a:lnTo>
                    <a:pt x="754635" y="235410"/>
                  </a:lnTo>
                  <a:cubicBezTo>
                    <a:pt x="754997" y="236134"/>
                    <a:pt x="754997" y="237038"/>
                    <a:pt x="754635" y="237942"/>
                  </a:cubicBezTo>
                  <a:cubicBezTo>
                    <a:pt x="754273" y="238666"/>
                    <a:pt x="753369" y="239208"/>
                    <a:pt x="752646" y="239389"/>
                  </a:cubicBezTo>
                  <a:lnTo>
                    <a:pt x="3004" y="328550"/>
                  </a:lnTo>
                  <a:cubicBezTo>
                    <a:pt x="2823" y="328369"/>
                    <a:pt x="2642" y="328369"/>
                    <a:pt x="2461" y="328369"/>
                  </a:cubicBezTo>
                  <a:close/>
                  <a:moveTo>
                    <a:pt x="637441" y="6448"/>
                  </a:moveTo>
                  <a:lnTo>
                    <a:pt x="17291" y="321135"/>
                  </a:lnTo>
                  <a:lnTo>
                    <a:pt x="748124" y="234325"/>
                  </a:lnTo>
                  <a:lnTo>
                    <a:pt x="637441" y="644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4" name="Google Shape;634;p21"/>
            <p:cNvSpPr/>
            <p:nvPr/>
          </p:nvSpPr>
          <p:spPr>
            <a:xfrm>
              <a:off x="8250989" y="4541142"/>
              <a:ext cx="389243" cy="291899"/>
            </a:xfrm>
            <a:custGeom>
              <a:avLst/>
              <a:gdLst/>
              <a:ahLst/>
              <a:cxnLst/>
              <a:rect l="l" t="t" r="r" b="b"/>
              <a:pathLst>
                <a:path w="389243" h="291899" extrusionOk="0">
                  <a:moveTo>
                    <a:pt x="115837" y="291899"/>
                  </a:moveTo>
                  <a:cubicBezTo>
                    <a:pt x="115837" y="291899"/>
                    <a:pt x="115656" y="291899"/>
                    <a:pt x="115656" y="291899"/>
                  </a:cubicBezTo>
                  <a:cubicBezTo>
                    <a:pt x="114752" y="291718"/>
                    <a:pt x="114029" y="291175"/>
                    <a:pt x="113667" y="290452"/>
                  </a:cubicBezTo>
                  <a:lnTo>
                    <a:pt x="271" y="56607"/>
                  </a:lnTo>
                  <a:cubicBezTo>
                    <a:pt x="-90" y="55884"/>
                    <a:pt x="-90" y="54980"/>
                    <a:pt x="271" y="54075"/>
                  </a:cubicBezTo>
                  <a:cubicBezTo>
                    <a:pt x="633" y="53352"/>
                    <a:pt x="1356" y="52809"/>
                    <a:pt x="2261" y="52629"/>
                  </a:cubicBezTo>
                  <a:lnTo>
                    <a:pt x="386215" y="0"/>
                  </a:lnTo>
                  <a:cubicBezTo>
                    <a:pt x="387300" y="0"/>
                    <a:pt x="388385" y="362"/>
                    <a:pt x="388928" y="1447"/>
                  </a:cubicBezTo>
                  <a:cubicBezTo>
                    <a:pt x="389470" y="2532"/>
                    <a:pt x="389289" y="3617"/>
                    <a:pt x="388566" y="4521"/>
                  </a:cubicBezTo>
                  <a:lnTo>
                    <a:pt x="118008" y="290995"/>
                  </a:lnTo>
                  <a:cubicBezTo>
                    <a:pt x="117465" y="291718"/>
                    <a:pt x="116742" y="291899"/>
                    <a:pt x="115837" y="291899"/>
                  </a:cubicBezTo>
                  <a:close/>
                  <a:moveTo>
                    <a:pt x="6601" y="57512"/>
                  </a:moveTo>
                  <a:lnTo>
                    <a:pt x="116742" y="284484"/>
                  </a:lnTo>
                  <a:lnTo>
                    <a:pt x="379342" y="6511"/>
                  </a:lnTo>
                  <a:lnTo>
                    <a:pt x="6601" y="5751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5" name="Google Shape;635;p21"/>
            <p:cNvSpPr/>
            <p:nvPr/>
          </p:nvSpPr>
          <p:spPr>
            <a:xfrm>
              <a:off x="9529267" y="2916615"/>
              <a:ext cx="152282" cy="457319"/>
            </a:xfrm>
            <a:custGeom>
              <a:avLst/>
              <a:gdLst/>
              <a:ahLst/>
              <a:cxnLst/>
              <a:rect l="l" t="t" r="r" b="b"/>
              <a:pathLst>
                <a:path w="152282" h="457319" extrusionOk="0">
                  <a:moveTo>
                    <a:pt x="2624" y="457292"/>
                  </a:moveTo>
                  <a:cubicBezTo>
                    <a:pt x="2443" y="457292"/>
                    <a:pt x="2262" y="457292"/>
                    <a:pt x="1901" y="457111"/>
                  </a:cubicBezTo>
                  <a:cubicBezTo>
                    <a:pt x="454" y="456569"/>
                    <a:pt x="-270" y="455122"/>
                    <a:pt x="92" y="453675"/>
                  </a:cubicBezTo>
                  <a:lnTo>
                    <a:pt x="146946" y="1901"/>
                  </a:lnTo>
                  <a:cubicBezTo>
                    <a:pt x="147489" y="454"/>
                    <a:pt x="148935" y="-270"/>
                    <a:pt x="150382" y="92"/>
                  </a:cubicBezTo>
                  <a:cubicBezTo>
                    <a:pt x="151829" y="635"/>
                    <a:pt x="152553" y="2082"/>
                    <a:pt x="152191" y="3528"/>
                  </a:cubicBezTo>
                  <a:lnTo>
                    <a:pt x="5337" y="455303"/>
                  </a:lnTo>
                  <a:cubicBezTo>
                    <a:pt x="4975" y="456750"/>
                    <a:pt x="3890" y="457473"/>
                    <a:pt x="2624" y="457292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6" name="Google Shape;636;p21"/>
            <p:cNvSpPr/>
            <p:nvPr/>
          </p:nvSpPr>
          <p:spPr>
            <a:xfrm>
              <a:off x="9529398" y="2916589"/>
              <a:ext cx="644164" cy="457318"/>
            </a:xfrm>
            <a:custGeom>
              <a:avLst/>
              <a:gdLst/>
              <a:ahLst/>
              <a:cxnLst/>
              <a:rect l="l" t="t" r="r" b="b"/>
              <a:pathLst>
                <a:path w="644164" h="457318" extrusionOk="0">
                  <a:moveTo>
                    <a:pt x="2493" y="457319"/>
                  </a:moveTo>
                  <a:cubicBezTo>
                    <a:pt x="1950" y="457319"/>
                    <a:pt x="1227" y="456957"/>
                    <a:pt x="865" y="456595"/>
                  </a:cubicBezTo>
                  <a:cubicBezTo>
                    <a:pt x="142" y="455872"/>
                    <a:pt x="-220" y="454787"/>
                    <a:pt x="142" y="453702"/>
                  </a:cubicBezTo>
                  <a:lnTo>
                    <a:pt x="146996" y="1927"/>
                  </a:lnTo>
                  <a:cubicBezTo>
                    <a:pt x="147177" y="1204"/>
                    <a:pt x="147719" y="661"/>
                    <a:pt x="148443" y="300"/>
                  </a:cubicBezTo>
                  <a:cubicBezTo>
                    <a:pt x="149166" y="-62"/>
                    <a:pt x="149889" y="-62"/>
                    <a:pt x="150613" y="119"/>
                  </a:cubicBezTo>
                  <a:lnTo>
                    <a:pt x="642356" y="180973"/>
                  </a:lnTo>
                  <a:cubicBezTo>
                    <a:pt x="643441" y="181335"/>
                    <a:pt x="644165" y="182420"/>
                    <a:pt x="644165" y="183505"/>
                  </a:cubicBezTo>
                  <a:cubicBezTo>
                    <a:pt x="644165" y="184590"/>
                    <a:pt x="643622" y="185675"/>
                    <a:pt x="642537" y="186037"/>
                  </a:cubicBezTo>
                  <a:lnTo>
                    <a:pt x="4121" y="456957"/>
                  </a:lnTo>
                  <a:cubicBezTo>
                    <a:pt x="3397" y="457319"/>
                    <a:pt x="3036" y="457319"/>
                    <a:pt x="2493" y="457319"/>
                  </a:cubicBezTo>
                  <a:close/>
                  <a:moveTo>
                    <a:pt x="151155" y="6268"/>
                  </a:moveTo>
                  <a:lnTo>
                    <a:pt x="7014" y="449904"/>
                  </a:lnTo>
                  <a:lnTo>
                    <a:pt x="633675" y="183867"/>
                  </a:lnTo>
                  <a:lnTo>
                    <a:pt x="151155" y="626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7" name="Google Shape;637;p21"/>
            <p:cNvSpPr/>
            <p:nvPr/>
          </p:nvSpPr>
          <p:spPr>
            <a:xfrm>
              <a:off x="9529496" y="3368638"/>
              <a:ext cx="700994" cy="598834"/>
            </a:xfrm>
            <a:custGeom>
              <a:avLst/>
              <a:gdLst/>
              <a:ahLst/>
              <a:cxnLst/>
              <a:rect l="l" t="t" r="r" b="b"/>
              <a:pathLst>
                <a:path w="700994" h="598834" extrusionOk="0">
                  <a:moveTo>
                    <a:pt x="144005" y="598834"/>
                  </a:moveTo>
                  <a:cubicBezTo>
                    <a:pt x="142919" y="598834"/>
                    <a:pt x="141834" y="597930"/>
                    <a:pt x="141473" y="596845"/>
                  </a:cubicBezTo>
                  <a:lnTo>
                    <a:pt x="44" y="3280"/>
                  </a:lnTo>
                  <a:cubicBezTo>
                    <a:pt x="-136" y="2195"/>
                    <a:pt x="225" y="929"/>
                    <a:pt x="1310" y="387"/>
                  </a:cubicBezTo>
                  <a:cubicBezTo>
                    <a:pt x="2215" y="-156"/>
                    <a:pt x="3481" y="-156"/>
                    <a:pt x="4385" y="568"/>
                  </a:cubicBezTo>
                  <a:lnTo>
                    <a:pt x="699951" y="563387"/>
                  </a:lnTo>
                  <a:cubicBezTo>
                    <a:pt x="700856" y="564110"/>
                    <a:pt x="701217" y="565195"/>
                    <a:pt x="700856" y="566280"/>
                  </a:cubicBezTo>
                  <a:cubicBezTo>
                    <a:pt x="700494" y="567365"/>
                    <a:pt x="699590" y="568089"/>
                    <a:pt x="698504" y="568089"/>
                  </a:cubicBezTo>
                  <a:lnTo>
                    <a:pt x="144366" y="598834"/>
                  </a:lnTo>
                  <a:cubicBezTo>
                    <a:pt x="144185" y="598834"/>
                    <a:pt x="144005" y="598834"/>
                    <a:pt x="144005" y="598834"/>
                  </a:cubicBezTo>
                  <a:close/>
                  <a:moveTo>
                    <a:pt x="7098" y="9791"/>
                  </a:moveTo>
                  <a:lnTo>
                    <a:pt x="146175" y="593408"/>
                  </a:lnTo>
                  <a:lnTo>
                    <a:pt x="691089" y="563206"/>
                  </a:lnTo>
                  <a:lnTo>
                    <a:pt x="7098" y="979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8" name="Google Shape;638;p21"/>
            <p:cNvSpPr/>
            <p:nvPr/>
          </p:nvSpPr>
          <p:spPr>
            <a:xfrm>
              <a:off x="9529675" y="3097545"/>
              <a:ext cx="701037" cy="839251"/>
            </a:xfrm>
            <a:custGeom>
              <a:avLst/>
              <a:gdLst/>
              <a:ahLst/>
              <a:cxnLst/>
              <a:rect l="l" t="t" r="r" b="b"/>
              <a:pathLst>
                <a:path w="701037" h="839251" extrusionOk="0">
                  <a:moveTo>
                    <a:pt x="697964" y="839181"/>
                  </a:moveTo>
                  <a:cubicBezTo>
                    <a:pt x="697421" y="839181"/>
                    <a:pt x="696878" y="839000"/>
                    <a:pt x="696517" y="838638"/>
                  </a:cubicBezTo>
                  <a:lnTo>
                    <a:pt x="950" y="275819"/>
                  </a:lnTo>
                  <a:cubicBezTo>
                    <a:pt x="227" y="275277"/>
                    <a:pt x="-135" y="274373"/>
                    <a:pt x="46" y="273287"/>
                  </a:cubicBezTo>
                  <a:cubicBezTo>
                    <a:pt x="227" y="272383"/>
                    <a:pt x="769" y="271479"/>
                    <a:pt x="1674" y="271117"/>
                  </a:cubicBezTo>
                  <a:lnTo>
                    <a:pt x="640090" y="197"/>
                  </a:lnTo>
                  <a:cubicBezTo>
                    <a:pt x="640814" y="-165"/>
                    <a:pt x="641899" y="16"/>
                    <a:pt x="642622" y="378"/>
                  </a:cubicBezTo>
                  <a:cubicBezTo>
                    <a:pt x="643346" y="740"/>
                    <a:pt x="643888" y="1644"/>
                    <a:pt x="643888" y="2548"/>
                  </a:cubicBezTo>
                  <a:lnTo>
                    <a:pt x="701038" y="836287"/>
                  </a:lnTo>
                  <a:cubicBezTo>
                    <a:pt x="701038" y="837372"/>
                    <a:pt x="700495" y="838277"/>
                    <a:pt x="699591" y="838819"/>
                  </a:cubicBezTo>
                  <a:cubicBezTo>
                    <a:pt x="698868" y="839181"/>
                    <a:pt x="698325" y="839362"/>
                    <a:pt x="697964" y="839181"/>
                  </a:cubicBezTo>
                  <a:close/>
                  <a:moveTo>
                    <a:pt x="7642" y="274373"/>
                  </a:moveTo>
                  <a:lnTo>
                    <a:pt x="694889" y="830500"/>
                  </a:lnTo>
                  <a:lnTo>
                    <a:pt x="638463" y="6527"/>
                  </a:lnTo>
                  <a:lnTo>
                    <a:pt x="7642" y="27437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9" name="Google Shape;639;p21"/>
            <p:cNvSpPr/>
            <p:nvPr/>
          </p:nvSpPr>
          <p:spPr>
            <a:xfrm>
              <a:off x="9268153" y="3962046"/>
              <a:ext cx="423829" cy="391007"/>
            </a:xfrm>
            <a:custGeom>
              <a:avLst/>
              <a:gdLst/>
              <a:ahLst/>
              <a:cxnLst/>
              <a:rect l="l" t="t" r="r" b="b"/>
              <a:pathLst>
                <a:path w="423829" h="391007" extrusionOk="0">
                  <a:moveTo>
                    <a:pt x="2584" y="391007"/>
                  </a:moveTo>
                  <a:cubicBezTo>
                    <a:pt x="1860" y="391007"/>
                    <a:pt x="1137" y="390646"/>
                    <a:pt x="594" y="389922"/>
                  </a:cubicBezTo>
                  <a:cubicBezTo>
                    <a:pt x="-310" y="388837"/>
                    <a:pt x="-129" y="387209"/>
                    <a:pt x="775" y="386305"/>
                  </a:cubicBezTo>
                  <a:lnTo>
                    <a:pt x="403538" y="723"/>
                  </a:lnTo>
                  <a:cubicBezTo>
                    <a:pt x="404262" y="0"/>
                    <a:pt x="405347" y="-181"/>
                    <a:pt x="406251" y="181"/>
                  </a:cubicBezTo>
                  <a:cubicBezTo>
                    <a:pt x="407155" y="543"/>
                    <a:pt x="407879" y="1266"/>
                    <a:pt x="408060" y="2351"/>
                  </a:cubicBezTo>
                  <a:lnTo>
                    <a:pt x="423794" y="111225"/>
                  </a:lnTo>
                  <a:cubicBezTo>
                    <a:pt x="423975" y="112311"/>
                    <a:pt x="423432" y="113215"/>
                    <a:pt x="422709" y="113938"/>
                  </a:cubicBezTo>
                  <a:lnTo>
                    <a:pt x="4212" y="390646"/>
                  </a:lnTo>
                  <a:cubicBezTo>
                    <a:pt x="3669" y="390826"/>
                    <a:pt x="3126" y="391007"/>
                    <a:pt x="2584" y="391007"/>
                  </a:cubicBezTo>
                  <a:close/>
                  <a:moveTo>
                    <a:pt x="403538" y="8319"/>
                  </a:moveTo>
                  <a:lnTo>
                    <a:pt x="26095" y="369486"/>
                  </a:lnTo>
                  <a:lnTo>
                    <a:pt x="418188" y="110321"/>
                  </a:lnTo>
                  <a:lnTo>
                    <a:pt x="403538" y="831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0" name="Google Shape;640;p21"/>
            <p:cNvSpPr/>
            <p:nvPr/>
          </p:nvSpPr>
          <p:spPr>
            <a:xfrm>
              <a:off x="9268250" y="4071002"/>
              <a:ext cx="665200" cy="282050"/>
            </a:xfrm>
            <a:custGeom>
              <a:avLst/>
              <a:gdLst/>
              <a:ahLst/>
              <a:cxnLst/>
              <a:rect l="l" t="t" r="r" b="b"/>
              <a:pathLst>
                <a:path w="665200" h="282050" extrusionOk="0">
                  <a:moveTo>
                    <a:pt x="2487" y="282051"/>
                  </a:moveTo>
                  <a:cubicBezTo>
                    <a:pt x="1402" y="282051"/>
                    <a:pt x="497" y="281328"/>
                    <a:pt x="136" y="280242"/>
                  </a:cubicBezTo>
                  <a:cubicBezTo>
                    <a:pt x="-226" y="279157"/>
                    <a:pt x="136" y="277710"/>
                    <a:pt x="1221" y="277168"/>
                  </a:cubicBezTo>
                  <a:lnTo>
                    <a:pt x="419718" y="461"/>
                  </a:lnTo>
                  <a:cubicBezTo>
                    <a:pt x="420803" y="-263"/>
                    <a:pt x="422069" y="-82"/>
                    <a:pt x="422973" y="641"/>
                  </a:cubicBezTo>
                  <a:lnTo>
                    <a:pt x="664233" y="206092"/>
                  </a:lnTo>
                  <a:cubicBezTo>
                    <a:pt x="665138" y="206816"/>
                    <a:pt x="665319" y="207901"/>
                    <a:pt x="665138" y="208986"/>
                  </a:cubicBezTo>
                  <a:cubicBezTo>
                    <a:pt x="664776" y="210071"/>
                    <a:pt x="663872" y="210794"/>
                    <a:pt x="662787" y="210794"/>
                  </a:cubicBezTo>
                  <a:lnTo>
                    <a:pt x="3029" y="282051"/>
                  </a:lnTo>
                  <a:cubicBezTo>
                    <a:pt x="2849" y="282051"/>
                    <a:pt x="2668" y="282051"/>
                    <a:pt x="2487" y="282051"/>
                  </a:cubicBezTo>
                  <a:close/>
                  <a:moveTo>
                    <a:pt x="420984" y="6067"/>
                  </a:moveTo>
                  <a:lnTo>
                    <a:pt x="13338" y="275540"/>
                  </a:lnTo>
                  <a:lnTo>
                    <a:pt x="655914" y="206092"/>
                  </a:lnTo>
                  <a:lnTo>
                    <a:pt x="420984" y="606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1" name="Google Shape;641;p21"/>
            <p:cNvSpPr/>
            <p:nvPr/>
          </p:nvSpPr>
          <p:spPr>
            <a:xfrm>
              <a:off x="9268205" y="4276324"/>
              <a:ext cx="665049" cy="686027"/>
            </a:xfrm>
            <a:custGeom>
              <a:avLst/>
              <a:gdLst/>
              <a:ahLst/>
              <a:cxnLst/>
              <a:rect l="l" t="t" r="r" b="b"/>
              <a:pathLst>
                <a:path w="665049" h="686027" extrusionOk="0">
                  <a:moveTo>
                    <a:pt x="583437" y="686028"/>
                  </a:moveTo>
                  <a:cubicBezTo>
                    <a:pt x="582713" y="686028"/>
                    <a:pt x="582171" y="685666"/>
                    <a:pt x="581628" y="685124"/>
                  </a:cubicBezTo>
                  <a:lnTo>
                    <a:pt x="723" y="75825"/>
                  </a:lnTo>
                  <a:cubicBezTo>
                    <a:pt x="0" y="75102"/>
                    <a:pt x="-181" y="74017"/>
                    <a:pt x="181" y="73112"/>
                  </a:cubicBezTo>
                  <a:cubicBezTo>
                    <a:pt x="543" y="72208"/>
                    <a:pt x="1447" y="71485"/>
                    <a:pt x="2351" y="71304"/>
                  </a:cubicBezTo>
                  <a:lnTo>
                    <a:pt x="662108" y="47"/>
                  </a:lnTo>
                  <a:cubicBezTo>
                    <a:pt x="663013" y="-134"/>
                    <a:pt x="663736" y="228"/>
                    <a:pt x="664279" y="770"/>
                  </a:cubicBezTo>
                  <a:cubicBezTo>
                    <a:pt x="664821" y="1313"/>
                    <a:pt x="665183" y="2217"/>
                    <a:pt x="665002" y="2941"/>
                  </a:cubicBezTo>
                  <a:lnTo>
                    <a:pt x="586330" y="683496"/>
                  </a:lnTo>
                  <a:cubicBezTo>
                    <a:pt x="586149" y="684581"/>
                    <a:pt x="585426" y="685485"/>
                    <a:pt x="584522" y="685666"/>
                  </a:cubicBezTo>
                  <a:cubicBezTo>
                    <a:pt x="584160" y="686028"/>
                    <a:pt x="583798" y="686028"/>
                    <a:pt x="583437" y="686028"/>
                  </a:cubicBezTo>
                  <a:close/>
                  <a:moveTo>
                    <a:pt x="8319" y="76187"/>
                  </a:moveTo>
                  <a:lnTo>
                    <a:pt x="581628" y="677347"/>
                  </a:lnTo>
                  <a:lnTo>
                    <a:pt x="659396" y="5834"/>
                  </a:lnTo>
                  <a:lnTo>
                    <a:pt x="8319" y="7618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2" name="Google Shape;642;p21"/>
            <p:cNvSpPr/>
            <p:nvPr/>
          </p:nvSpPr>
          <p:spPr>
            <a:xfrm>
              <a:off x="11118464" y="3446764"/>
              <a:ext cx="1016826" cy="912800"/>
            </a:xfrm>
            <a:custGeom>
              <a:avLst/>
              <a:gdLst/>
              <a:ahLst/>
              <a:cxnLst/>
              <a:rect l="l" t="t" r="r" b="b"/>
              <a:pathLst>
                <a:path w="1016826" h="912800" extrusionOk="0">
                  <a:moveTo>
                    <a:pt x="2595" y="912800"/>
                  </a:moveTo>
                  <a:cubicBezTo>
                    <a:pt x="2053" y="912800"/>
                    <a:pt x="1510" y="912619"/>
                    <a:pt x="967" y="912258"/>
                  </a:cubicBezTo>
                  <a:cubicBezTo>
                    <a:pt x="63" y="911534"/>
                    <a:pt x="-118" y="910449"/>
                    <a:pt x="63" y="909364"/>
                  </a:cubicBezTo>
                  <a:lnTo>
                    <a:pt x="299558" y="1837"/>
                  </a:lnTo>
                  <a:cubicBezTo>
                    <a:pt x="299739" y="1113"/>
                    <a:pt x="300281" y="571"/>
                    <a:pt x="301005" y="209"/>
                  </a:cubicBezTo>
                  <a:cubicBezTo>
                    <a:pt x="301728" y="-153"/>
                    <a:pt x="302452" y="28"/>
                    <a:pt x="303175" y="209"/>
                  </a:cubicBezTo>
                  <a:lnTo>
                    <a:pt x="1015380" y="352875"/>
                  </a:lnTo>
                  <a:cubicBezTo>
                    <a:pt x="1016284" y="353237"/>
                    <a:pt x="1016827" y="354141"/>
                    <a:pt x="1016827" y="355226"/>
                  </a:cubicBezTo>
                  <a:cubicBezTo>
                    <a:pt x="1016827" y="356311"/>
                    <a:pt x="1016284" y="357215"/>
                    <a:pt x="1015380" y="357577"/>
                  </a:cubicBezTo>
                  <a:lnTo>
                    <a:pt x="3680" y="912439"/>
                  </a:lnTo>
                  <a:cubicBezTo>
                    <a:pt x="3680" y="912619"/>
                    <a:pt x="3138" y="912800"/>
                    <a:pt x="2595" y="912800"/>
                  </a:cubicBezTo>
                  <a:close/>
                  <a:moveTo>
                    <a:pt x="303899" y="6358"/>
                  </a:moveTo>
                  <a:lnTo>
                    <a:pt x="7478" y="904481"/>
                  </a:lnTo>
                  <a:lnTo>
                    <a:pt x="1008689" y="355407"/>
                  </a:lnTo>
                  <a:lnTo>
                    <a:pt x="303899" y="6358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3" name="Google Shape;643;p21"/>
            <p:cNvSpPr/>
            <p:nvPr/>
          </p:nvSpPr>
          <p:spPr>
            <a:xfrm>
              <a:off x="11118597" y="3799339"/>
              <a:ext cx="1199003" cy="560224"/>
            </a:xfrm>
            <a:custGeom>
              <a:avLst/>
              <a:gdLst/>
              <a:ahLst/>
              <a:cxnLst/>
              <a:rect l="l" t="t" r="r" b="b"/>
              <a:pathLst>
                <a:path w="1199003" h="560224" extrusionOk="0">
                  <a:moveTo>
                    <a:pt x="2463" y="560225"/>
                  </a:moveTo>
                  <a:cubicBezTo>
                    <a:pt x="1378" y="560225"/>
                    <a:pt x="292" y="559321"/>
                    <a:pt x="112" y="558235"/>
                  </a:cubicBezTo>
                  <a:cubicBezTo>
                    <a:pt x="-250" y="556970"/>
                    <a:pt x="292" y="555704"/>
                    <a:pt x="1378" y="555161"/>
                  </a:cubicBezTo>
                  <a:lnTo>
                    <a:pt x="1013078" y="300"/>
                  </a:lnTo>
                  <a:cubicBezTo>
                    <a:pt x="1013801" y="-62"/>
                    <a:pt x="1014524" y="-62"/>
                    <a:pt x="1015248" y="119"/>
                  </a:cubicBezTo>
                  <a:cubicBezTo>
                    <a:pt x="1015972" y="480"/>
                    <a:pt x="1016514" y="1023"/>
                    <a:pt x="1016876" y="1746"/>
                  </a:cubicBezTo>
                  <a:lnTo>
                    <a:pt x="1198815" y="500905"/>
                  </a:lnTo>
                  <a:cubicBezTo>
                    <a:pt x="1199177" y="501628"/>
                    <a:pt x="1198996" y="502532"/>
                    <a:pt x="1198454" y="503256"/>
                  </a:cubicBezTo>
                  <a:cubicBezTo>
                    <a:pt x="1197911" y="503979"/>
                    <a:pt x="1197188" y="504341"/>
                    <a:pt x="1196284" y="504522"/>
                  </a:cubicBezTo>
                  <a:lnTo>
                    <a:pt x="2644" y="560225"/>
                  </a:lnTo>
                  <a:cubicBezTo>
                    <a:pt x="2644" y="560225"/>
                    <a:pt x="2644" y="560225"/>
                    <a:pt x="2463" y="560225"/>
                  </a:cubicBezTo>
                  <a:close/>
                  <a:moveTo>
                    <a:pt x="1012897" y="6449"/>
                  </a:moveTo>
                  <a:lnTo>
                    <a:pt x="14218" y="554257"/>
                  </a:lnTo>
                  <a:lnTo>
                    <a:pt x="1192666" y="499096"/>
                  </a:lnTo>
                  <a:lnTo>
                    <a:pt x="1012897" y="644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4" name="Google Shape;644;p21"/>
            <p:cNvSpPr/>
            <p:nvPr/>
          </p:nvSpPr>
          <p:spPr>
            <a:xfrm>
              <a:off x="11417928" y="3446249"/>
              <a:ext cx="800265" cy="358272"/>
            </a:xfrm>
            <a:custGeom>
              <a:avLst/>
              <a:gdLst/>
              <a:ahLst/>
              <a:cxnLst/>
              <a:rect l="l" t="t" r="r" b="b"/>
              <a:pathLst>
                <a:path w="800265" h="358272" extrusionOk="0">
                  <a:moveTo>
                    <a:pt x="714831" y="358273"/>
                  </a:moveTo>
                  <a:cubicBezTo>
                    <a:pt x="714469" y="358273"/>
                    <a:pt x="714108" y="358092"/>
                    <a:pt x="713746" y="357911"/>
                  </a:cubicBezTo>
                  <a:lnTo>
                    <a:pt x="1541" y="5245"/>
                  </a:lnTo>
                  <a:cubicBezTo>
                    <a:pt x="456" y="4702"/>
                    <a:pt x="-268" y="3255"/>
                    <a:pt x="94" y="1989"/>
                  </a:cubicBezTo>
                  <a:cubicBezTo>
                    <a:pt x="456" y="723"/>
                    <a:pt x="1360" y="0"/>
                    <a:pt x="2988" y="0"/>
                  </a:cubicBezTo>
                  <a:lnTo>
                    <a:pt x="797843" y="94949"/>
                  </a:lnTo>
                  <a:cubicBezTo>
                    <a:pt x="798567" y="95129"/>
                    <a:pt x="799290" y="95491"/>
                    <a:pt x="799832" y="96215"/>
                  </a:cubicBezTo>
                  <a:cubicBezTo>
                    <a:pt x="800195" y="96938"/>
                    <a:pt x="800375" y="97661"/>
                    <a:pt x="800195" y="98566"/>
                  </a:cubicBezTo>
                  <a:lnTo>
                    <a:pt x="717544" y="356464"/>
                  </a:lnTo>
                  <a:cubicBezTo>
                    <a:pt x="717363" y="357188"/>
                    <a:pt x="716820" y="357730"/>
                    <a:pt x="716097" y="358092"/>
                  </a:cubicBezTo>
                  <a:cubicBezTo>
                    <a:pt x="715735" y="358273"/>
                    <a:pt x="715193" y="358273"/>
                    <a:pt x="714831" y="358273"/>
                  </a:cubicBezTo>
                  <a:close/>
                  <a:moveTo>
                    <a:pt x="17999" y="7596"/>
                  </a:moveTo>
                  <a:lnTo>
                    <a:pt x="713384" y="351943"/>
                  </a:lnTo>
                  <a:lnTo>
                    <a:pt x="794046" y="100374"/>
                  </a:lnTo>
                  <a:lnTo>
                    <a:pt x="17999" y="759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5" name="Google Shape;645;p21"/>
            <p:cNvSpPr/>
            <p:nvPr/>
          </p:nvSpPr>
          <p:spPr>
            <a:xfrm>
              <a:off x="12130220" y="3541469"/>
              <a:ext cx="663590" cy="263233"/>
            </a:xfrm>
            <a:custGeom>
              <a:avLst/>
              <a:gdLst/>
              <a:ahLst/>
              <a:cxnLst/>
              <a:rect l="l" t="t" r="r" b="b"/>
              <a:pathLst>
                <a:path w="663590" h="263233" extrusionOk="0">
                  <a:moveTo>
                    <a:pt x="2539" y="263053"/>
                  </a:moveTo>
                  <a:cubicBezTo>
                    <a:pt x="1816" y="263053"/>
                    <a:pt x="1092" y="262691"/>
                    <a:pt x="550" y="261968"/>
                  </a:cubicBezTo>
                  <a:cubicBezTo>
                    <a:pt x="7" y="261244"/>
                    <a:pt x="-173" y="260340"/>
                    <a:pt x="188" y="259617"/>
                  </a:cubicBezTo>
                  <a:lnTo>
                    <a:pt x="82839" y="1899"/>
                  </a:lnTo>
                  <a:cubicBezTo>
                    <a:pt x="83019" y="1176"/>
                    <a:pt x="83562" y="633"/>
                    <a:pt x="84285" y="271"/>
                  </a:cubicBezTo>
                  <a:cubicBezTo>
                    <a:pt x="85009" y="-90"/>
                    <a:pt x="85733" y="-90"/>
                    <a:pt x="86456" y="271"/>
                  </a:cubicBezTo>
                  <a:lnTo>
                    <a:pt x="661935" y="255638"/>
                  </a:lnTo>
                  <a:cubicBezTo>
                    <a:pt x="663020" y="256180"/>
                    <a:pt x="663743" y="257446"/>
                    <a:pt x="663562" y="258712"/>
                  </a:cubicBezTo>
                  <a:cubicBezTo>
                    <a:pt x="663382" y="259978"/>
                    <a:pt x="662296" y="260883"/>
                    <a:pt x="661031" y="260883"/>
                  </a:cubicBezTo>
                  <a:lnTo>
                    <a:pt x="2901" y="263234"/>
                  </a:lnTo>
                  <a:cubicBezTo>
                    <a:pt x="2720" y="263053"/>
                    <a:pt x="2539" y="263053"/>
                    <a:pt x="2539" y="263053"/>
                  </a:cubicBezTo>
                  <a:close/>
                  <a:moveTo>
                    <a:pt x="86998" y="6420"/>
                  </a:moveTo>
                  <a:lnTo>
                    <a:pt x="6518" y="257627"/>
                  </a:lnTo>
                  <a:lnTo>
                    <a:pt x="648371" y="255276"/>
                  </a:lnTo>
                  <a:lnTo>
                    <a:pt x="86998" y="642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6" name="Google Shape;646;p21"/>
            <p:cNvSpPr/>
            <p:nvPr/>
          </p:nvSpPr>
          <p:spPr>
            <a:xfrm>
              <a:off x="12130270" y="3799071"/>
              <a:ext cx="635593" cy="504608"/>
            </a:xfrm>
            <a:custGeom>
              <a:avLst/>
              <a:gdLst/>
              <a:ahLst/>
              <a:cxnLst/>
              <a:rect l="l" t="t" r="r" b="b"/>
              <a:pathLst>
                <a:path w="635593" h="504608" extrusionOk="0">
                  <a:moveTo>
                    <a:pt x="184429" y="504609"/>
                  </a:moveTo>
                  <a:cubicBezTo>
                    <a:pt x="183344" y="504609"/>
                    <a:pt x="182440" y="503886"/>
                    <a:pt x="182078" y="502800"/>
                  </a:cubicBezTo>
                  <a:lnTo>
                    <a:pt x="139" y="3642"/>
                  </a:lnTo>
                  <a:cubicBezTo>
                    <a:pt x="-223" y="2557"/>
                    <a:pt x="139" y="1291"/>
                    <a:pt x="1043" y="568"/>
                  </a:cubicBezTo>
                  <a:cubicBezTo>
                    <a:pt x="1947" y="-156"/>
                    <a:pt x="3213" y="-156"/>
                    <a:pt x="4117" y="387"/>
                  </a:cubicBezTo>
                  <a:lnTo>
                    <a:pt x="634395" y="425214"/>
                  </a:lnTo>
                  <a:cubicBezTo>
                    <a:pt x="635299" y="425756"/>
                    <a:pt x="635842" y="427022"/>
                    <a:pt x="635480" y="428107"/>
                  </a:cubicBezTo>
                  <a:cubicBezTo>
                    <a:pt x="635299" y="429193"/>
                    <a:pt x="634395" y="429916"/>
                    <a:pt x="633310" y="430097"/>
                  </a:cubicBezTo>
                  <a:lnTo>
                    <a:pt x="185153" y="504247"/>
                  </a:lnTo>
                  <a:cubicBezTo>
                    <a:pt x="184972" y="504609"/>
                    <a:pt x="184610" y="504609"/>
                    <a:pt x="184429" y="504609"/>
                  </a:cubicBezTo>
                  <a:close/>
                  <a:moveTo>
                    <a:pt x="8096" y="9610"/>
                  </a:moveTo>
                  <a:lnTo>
                    <a:pt x="186418" y="498822"/>
                  </a:lnTo>
                  <a:lnTo>
                    <a:pt x="625714" y="426118"/>
                  </a:lnTo>
                  <a:lnTo>
                    <a:pt x="8096" y="961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7" name="Google Shape;647;p21"/>
            <p:cNvSpPr/>
            <p:nvPr/>
          </p:nvSpPr>
          <p:spPr>
            <a:xfrm>
              <a:off x="12130295" y="3796745"/>
              <a:ext cx="663487" cy="432784"/>
            </a:xfrm>
            <a:custGeom>
              <a:avLst/>
              <a:gdLst/>
              <a:ahLst/>
              <a:cxnLst/>
              <a:rect l="l" t="t" r="r" b="b"/>
              <a:pathLst>
                <a:path w="663487" h="432784" extrusionOk="0">
                  <a:moveTo>
                    <a:pt x="632742" y="432785"/>
                  </a:moveTo>
                  <a:cubicBezTo>
                    <a:pt x="632200" y="432785"/>
                    <a:pt x="631838" y="432604"/>
                    <a:pt x="631476" y="432242"/>
                  </a:cubicBezTo>
                  <a:lnTo>
                    <a:pt x="1198" y="7415"/>
                  </a:lnTo>
                  <a:cubicBezTo>
                    <a:pt x="294" y="6692"/>
                    <a:pt x="-248" y="5606"/>
                    <a:pt x="113" y="4340"/>
                  </a:cubicBezTo>
                  <a:cubicBezTo>
                    <a:pt x="475" y="3255"/>
                    <a:pt x="1560" y="2351"/>
                    <a:pt x="2645" y="2351"/>
                  </a:cubicBezTo>
                  <a:lnTo>
                    <a:pt x="660775" y="0"/>
                  </a:lnTo>
                  <a:cubicBezTo>
                    <a:pt x="661498" y="0"/>
                    <a:pt x="662221" y="362"/>
                    <a:pt x="662764" y="904"/>
                  </a:cubicBezTo>
                  <a:cubicBezTo>
                    <a:pt x="663307" y="1447"/>
                    <a:pt x="663487" y="2170"/>
                    <a:pt x="663487" y="2894"/>
                  </a:cubicBezTo>
                  <a:lnTo>
                    <a:pt x="635636" y="430072"/>
                  </a:lnTo>
                  <a:cubicBezTo>
                    <a:pt x="635636" y="430976"/>
                    <a:pt x="634913" y="431880"/>
                    <a:pt x="634189" y="432242"/>
                  </a:cubicBezTo>
                  <a:cubicBezTo>
                    <a:pt x="633647" y="432604"/>
                    <a:pt x="633104" y="432785"/>
                    <a:pt x="632742" y="432785"/>
                  </a:cubicBezTo>
                  <a:close/>
                  <a:moveTo>
                    <a:pt x="11507" y="7777"/>
                  </a:moveTo>
                  <a:lnTo>
                    <a:pt x="630572" y="425189"/>
                  </a:lnTo>
                  <a:lnTo>
                    <a:pt x="657881" y="5426"/>
                  </a:lnTo>
                  <a:lnTo>
                    <a:pt x="11507" y="777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8" name="Google Shape;648;p21"/>
            <p:cNvSpPr/>
            <p:nvPr/>
          </p:nvSpPr>
          <p:spPr>
            <a:xfrm>
              <a:off x="8364210" y="4541323"/>
              <a:ext cx="774711" cy="291718"/>
            </a:xfrm>
            <a:custGeom>
              <a:avLst/>
              <a:gdLst/>
              <a:ahLst/>
              <a:cxnLst/>
              <a:rect l="l" t="t" r="r" b="b"/>
              <a:pathLst>
                <a:path w="774711" h="291718" extrusionOk="0">
                  <a:moveTo>
                    <a:pt x="2617" y="291718"/>
                  </a:moveTo>
                  <a:cubicBezTo>
                    <a:pt x="1712" y="291718"/>
                    <a:pt x="989" y="291176"/>
                    <a:pt x="446" y="290452"/>
                  </a:cubicBezTo>
                  <a:cubicBezTo>
                    <a:pt x="-277" y="289367"/>
                    <a:pt x="-96" y="288101"/>
                    <a:pt x="808" y="287197"/>
                  </a:cubicBezTo>
                  <a:lnTo>
                    <a:pt x="271186" y="904"/>
                  </a:lnTo>
                  <a:cubicBezTo>
                    <a:pt x="271728" y="362"/>
                    <a:pt x="272452" y="0"/>
                    <a:pt x="273356" y="0"/>
                  </a:cubicBezTo>
                  <a:lnTo>
                    <a:pt x="772153" y="28213"/>
                  </a:lnTo>
                  <a:cubicBezTo>
                    <a:pt x="772153" y="28213"/>
                    <a:pt x="772153" y="28213"/>
                    <a:pt x="772153" y="28213"/>
                  </a:cubicBezTo>
                  <a:cubicBezTo>
                    <a:pt x="773418" y="28213"/>
                    <a:pt x="774504" y="29298"/>
                    <a:pt x="774684" y="30564"/>
                  </a:cubicBezTo>
                  <a:cubicBezTo>
                    <a:pt x="774865" y="31830"/>
                    <a:pt x="774142" y="33096"/>
                    <a:pt x="772876" y="33458"/>
                  </a:cubicBezTo>
                  <a:lnTo>
                    <a:pt x="3702" y="291537"/>
                  </a:lnTo>
                  <a:cubicBezTo>
                    <a:pt x="3340" y="291718"/>
                    <a:pt x="2978" y="291718"/>
                    <a:pt x="2617" y="291718"/>
                  </a:cubicBezTo>
                  <a:close/>
                  <a:moveTo>
                    <a:pt x="274441" y="5426"/>
                  </a:moveTo>
                  <a:lnTo>
                    <a:pt x="12202" y="283037"/>
                  </a:lnTo>
                  <a:lnTo>
                    <a:pt x="757865" y="32735"/>
                  </a:lnTo>
                  <a:lnTo>
                    <a:pt x="274441" y="542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49" name="Google Shape;649;p21"/>
            <p:cNvSpPr/>
            <p:nvPr/>
          </p:nvSpPr>
          <p:spPr>
            <a:xfrm>
              <a:off x="8364333" y="4569536"/>
              <a:ext cx="774702" cy="792865"/>
            </a:xfrm>
            <a:custGeom>
              <a:avLst/>
              <a:gdLst/>
              <a:ahLst/>
              <a:cxnLst/>
              <a:rect l="l" t="t" r="r" b="b"/>
              <a:pathLst>
                <a:path w="774702" h="792865" extrusionOk="0">
                  <a:moveTo>
                    <a:pt x="580142" y="792866"/>
                  </a:moveTo>
                  <a:cubicBezTo>
                    <a:pt x="579600" y="792866"/>
                    <a:pt x="578876" y="792504"/>
                    <a:pt x="578515" y="792142"/>
                  </a:cubicBezTo>
                  <a:lnTo>
                    <a:pt x="865" y="262781"/>
                  </a:lnTo>
                  <a:cubicBezTo>
                    <a:pt x="142" y="262058"/>
                    <a:pt x="-220" y="261154"/>
                    <a:pt x="142" y="260249"/>
                  </a:cubicBezTo>
                  <a:cubicBezTo>
                    <a:pt x="323" y="259345"/>
                    <a:pt x="1046" y="258622"/>
                    <a:pt x="1950" y="258260"/>
                  </a:cubicBezTo>
                  <a:lnTo>
                    <a:pt x="771125" y="181"/>
                  </a:lnTo>
                  <a:cubicBezTo>
                    <a:pt x="772029" y="-181"/>
                    <a:pt x="773114" y="0"/>
                    <a:pt x="773837" y="723"/>
                  </a:cubicBezTo>
                  <a:cubicBezTo>
                    <a:pt x="774561" y="1447"/>
                    <a:pt x="774923" y="2351"/>
                    <a:pt x="774561" y="3255"/>
                  </a:cubicBezTo>
                  <a:lnTo>
                    <a:pt x="583036" y="790696"/>
                  </a:lnTo>
                  <a:cubicBezTo>
                    <a:pt x="582855" y="791600"/>
                    <a:pt x="582132" y="792323"/>
                    <a:pt x="581227" y="792685"/>
                  </a:cubicBezTo>
                  <a:cubicBezTo>
                    <a:pt x="580866" y="792866"/>
                    <a:pt x="580504" y="792866"/>
                    <a:pt x="580142" y="792866"/>
                  </a:cubicBezTo>
                  <a:close/>
                  <a:moveTo>
                    <a:pt x="7919" y="261877"/>
                  </a:moveTo>
                  <a:lnTo>
                    <a:pt x="578876" y="785089"/>
                  </a:lnTo>
                  <a:lnTo>
                    <a:pt x="768231" y="6872"/>
                  </a:lnTo>
                  <a:lnTo>
                    <a:pt x="7919" y="26187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0" name="Google Shape;650;p21"/>
            <p:cNvSpPr/>
            <p:nvPr/>
          </p:nvSpPr>
          <p:spPr>
            <a:xfrm>
              <a:off x="8634830" y="4347670"/>
              <a:ext cx="638645" cy="227291"/>
            </a:xfrm>
            <a:custGeom>
              <a:avLst/>
              <a:gdLst/>
              <a:ahLst/>
              <a:cxnLst/>
              <a:rect l="l" t="t" r="r" b="b"/>
              <a:pathLst>
                <a:path w="638645" h="227291" extrusionOk="0">
                  <a:moveTo>
                    <a:pt x="2555" y="199079"/>
                  </a:moveTo>
                  <a:cubicBezTo>
                    <a:pt x="1289" y="199079"/>
                    <a:pt x="204" y="197993"/>
                    <a:pt x="23" y="196727"/>
                  </a:cubicBezTo>
                  <a:cubicBezTo>
                    <a:pt x="-158" y="195461"/>
                    <a:pt x="747" y="194195"/>
                    <a:pt x="1832" y="193834"/>
                  </a:cubicBezTo>
                  <a:lnTo>
                    <a:pt x="635184" y="139"/>
                  </a:lnTo>
                  <a:cubicBezTo>
                    <a:pt x="636269" y="-223"/>
                    <a:pt x="637354" y="139"/>
                    <a:pt x="638078" y="1043"/>
                  </a:cubicBezTo>
                  <a:cubicBezTo>
                    <a:pt x="638801" y="1947"/>
                    <a:pt x="638801" y="3213"/>
                    <a:pt x="638259" y="4117"/>
                  </a:cubicBezTo>
                  <a:lnTo>
                    <a:pt x="503703" y="226026"/>
                  </a:lnTo>
                  <a:cubicBezTo>
                    <a:pt x="503160" y="226930"/>
                    <a:pt x="502256" y="227292"/>
                    <a:pt x="501171" y="227292"/>
                  </a:cubicBezTo>
                  <a:lnTo>
                    <a:pt x="2555" y="199079"/>
                  </a:lnTo>
                  <a:cubicBezTo>
                    <a:pt x="2555" y="199079"/>
                    <a:pt x="2555" y="199079"/>
                    <a:pt x="2555" y="199079"/>
                  </a:cubicBezTo>
                  <a:close/>
                  <a:moveTo>
                    <a:pt x="630120" y="7373"/>
                  </a:moveTo>
                  <a:lnTo>
                    <a:pt x="17928" y="194557"/>
                  </a:lnTo>
                  <a:lnTo>
                    <a:pt x="500086" y="221866"/>
                  </a:lnTo>
                  <a:lnTo>
                    <a:pt x="630120" y="7373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1" name="Google Shape;651;p21"/>
            <p:cNvSpPr/>
            <p:nvPr/>
          </p:nvSpPr>
          <p:spPr>
            <a:xfrm>
              <a:off x="8941898" y="4569646"/>
              <a:ext cx="912456" cy="792756"/>
            </a:xfrm>
            <a:custGeom>
              <a:avLst/>
              <a:gdLst/>
              <a:ahLst/>
              <a:cxnLst/>
              <a:rect l="l" t="t" r="r" b="b"/>
              <a:pathLst>
                <a:path w="912456" h="792756" extrusionOk="0">
                  <a:moveTo>
                    <a:pt x="2578" y="792756"/>
                  </a:moveTo>
                  <a:cubicBezTo>
                    <a:pt x="2035" y="792756"/>
                    <a:pt x="1493" y="792575"/>
                    <a:pt x="950" y="792214"/>
                  </a:cubicBezTo>
                  <a:cubicBezTo>
                    <a:pt x="227" y="791490"/>
                    <a:pt x="-135" y="790586"/>
                    <a:pt x="46" y="789501"/>
                  </a:cubicBezTo>
                  <a:lnTo>
                    <a:pt x="191571" y="2061"/>
                  </a:lnTo>
                  <a:cubicBezTo>
                    <a:pt x="191752" y="1337"/>
                    <a:pt x="192294" y="614"/>
                    <a:pt x="193018" y="252"/>
                  </a:cubicBezTo>
                  <a:cubicBezTo>
                    <a:pt x="193741" y="-110"/>
                    <a:pt x="194646" y="-110"/>
                    <a:pt x="195369" y="433"/>
                  </a:cubicBezTo>
                  <a:lnTo>
                    <a:pt x="911010" y="387823"/>
                  </a:lnTo>
                  <a:cubicBezTo>
                    <a:pt x="911914" y="388366"/>
                    <a:pt x="912457" y="389270"/>
                    <a:pt x="912457" y="390355"/>
                  </a:cubicBezTo>
                  <a:cubicBezTo>
                    <a:pt x="912457" y="391440"/>
                    <a:pt x="911734" y="392344"/>
                    <a:pt x="910829" y="392706"/>
                  </a:cubicBezTo>
                  <a:lnTo>
                    <a:pt x="3844" y="792395"/>
                  </a:lnTo>
                  <a:cubicBezTo>
                    <a:pt x="3482" y="792575"/>
                    <a:pt x="3121" y="792756"/>
                    <a:pt x="2578" y="792756"/>
                  </a:cubicBezTo>
                  <a:close/>
                  <a:moveTo>
                    <a:pt x="196092" y="6582"/>
                  </a:moveTo>
                  <a:lnTo>
                    <a:pt x="6738" y="785341"/>
                  </a:lnTo>
                  <a:lnTo>
                    <a:pt x="903957" y="389632"/>
                  </a:lnTo>
                  <a:lnTo>
                    <a:pt x="196092" y="658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2" name="Google Shape;652;p21"/>
            <p:cNvSpPr/>
            <p:nvPr/>
          </p:nvSpPr>
          <p:spPr>
            <a:xfrm>
              <a:off x="9133578" y="4347582"/>
              <a:ext cx="720828" cy="614770"/>
            </a:xfrm>
            <a:custGeom>
              <a:avLst/>
              <a:gdLst/>
              <a:ahLst/>
              <a:cxnLst/>
              <a:rect l="l" t="t" r="r" b="b"/>
              <a:pathLst>
                <a:path w="720828" h="614770" extrusionOk="0">
                  <a:moveTo>
                    <a:pt x="718063" y="614770"/>
                  </a:moveTo>
                  <a:cubicBezTo>
                    <a:pt x="717702" y="614770"/>
                    <a:pt x="717340" y="614589"/>
                    <a:pt x="716978" y="614408"/>
                  </a:cubicBezTo>
                  <a:lnTo>
                    <a:pt x="1337" y="227018"/>
                  </a:lnTo>
                  <a:cubicBezTo>
                    <a:pt x="614" y="226657"/>
                    <a:pt x="252" y="226114"/>
                    <a:pt x="71" y="225391"/>
                  </a:cubicBezTo>
                  <a:cubicBezTo>
                    <a:pt x="-110" y="224667"/>
                    <a:pt x="71" y="223944"/>
                    <a:pt x="433" y="223220"/>
                  </a:cubicBezTo>
                  <a:lnTo>
                    <a:pt x="134988" y="1312"/>
                  </a:lnTo>
                  <a:cubicBezTo>
                    <a:pt x="135350" y="589"/>
                    <a:pt x="136074" y="46"/>
                    <a:pt x="136978" y="46"/>
                  </a:cubicBezTo>
                  <a:cubicBezTo>
                    <a:pt x="137882" y="-135"/>
                    <a:pt x="138606" y="227"/>
                    <a:pt x="139148" y="950"/>
                  </a:cubicBezTo>
                  <a:lnTo>
                    <a:pt x="720053" y="610249"/>
                  </a:lnTo>
                  <a:cubicBezTo>
                    <a:pt x="720957" y="611153"/>
                    <a:pt x="721138" y="612600"/>
                    <a:pt x="720234" y="613685"/>
                  </a:cubicBezTo>
                  <a:cubicBezTo>
                    <a:pt x="719872" y="614408"/>
                    <a:pt x="718968" y="614770"/>
                    <a:pt x="718063" y="614770"/>
                  </a:cubicBezTo>
                  <a:close/>
                  <a:moveTo>
                    <a:pt x="6401" y="223582"/>
                  </a:moveTo>
                  <a:lnTo>
                    <a:pt x="704499" y="601387"/>
                  </a:lnTo>
                  <a:lnTo>
                    <a:pt x="137701" y="6918"/>
                  </a:lnTo>
                  <a:lnTo>
                    <a:pt x="6401" y="22358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3" name="Google Shape;653;p21"/>
            <p:cNvSpPr/>
            <p:nvPr/>
          </p:nvSpPr>
          <p:spPr>
            <a:xfrm>
              <a:off x="11590919" y="4298301"/>
              <a:ext cx="726848" cy="591347"/>
            </a:xfrm>
            <a:custGeom>
              <a:avLst/>
              <a:gdLst/>
              <a:ahLst/>
              <a:cxnLst/>
              <a:rect l="l" t="t" r="r" b="b"/>
              <a:pathLst>
                <a:path w="726848" h="591347" extrusionOk="0">
                  <a:moveTo>
                    <a:pt x="516882" y="591348"/>
                  </a:moveTo>
                  <a:cubicBezTo>
                    <a:pt x="516521" y="591348"/>
                    <a:pt x="516340" y="591167"/>
                    <a:pt x="515978" y="591167"/>
                  </a:cubicBezTo>
                  <a:lnTo>
                    <a:pt x="1628" y="363471"/>
                  </a:lnTo>
                  <a:cubicBezTo>
                    <a:pt x="723" y="363109"/>
                    <a:pt x="0" y="362024"/>
                    <a:pt x="0" y="361120"/>
                  </a:cubicBezTo>
                  <a:cubicBezTo>
                    <a:pt x="0" y="360035"/>
                    <a:pt x="543" y="359131"/>
                    <a:pt x="1447" y="358588"/>
                  </a:cubicBezTo>
                  <a:lnTo>
                    <a:pt x="722875" y="315"/>
                  </a:lnTo>
                  <a:cubicBezTo>
                    <a:pt x="723780" y="-227"/>
                    <a:pt x="725046" y="-46"/>
                    <a:pt x="725950" y="677"/>
                  </a:cubicBezTo>
                  <a:cubicBezTo>
                    <a:pt x="726854" y="1401"/>
                    <a:pt x="727035" y="2486"/>
                    <a:pt x="726674" y="3571"/>
                  </a:cubicBezTo>
                  <a:lnTo>
                    <a:pt x="519595" y="589539"/>
                  </a:lnTo>
                  <a:cubicBezTo>
                    <a:pt x="519414" y="590263"/>
                    <a:pt x="518871" y="590805"/>
                    <a:pt x="518148" y="591167"/>
                  </a:cubicBezTo>
                  <a:cubicBezTo>
                    <a:pt x="517606" y="591348"/>
                    <a:pt x="517244" y="591348"/>
                    <a:pt x="516882" y="591348"/>
                  </a:cubicBezTo>
                  <a:close/>
                  <a:moveTo>
                    <a:pt x="9043" y="360939"/>
                  </a:moveTo>
                  <a:lnTo>
                    <a:pt x="515436" y="585018"/>
                  </a:lnTo>
                  <a:lnTo>
                    <a:pt x="719258" y="8092"/>
                  </a:lnTo>
                  <a:lnTo>
                    <a:pt x="9043" y="36093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4" name="Google Shape;654;p21"/>
            <p:cNvSpPr/>
            <p:nvPr/>
          </p:nvSpPr>
          <p:spPr>
            <a:xfrm>
              <a:off x="12105305" y="4298208"/>
              <a:ext cx="619175" cy="591439"/>
            </a:xfrm>
            <a:custGeom>
              <a:avLst/>
              <a:gdLst/>
              <a:ahLst/>
              <a:cxnLst/>
              <a:rect l="l" t="t" r="r" b="b"/>
              <a:pathLst>
                <a:path w="619175" h="591439" extrusionOk="0">
                  <a:moveTo>
                    <a:pt x="2497" y="591440"/>
                  </a:moveTo>
                  <a:cubicBezTo>
                    <a:pt x="1773" y="591440"/>
                    <a:pt x="1050" y="591078"/>
                    <a:pt x="688" y="590536"/>
                  </a:cubicBezTo>
                  <a:cubicBezTo>
                    <a:pt x="146" y="589812"/>
                    <a:pt x="-216" y="588727"/>
                    <a:pt x="146" y="587823"/>
                  </a:cubicBezTo>
                  <a:lnTo>
                    <a:pt x="207224" y="1855"/>
                  </a:lnTo>
                  <a:cubicBezTo>
                    <a:pt x="207586" y="950"/>
                    <a:pt x="208309" y="227"/>
                    <a:pt x="209213" y="46"/>
                  </a:cubicBezTo>
                  <a:cubicBezTo>
                    <a:pt x="210118" y="-135"/>
                    <a:pt x="211203" y="227"/>
                    <a:pt x="211746" y="950"/>
                  </a:cubicBezTo>
                  <a:lnTo>
                    <a:pt x="618487" y="473885"/>
                  </a:lnTo>
                  <a:cubicBezTo>
                    <a:pt x="619030" y="474608"/>
                    <a:pt x="619391" y="475693"/>
                    <a:pt x="619030" y="476598"/>
                  </a:cubicBezTo>
                  <a:cubicBezTo>
                    <a:pt x="618668" y="477502"/>
                    <a:pt x="617945" y="478225"/>
                    <a:pt x="617041" y="478406"/>
                  </a:cubicBezTo>
                  <a:lnTo>
                    <a:pt x="3220" y="591440"/>
                  </a:lnTo>
                  <a:cubicBezTo>
                    <a:pt x="2858" y="591440"/>
                    <a:pt x="2678" y="591440"/>
                    <a:pt x="2497" y="591440"/>
                  </a:cubicBezTo>
                  <a:close/>
                  <a:moveTo>
                    <a:pt x="210660" y="8184"/>
                  </a:moveTo>
                  <a:lnTo>
                    <a:pt x="6657" y="585291"/>
                  </a:lnTo>
                  <a:lnTo>
                    <a:pt x="611253" y="473885"/>
                  </a:lnTo>
                  <a:lnTo>
                    <a:pt x="210660" y="818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5" name="Google Shape;655;p21"/>
            <p:cNvSpPr/>
            <p:nvPr/>
          </p:nvSpPr>
          <p:spPr>
            <a:xfrm>
              <a:off x="12105289" y="4884223"/>
              <a:ext cx="770330" cy="680555"/>
            </a:xfrm>
            <a:custGeom>
              <a:avLst/>
              <a:gdLst/>
              <a:ahLst/>
              <a:cxnLst/>
              <a:rect l="l" t="t" r="r" b="b"/>
              <a:pathLst>
                <a:path w="770330" h="680555" extrusionOk="0">
                  <a:moveTo>
                    <a:pt x="370371" y="680555"/>
                  </a:moveTo>
                  <a:cubicBezTo>
                    <a:pt x="369467" y="680555"/>
                    <a:pt x="368562" y="680013"/>
                    <a:pt x="368201" y="679108"/>
                  </a:cubicBezTo>
                  <a:lnTo>
                    <a:pt x="343" y="3979"/>
                  </a:lnTo>
                  <a:cubicBezTo>
                    <a:pt x="-200" y="3074"/>
                    <a:pt x="-20" y="2170"/>
                    <a:pt x="343" y="1266"/>
                  </a:cubicBezTo>
                  <a:cubicBezTo>
                    <a:pt x="885" y="362"/>
                    <a:pt x="1789" y="0"/>
                    <a:pt x="2694" y="0"/>
                  </a:cubicBezTo>
                  <a:lnTo>
                    <a:pt x="767708" y="24054"/>
                  </a:lnTo>
                  <a:cubicBezTo>
                    <a:pt x="768793" y="24054"/>
                    <a:pt x="769517" y="24596"/>
                    <a:pt x="770059" y="25500"/>
                  </a:cubicBezTo>
                  <a:cubicBezTo>
                    <a:pt x="770421" y="26405"/>
                    <a:pt x="770421" y="27309"/>
                    <a:pt x="770059" y="28213"/>
                  </a:cubicBezTo>
                  <a:lnTo>
                    <a:pt x="372903" y="679289"/>
                  </a:lnTo>
                  <a:cubicBezTo>
                    <a:pt x="372360" y="680013"/>
                    <a:pt x="371456" y="680555"/>
                    <a:pt x="370371" y="680555"/>
                  </a:cubicBezTo>
                  <a:cubicBezTo>
                    <a:pt x="370371" y="680555"/>
                    <a:pt x="370371" y="680555"/>
                    <a:pt x="370371" y="680555"/>
                  </a:cubicBezTo>
                  <a:close/>
                  <a:moveTo>
                    <a:pt x="7215" y="5606"/>
                  </a:moveTo>
                  <a:lnTo>
                    <a:pt x="370552" y="672598"/>
                  </a:lnTo>
                  <a:lnTo>
                    <a:pt x="763006" y="29479"/>
                  </a:lnTo>
                  <a:lnTo>
                    <a:pt x="7215" y="560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6" name="Google Shape;656;p21"/>
            <p:cNvSpPr/>
            <p:nvPr/>
          </p:nvSpPr>
          <p:spPr>
            <a:xfrm>
              <a:off x="12105250" y="4771123"/>
              <a:ext cx="770453" cy="142578"/>
            </a:xfrm>
            <a:custGeom>
              <a:avLst/>
              <a:gdLst/>
              <a:ahLst/>
              <a:cxnLst/>
              <a:rect l="l" t="t" r="r" b="b"/>
              <a:pathLst>
                <a:path w="770453" h="142578" extrusionOk="0">
                  <a:moveTo>
                    <a:pt x="2552" y="118525"/>
                  </a:moveTo>
                  <a:cubicBezTo>
                    <a:pt x="1286" y="118525"/>
                    <a:pt x="201" y="117440"/>
                    <a:pt x="20" y="115993"/>
                  </a:cubicBezTo>
                  <a:cubicBezTo>
                    <a:pt x="-161" y="114546"/>
                    <a:pt x="924" y="113461"/>
                    <a:pt x="2190" y="113099"/>
                  </a:cubicBezTo>
                  <a:lnTo>
                    <a:pt x="616011" y="65"/>
                  </a:lnTo>
                  <a:cubicBezTo>
                    <a:pt x="616915" y="-116"/>
                    <a:pt x="617638" y="65"/>
                    <a:pt x="618361" y="789"/>
                  </a:cubicBezTo>
                  <a:lnTo>
                    <a:pt x="769556" y="137876"/>
                  </a:lnTo>
                  <a:cubicBezTo>
                    <a:pt x="770460" y="138600"/>
                    <a:pt x="770641" y="139866"/>
                    <a:pt x="770280" y="140951"/>
                  </a:cubicBezTo>
                  <a:cubicBezTo>
                    <a:pt x="769917" y="142036"/>
                    <a:pt x="768832" y="142578"/>
                    <a:pt x="767747" y="142578"/>
                  </a:cubicBezTo>
                  <a:lnTo>
                    <a:pt x="2552" y="118525"/>
                  </a:lnTo>
                  <a:cubicBezTo>
                    <a:pt x="2552" y="118525"/>
                    <a:pt x="2552" y="118525"/>
                    <a:pt x="2552" y="118525"/>
                  </a:cubicBezTo>
                  <a:close/>
                  <a:moveTo>
                    <a:pt x="615649" y="5672"/>
                  </a:moveTo>
                  <a:lnTo>
                    <a:pt x="27871" y="114003"/>
                  </a:lnTo>
                  <a:lnTo>
                    <a:pt x="760513" y="136972"/>
                  </a:lnTo>
                  <a:lnTo>
                    <a:pt x="615649" y="5672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7" name="Google Shape;657;p21"/>
            <p:cNvSpPr/>
            <p:nvPr/>
          </p:nvSpPr>
          <p:spPr>
            <a:xfrm>
              <a:off x="9676206" y="2612322"/>
              <a:ext cx="525758" cy="309810"/>
            </a:xfrm>
            <a:custGeom>
              <a:avLst/>
              <a:gdLst/>
              <a:ahLst/>
              <a:cxnLst/>
              <a:rect l="l" t="t" r="r" b="b"/>
              <a:pathLst>
                <a:path w="525758" h="309810" extrusionOk="0">
                  <a:moveTo>
                    <a:pt x="2539" y="309811"/>
                  </a:moveTo>
                  <a:cubicBezTo>
                    <a:pt x="1635" y="309811"/>
                    <a:pt x="911" y="309268"/>
                    <a:pt x="369" y="308545"/>
                  </a:cubicBezTo>
                  <a:cubicBezTo>
                    <a:pt x="-355" y="307279"/>
                    <a:pt x="7" y="305651"/>
                    <a:pt x="1273" y="304928"/>
                  </a:cubicBezTo>
                  <a:lnTo>
                    <a:pt x="521772" y="369"/>
                  </a:lnTo>
                  <a:cubicBezTo>
                    <a:pt x="523038" y="-355"/>
                    <a:pt x="524666" y="7"/>
                    <a:pt x="525389" y="1273"/>
                  </a:cubicBezTo>
                  <a:cubicBezTo>
                    <a:pt x="526113" y="2539"/>
                    <a:pt x="525751" y="4167"/>
                    <a:pt x="524485" y="4890"/>
                  </a:cubicBezTo>
                  <a:lnTo>
                    <a:pt x="3986" y="309449"/>
                  </a:lnTo>
                  <a:cubicBezTo>
                    <a:pt x="3624" y="309811"/>
                    <a:pt x="3082" y="309811"/>
                    <a:pt x="2539" y="30981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8" name="Google Shape;658;p21"/>
            <p:cNvSpPr/>
            <p:nvPr/>
          </p:nvSpPr>
          <p:spPr>
            <a:xfrm>
              <a:off x="9676213" y="2612103"/>
              <a:ext cx="525744" cy="490884"/>
            </a:xfrm>
            <a:custGeom>
              <a:avLst/>
              <a:gdLst/>
              <a:ahLst/>
              <a:cxnLst/>
              <a:rect l="l" t="t" r="r" b="b"/>
              <a:pathLst>
                <a:path w="525744" h="490884" extrusionOk="0">
                  <a:moveTo>
                    <a:pt x="494276" y="490884"/>
                  </a:moveTo>
                  <a:cubicBezTo>
                    <a:pt x="494094" y="490884"/>
                    <a:pt x="493733" y="490884"/>
                    <a:pt x="493552" y="490703"/>
                  </a:cubicBezTo>
                  <a:lnTo>
                    <a:pt x="1809" y="309849"/>
                  </a:lnTo>
                  <a:cubicBezTo>
                    <a:pt x="904" y="309487"/>
                    <a:pt x="181" y="308583"/>
                    <a:pt x="0" y="307498"/>
                  </a:cubicBezTo>
                  <a:cubicBezTo>
                    <a:pt x="0" y="306413"/>
                    <a:pt x="362" y="305508"/>
                    <a:pt x="1266" y="304966"/>
                  </a:cubicBezTo>
                  <a:lnTo>
                    <a:pt x="521765" y="407"/>
                  </a:lnTo>
                  <a:cubicBezTo>
                    <a:pt x="522670" y="-136"/>
                    <a:pt x="523755" y="-136"/>
                    <a:pt x="524478" y="407"/>
                  </a:cubicBezTo>
                  <a:cubicBezTo>
                    <a:pt x="525383" y="949"/>
                    <a:pt x="525744" y="1854"/>
                    <a:pt x="525744" y="2939"/>
                  </a:cubicBezTo>
                  <a:lnTo>
                    <a:pt x="496988" y="488352"/>
                  </a:lnTo>
                  <a:cubicBezTo>
                    <a:pt x="496988" y="489256"/>
                    <a:pt x="496446" y="489980"/>
                    <a:pt x="495722" y="490522"/>
                  </a:cubicBezTo>
                  <a:cubicBezTo>
                    <a:pt x="495361" y="490703"/>
                    <a:pt x="494818" y="490884"/>
                    <a:pt x="494276" y="490884"/>
                  </a:cubicBezTo>
                  <a:close/>
                  <a:moveTo>
                    <a:pt x="9043" y="306774"/>
                  </a:moveTo>
                  <a:lnTo>
                    <a:pt x="491924" y="484373"/>
                  </a:lnTo>
                  <a:lnTo>
                    <a:pt x="520318" y="7641"/>
                  </a:lnTo>
                  <a:lnTo>
                    <a:pt x="9043" y="30677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59" name="Google Shape;659;p21"/>
            <p:cNvSpPr/>
            <p:nvPr/>
          </p:nvSpPr>
          <p:spPr>
            <a:xfrm>
              <a:off x="10167956" y="2612239"/>
              <a:ext cx="515831" cy="490748"/>
            </a:xfrm>
            <a:custGeom>
              <a:avLst/>
              <a:gdLst/>
              <a:ahLst/>
              <a:cxnLst/>
              <a:rect l="l" t="t" r="r" b="b"/>
              <a:pathLst>
                <a:path w="515831" h="490748" extrusionOk="0">
                  <a:moveTo>
                    <a:pt x="2532" y="490748"/>
                  </a:moveTo>
                  <a:cubicBezTo>
                    <a:pt x="1989" y="490748"/>
                    <a:pt x="1447" y="490568"/>
                    <a:pt x="1085" y="490206"/>
                  </a:cubicBezTo>
                  <a:cubicBezTo>
                    <a:pt x="362" y="489663"/>
                    <a:pt x="0" y="488759"/>
                    <a:pt x="0" y="487855"/>
                  </a:cubicBezTo>
                  <a:lnTo>
                    <a:pt x="28756" y="2442"/>
                  </a:lnTo>
                  <a:cubicBezTo>
                    <a:pt x="28756" y="1537"/>
                    <a:pt x="29298" y="633"/>
                    <a:pt x="30203" y="271"/>
                  </a:cubicBezTo>
                  <a:cubicBezTo>
                    <a:pt x="31107" y="-90"/>
                    <a:pt x="32011" y="-90"/>
                    <a:pt x="32915" y="271"/>
                  </a:cubicBezTo>
                  <a:lnTo>
                    <a:pt x="514531" y="292532"/>
                  </a:lnTo>
                  <a:cubicBezTo>
                    <a:pt x="515435" y="293075"/>
                    <a:pt x="515978" y="293979"/>
                    <a:pt x="515797" y="295064"/>
                  </a:cubicBezTo>
                  <a:cubicBezTo>
                    <a:pt x="515616" y="296149"/>
                    <a:pt x="515074" y="297053"/>
                    <a:pt x="513988" y="297415"/>
                  </a:cubicBezTo>
                  <a:lnTo>
                    <a:pt x="3617" y="490568"/>
                  </a:lnTo>
                  <a:cubicBezTo>
                    <a:pt x="3255" y="490748"/>
                    <a:pt x="2893" y="490748"/>
                    <a:pt x="2532" y="490748"/>
                  </a:cubicBezTo>
                  <a:close/>
                  <a:moveTo>
                    <a:pt x="33820" y="7325"/>
                  </a:moveTo>
                  <a:lnTo>
                    <a:pt x="5606" y="484057"/>
                  </a:lnTo>
                  <a:lnTo>
                    <a:pt x="506935" y="294341"/>
                  </a:lnTo>
                  <a:lnTo>
                    <a:pt x="33820" y="732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0" name="Google Shape;660;p21"/>
            <p:cNvSpPr/>
            <p:nvPr/>
          </p:nvSpPr>
          <p:spPr>
            <a:xfrm>
              <a:off x="10196689" y="1827586"/>
              <a:ext cx="309012" cy="790016"/>
            </a:xfrm>
            <a:custGeom>
              <a:avLst/>
              <a:gdLst/>
              <a:ahLst/>
              <a:cxnLst/>
              <a:rect l="l" t="t" r="r" b="b"/>
              <a:pathLst>
                <a:path w="309012" h="790016" extrusionOk="0">
                  <a:moveTo>
                    <a:pt x="2555" y="789988"/>
                  </a:moveTo>
                  <a:cubicBezTo>
                    <a:pt x="2374" y="789988"/>
                    <a:pt x="2193" y="789988"/>
                    <a:pt x="2012" y="789988"/>
                  </a:cubicBezTo>
                  <a:cubicBezTo>
                    <a:pt x="746" y="789627"/>
                    <a:pt x="-158" y="788361"/>
                    <a:pt x="23" y="787095"/>
                  </a:cubicBezTo>
                  <a:lnTo>
                    <a:pt x="99855" y="2367"/>
                  </a:lnTo>
                  <a:cubicBezTo>
                    <a:pt x="100036" y="1463"/>
                    <a:pt x="100397" y="740"/>
                    <a:pt x="101121" y="378"/>
                  </a:cubicBezTo>
                  <a:cubicBezTo>
                    <a:pt x="101844" y="16"/>
                    <a:pt x="102748" y="-165"/>
                    <a:pt x="103472" y="197"/>
                  </a:cubicBezTo>
                  <a:lnTo>
                    <a:pt x="307295" y="78145"/>
                  </a:lnTo>
                  <a:cubicBezTo>
                    <a:pt x="308018" y="78326"/>
                    <a:pt x="308561" y="78869"/>
                    <a:pt x="308742" y="79592"/>
                  </a:cubicBezTo>
                  <a:cubicBezTo>
                    <a:pt x="309103" y="80316"/>
                    <a:pt x="309103" y="81039"/>
                    <a:pt x="308742" y="81763"/>
                  </a:cubicBezTo>
                  <a:lnTo>
                    <a:pt x="5087" y="788542"/>
                  </a:lnTo>
                  <a:cubicBezTo>
                    <a:pt x="4725" y="789446"/>
                    <a:pt x="3640" y="790169"/>
                    <a:pt x="2555" y="789988"/>
                  </a:cubicBezTo>
                  <a:close/>
                  <a:moveTo>
                    <a:pt x="104738" y="6346"/>
                  </a:moveTo>
                  <a:lnTo>
                    <a:pt x="7800" y="768648"/>
                  </a:lnTo>
                  <a:lnTo>
                    <a:pt x="302773" y="82124"/>
                  </a:lnTo>
                  <a:lnTo>
                    <a:pt x="104738" y="6346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1" name="Google Shape;661;p21"/>
            <p:cNvSpPr/>
            <p:nvPr/>
          </p:nvSpPr>
          <p:spPr>
            <a:xfrm>
              <a:off x="10196680" y="1905342"/>
              <a:ext cx="486937" cy="1004561"/>
            </a:xfrm>
            <a:custGeom>
              <a:avLst/>
              <a:gdLst/>
              <a:ahLst/>
              <a:cxnLst/>
              <a:rect l="l" t="t" r="r" b="b"/>
              <a:pathLst>
                <a:path w="486937" h="1004561" extrusionOk="0">
                  <a:moveTo>
                    <a:pt x="484180" y="1004493"/>
                  </a:moveTo>
                  <a:cubicBezTo>
                    <a:pt x="483818" y="1004493"/>
                    <a:pt x="483275" y="1004312"/>
                    <a:pt x="482914" y="1004132"/>
                  </a:cubicBezTo>
                  <a:lnTo>
                    <a:pt x="1298" y="711871"/>
                  </a:lnTo>
                  <a:cubicBezTo>
                    <a:pt x="213" y="711147"/>
                    <a:pt x="-330" y="709701"/>
                    <a:pt x="213" y="708435"/>
                  </a:cubicBezTo>
                  <a:lnTo>
                    <a:pt x="303868" y="1655"/>
                  </a:lnTo>
                  <a:cubicBezTo>
                    <a:pt x="304410" y="570"/>
                    <a:pt x="305314" y="-153"/>
                    <a:pt x="306580" y="28"/>
                  </a:cubicBezTo>
                  <a:cubicBezTo>
                    <a:pt x="307847" y="209"/>
                    <a:pt x="308751" y="1113"/>
                    <a:pt x="308932" y="2198"/>
                  </a:cubicBezTo>
                  <a:lnTo>
                    <a:pt x="486892" y="1001238"/>
                  </a:lnTo>
                  <a:cubicBezTo>
                    <a:pt x="487073" y="1002323"/>
                    <a:pt x="486712" y="1003408"/>
                    <a:pt x="485807" y="1003951"/>
                  </a:cubicBezTo>
                  <a:cubicBezTo>
                    <a:pt x="485265" y="1004493"/>
                    <a:pt x="484722" y="1004674"/>
                    <a:pt x="484180" y="1004493"/>
                  </a:cubicBezTo>
                  <a:close/>
                  <a:moveTo>
                    <a:pt x="6181" y="708435"/>
                  </a:moveTo>
                  <a:lnTo>
                    <a:pt x="480562" y="996355"/>
                  </a:lnTo>
                  <a:lnTo>
                    <a:pt x="305314" y="11964"/>
                  </a:lnTo>
                  <a:lnTo>
                    <a:pt x="6181" y="70843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2" name="Google Shape;662;p21"/>
            <p:cNvSpPr/>
            <p:nvPr/>
          </p:nvSpPr>
          <p:spPr>
            <a:xfrm>
              <a:off x="11324266" y="4656673"/>
              <a:ext cx="540899" cy="714590"/>
            </a:xfrm>
            <a:custGeom>
              <a:avLst/>
              <a:gdLst/>
              <a:ahLst/>
              <a:cxnLst/>
              <a:rect l="l" t="t" r="r" b="b"/>
              <a:pathLst>
                <a:path w="540899" h="714590" extrusionOk="0">
                  <a:moveTo>
                    <a:pt x="2606" y="714591"/>
                  </a:moveTo>
                  <a:cubicBezTo>
                    <a:pt x="2063" y="714591"/>
                    <a:pt x="1521" y="714410"/>
                    <a:pt x="978" y="714048"/>
                  </a:cubicBezTo>
                  <a:cubicBezTo>
                    <a:pt x="74" y="713325"/>
                    <a:pt x="-288" y="712059"/>
                    <a:pt x="255" y="710974"/>
                  </a:cubicBezTo>
                  <a:lnTo>
                    <a:pt x="266834" y="1843"/>
                  </a:lnTo>
                  <a:cubicBezTo>
                    <a:pt x="267196" y="939"/>
                    <a:pt x="268100" y="216"/>
                    <a:pt x="269005" y="35"/>
                  </a:cubicBezTo>
                  <a:cubicBezTo>
                    <a:pt x="269909" y="-146"/>
                    <a:pt x="270994" y="397"/>
                    <a:pt x="271537" y="1120"/>
                  </a:cubicBezTo>
                  <a:lnTo>
                    <a:pt x="540467" y="393755"/>
                  </a:lnTo>
                  <a:cubicBezTo>
                    <a:pt x="540829" y="394298"/>
                    <a:pt x="541010" y="395202"/>
                    <a:pt x="540829" y="395925"/>
                  </a:cubicBezTo>
                  <a:cubicBezTo>
                    <a:pt x="540648" y="396649"/>
                    <a:pt x="540287" y="397191"/>
                    <a:pt x="539563" y="397734"/>
                  </a:cubicBezTo>
                  <a:lnTo>
                    <a:pt x="4053" y="714229"/>
                  </a:lnTo>
                  <a:cubicBezTo>
                    <a:pt x="3691" y="714410"/>
                    <a:pt x="3149" y="714591"/>
                    <a:pt x="2606" y="714591"/>
                  </a:cubicBezTo>
                  <a:close/>
                  <a:moveTo>
                    <a:pt x="269909" y="8354"/>
                  </a:moveTo>
                  <a:lnTo>
                    <a:pt x="7851" y="705548"/>
                  </a:lnTo>
                  <a:lnTo>
                    <a:pt x="534318" y="394479"/>
                  </a:lnTo>
                  <a:lnTo>
                    <a:pt x="269909" y="835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3" name="Google Shape;663;p21"/>
            <p:cNvSpPr/>
            <p:nvPr/>
          </p:nvSpPr>
          <p:spPr>
            <a:xfrm>
              <a:off x="11324305" y="5049298"/>
              <a:ext cx="540789" cy="482564"/>
            </a:xfrm>
            <a:custGeom>
              <a:avLst/>
              <a:gdLst/>
              <a:ahLst/>
              <a:cxnLst/>
              <a:rect l="l" t="t" r="r" b="b"/>
              <a:pathLst>
                <a:path w="540789" h="482564" extrusionOk="0">
                  <a:moveTo>
                    <a:pt x="515470" y="482565"/>
                  </a:moveTo>
                  <a:cubicBezTo>
                    <a:pt x="515289" y="482565"/>
                    <a:pt x="515108" y="482565"/>
                    <a:pt x="514927" y="482384"/>
                  </a:cubicBezTo>
                  <a:lnTo>
                    <a:pt x="1843" y="321785"/>
                  </a:lnTo>
                  <a:cubicBezTo>
                    <a:pt x="758" y="321424"/>
                    <a:pt x="35" y="320519"/>
                    <a:pt x="35" y="319434"/>
                  </a:cubicBezTo>
                  <a:cubicBezTo>
                    <a:pt x="-146" y="318349"/>
                    <a:pt x="396" y="317264"/>
                    <a:pt x="1301" y="316902"/>
                  </a:cubicBezTo>
                  <a:lnTo>
                    <a:pt x="536811" y="407"/>
                  </a:lnTo>
                  <a:cubicBezTo>
                    <a:pt x="537715" y="-136"/>
                    <a:pt x="538800" y="-136"/>
                    <a:pt x="539524" y="407"/>
                  </a:cubicBezTo>
                  <a:cubicBezTo>
                    <a:pt x="540428" y="949"/>
                    <a:pt x="540790" y="1854"/>
                    <a:pt x="540790" y="2758"/>
                  </a:cubicBezTo>
                  <a:lnTo>
                    <a:pt x="518183" y="479852"/>
                  </a:lnTo>
                  <a:cubicBezTo>
                    <a:pt x="518183" y="480756"/>
                    <a:pt x="517640" y="481480"/>
                    <a:pt x="517098" y="482022"/>
                  </a:cubicBezTo>
                  <a:cubicBezTo>
                    <a:pt x="516736" y="482384"/>
                    <a:pt x="516194" y="482565"/>
                    <a:pt x="515470" y="482565"/>
                  </a:cubicBezTo>
                  <a:close/>
                  <a:moveTo>
                    <a:pt x="9258" y="318530"/>
                  </a:moveTo>
                  <a:lnTo>
                    <a:pt x="513119" y="476416"/>
                  </a:lnTo>
                  <a:lnTo>
                    <a:pt x="535364" y="7641"/>
                  </a:lnTo>
                  <a:lnTo>
                    <a:pt x="9258" y="3185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4" name="Google Shape;664;p21"/>
            <p:cNvSpPr/>
            <p:nvPr/>
          </p:nvSpPr>
          <p:spPr>
            <a:xfrm>
              <a:off x="11591001" y="4656815"/>
              <a:ext cx="519693" cy="397953"/>
            </a:xfrm>
            <a:custGeom>
              <a:avLst/>
              <a:gdLst/>
              <a:ahLst/>
              <a:cxnLst/>
              <a:rect l="l" t="t" r="r" b="b"/>
              <a:pathLst>
                <a:path w="519693" h="397953" extrusionOk="0">
                  <a:moveTo>
                    <a:pt x="271380" y="397954"/>
                  </a:moveTo>
                  <a:cubicBezTo>
                    <a:pt x="270657" y="397954"/>
                    <a:pt x="269753" y="397411"/>
                    <a:pt x="269391" y="396869"/>
                  </a:cubicBezTo>
                  <a:lnTo>
                    <a:pt x="460" y="4234"/>
                  </a:lnTo>
                  <a:cubicBezTo>
                    <a:pt x="-263" y="3330"/>
                    <a:pt x="-82" y="1883"/>
                    <a:pt x="641" y="978"/>
                  </a:cubicBezTo>
                  <a:cubicBezTo>
                    <a:pt x="1365" y="74"/>
                    <a:pt x="2812" y="-288"/>
                    <a:pt x="3716" y="255"/>
                  </a:cubicBezTo>
                  <a:lnTo>
                    <a:pt x="518066" y="227951"/>
                  </a:lnTo>
                  <a:cubicBezTo>
                    <a:pt x="518970" y="228312"/>
                    <a:pt x="519513" y="229217"/>
                    <a:pt x="519694" y="230121"/>
                  </a:cubicBezTo>
                  <a:cubicBezTo>
                    <a:pt x="519694" y="231025"/>
                    <a:pt x="519332" y="232110"/>
                    <a:pt x="518428" y="232653"/>
                  </a:cubicBezTo>
                  <a:lnTo>
                    <a:pt x="273008" y="397773"/>
                  </a:lnTo>
                  <a:cubicBezTo>
                    <a:pt x="272647" y="397773"/>
                    <a:pt x="271923" y="397954"/>
                    <a:pt x="271380" y="397954"/>
                  </a:cubicBezTo>
                  <a:close/>
                  <a:moveTo>
                    <a:pt x="10046" y="8755"/>
                  </a:moveTo>
                  <a:lnTo>
                    <a:pt x="272285" y="391443"/>
                  </a:lnTo>
                  <a:lnTo>
                    <a:pt x="511375" y="230483"/>
                  </a:lnTo>
                  <a:lnTo>
                    <a:pt x="10046" y="87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5" name="Google Shape;665;p21"/>
            <p:cNvSpPr/>
            <p:nvPr/>
          </p:nvSpPr>
          <p:spPr>
            <a:xfrm>
              <a:off x="11837196" y="5049496"/>
              <a:ext cx="186073" cy="482366"/>
            </a:xfrm>
            <a:custGeom>
              <a:avLst/>
              <a:gdLst/>
              <a:ahLst/>
              <a:cxnLst/>
              <a:rect l="l" t="t" r="r" b="b"/>
              <a:pathLst>
                <a:path w="186073" h="482366" extrusionOk="0">
                  <a:moveTo>
                    <a:pt x="2579" y="482366"/>
                  </a:moveTo>
                  <a:cubicBezTo>
                    <a:pt x="1856" y="482366"/>
                    <a:pt x="1313" y="482005"/>
                    <a:pt x="771" y="481643"/>
                  </a:cubicBezTo>
                  <a:cubicBezTo>
                    <a:pt x="228" y="481100"/>
                    <a:pt x="-134" y="480377"/>
                    <a:pt x="47" y="479653"/>
                  </a:cubicBezTo>
                  <a:lnTo>
                    <a:pt x="22654" y="2559"/>
                  </a:lnTo>
                  <a:cubicBezTo>
                    <a:pt x="22654" y="1293"/>
                    <a:pt x="23739" y="208"/>
                    <a:pt x="25005" y="28"/>
                  </a:cubicBezTo>
                  <a:cubicBezTo>
                    <a:pt x="26271" y="-153"/>
                    <a:pt x="27537" y="570"/>
                    <a:pt x="27899" y="1836"/>
                  </a:cubicBezTo>
                  <a:lnTo>
                    <a:pt x="185965" y="471334"/>
                  </a:lnTo>
                  <a:cubicBezTo>
                    <a:pt x="186146" y="472057"/>
                    <a:pt x="186146" y="472962"/>
                    <a:pt x="185604" y="473685"/>
                  </a:cubicBezTo>
                  <a:cubicBezTo>
                    <a:pt x="185061" y="474409"/>
                    <a:pt x="184338" y="474770"/>
                    <a:pt x="183433" y="474770"/>
                  </a:cubicBezTo>
                  <a:lnTo>
                    <a:pt x="2760" y="482366"/>
                  </a:lnTo>
                  <a:cubicBezTo>
                    <a:pt x="2760" y="482366"/>
                    <a:pt x="2760" y="482366"/>
                    <a:pt x="2579" y="482366"/>
                  </a:cubicBezTo>
                  <a:close/>
                  <a:moveTo>
                    <a:pt x="27356" y="16847"/>
                  </a:moveTo>
                  <a:lnTo>
                    <a:pt x="5654" y="476760"/>
                  </a:lnTo>
                  <a:lnTo>
                    <a:pt x="179816" y="469345"/>
                  </a:lnTo>
                  <a:lnTo>
                    <a:pt x="27356" y="1684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6" name="Google Shape;666;p21"/>
            <p:cNvSpPr/>
            <p:nvPr/>
          </p:nvSpPr>
          <p:spPr>
            <a:xfrm>
              <a:off x="11859895" y="5049425"/>
              <a:ext cx="618731" cy="515353"/>
            </a:xfrm>
            <a:custGeom>
              <a:avLst/>
              <a:gdLst/>
              <a:ahLst/>
              <a:cxnLst/>
              <a:rect l="l" t="t" r="r" b="b"/>
              <a:pathLst>
                <a:path w="618731" h="515353" extrusionOk="0">
                  <a:moveTo>
                    <a:pt x="615764" y="515353"/>
                  </a:moveTo>
                  <a:cubicBezTo>
                    <a:pt x="615764" y="515353"/>
                    <a:pt x="615583" y="515353"/>
                    <a:pt x="615764" y="515353"/>
                  </a:cubicBezTo>
                  <a:lnTo>
                    <a:pt x="160554" y="474842"/>
                  </a:lnTo>
                  <a:cubicBezTo>
                    <a:pt x="159468" y="474661"/>
                    <a:pt x="158564" y="474118"/>
                    <a:pt x="158202" y="473033"/>
                  </a:cubicBezTo>
                  <a:lnTo>
                    <a:pt x="136" y="3535"/>
                  </a:lnTo>
                  <a:cubicBezTo>
                    <a:pt x="-226" y="2450"/>
                    <a:pt x="136" y="1184"/>
                    <a:pt x="1221" y="460"/>
                  </a:cubicBezTo>
                  <a:cubicBezTo>
                    <a:pt x="2306" y="-263"/>
                    <a:pt x="3572" y="-82"/>
                    <a:pt x="4476" y="641"/>
                  </a:cubicBezTo>
                  <a:lnTo>
                    <a:pt x="617754" y="510651"/>
                  </a:lnTo>
                  <a:cubicBezTo>
                    <a:pt x="618658" y="511374"/>
                    <a:pt x="619020" y="512640"/>
                    <a:pt x="618477" y="513725"/>
                  </a:cubicBezTo>
                  <a:cubicBezTo>
                    <a:pt x="617934" y="514811"/>
                    <a:pt x="616849" y="515353"/>
                    <a:pt x="615764" y="515353"/>
                  </a:cubicBezTo>
                  <a:close/>
                  <a:moveTo>
                    <a:pt x="162905" y="469597"/>
                  </a:moveTo>
                  <a:lnTo>
                    <a:pt x="607626" y="509204"/>
                  </a:lnTo>
                  <a:lnTo>
                    <a:pt x="8274" y="10769"/>
                  </a:lnTo>
                  <a:lnTo>
                    <a:pt x="162905" y="46959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7" name="Google Shape;667;p21"/>
            <p:cNvSpPr/>
            <p:nvPr/>
          </p:nvSpPr>
          <p:spPr>
            <a:xfrm>
              <a:off x="11859804" y="4884333"/>
              <a:ext cx="618864" cy="680445"/>
            </a:xfrm>
            <a:custGeom>
              <a:avLst/>
              <a:gdLst/>
              <a:ahLst/>
              <a:cxnLst/>
              <a:rect l="l" t="t" r="r" b="b"/>
              <a:pathLst>
                <a:path w="618864" h="680445" extrusionOk="0">
                  <a:moveTo>
                    <a:pt x="615856" y="680445"/>
                  </a:moveTo>
                  <a:cubicBezTo>
                    <a:pt x="615313" y="680445"/>
                    <a:pt x="614771" y="680264"/>
                    <a:pt x="614228" y="679903"/>
                  </a:cubicBezTo>
                  <a:lnTo>
                    <a:pt x="950" y="169893"/>
                  </a:lnTo>
                  <a:cubicBezTo>
                    <a:pt x="227" y="169351"/>
                    <a:pt x="-135" y="168446"/>
                    <a:pt x="46" y="167723"/>
                  </a:cubicBezTo>
                  <a:cubicBezTo>
                    <a:pt x="46" y="166819"/>
                    <a:pt x="589" y="166095"/>
                    <a:pt x="1312" y="165553"/>
                  </a:cubicBezTo>
                  <a:lnTo>
                    <a:pt x="246732" y="433"/>
                  </a:lnTo>
                  <a:cubicBezTo>
                    <a:pt x="247274" y="71"/>
                    <a:pt x="248179" y="-110"/>
                    <a:pt x="248902" y="71"/>
                  </a:cubicBezTo>
                  <a:cubicBezTo>
                    <a:pt x="249625" y="252"/>
                    <a:pt x="250349" y="794"/>
                    <a:pt x="250710" y="1337"/>
                  </a:cubicBezTo>
                  <a:lnTo>
                    <a:pt x="618568" y="676466"/>
                  </a:lnTo>
                  <a:cubicBezTo>
                    <a:pt x="619111" y="677552"/>
                    <a:pt x="618930" y="678998"/>
                    <a:pt x="617845" y="679903"/>
                  </a:cubicBezTo>
                  <a:cubicBezTo>
                    <a:pt x="617122" y="680264"/>
                    <a:pt x="616398" y="680445"/>
                    <a:pt x="615856" y="680445"/>
                  </a:cubicBezTo>
                  <a:close/>
                  <a:moveTo>
                    <a:pt x="7280" y="167904"/>
                  </a:moveTo>
                  <a:lnTo>
                    <a:pt x="606994" y="666700"/>
                  </a:lnTo>
                  <a:lnTo>
                    <a:pt x="247274" y="6582"/>
                  </a:lnTo>
                  <a:lnTo>
                    <a:pt x="7280" y="16790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8" name="Google Shape;668;p21"/>
            <p:cNvSpPr/>
            <p:nvPr/>
          </p:nvSpPr>
          <p:spPr>
            <a:xfrm>
              <a:off x="8081934" y="5740317"/>
              <a:ext cx="716257" cy="486569"/>
            </a:xfrm>
            <a:custGeom>
              <a:avLst/>
              <a:gdLst/>
              <a:ahLst/>
              <a:cxnLst/>
              <a:rect l="l" t="t" r="r" b="b"/>
              <a:pathLst>
                <a:path w="716257" h="486569" extrusionOk="0">
                  <a:moveTo>
                    <a:pt x="2397" y="486569"/>
                  </a:moveTo>
                  <a:cubicBezTo>
                    <a:pt x="1855" y="486569"/>
                    <a:pt x="1312" y="486388"/>
                    <a:pt x="950" y="486027"/>
                  </a:cubicBezTo>
                  <a:cubicBezTo>
                    <a:pt x="227" y="485484"/>
                    <a:pt x="-135" y="484399"/>
                    <a:pt x="46" y="483314"/>
                  </a:cubicBezTo>
                  <a:lnTo>
                    <a:pt x="94452" y="2241"/>
                  </a:lnTo>
                  <a:cubicBezTo>
                    <a:pt x="94633" y="1518"/>
                    <a:pt x="94995" y="975"/>
                    <a:pt x="95718" y="433"/>
                  </a:cubicBezTo>
                  <a:cubicBezTo>
                    <a:pt x="96261" y="71"/>
                    <a:pt x="97165" y="-110"/>
                    <a:pt x="97888" y="71"/>
                  </a:cubicBezTo>
                  <a:lnTo>
                    <a:pt x="714241" y="154520"/>
                  </a:lnTo>
                  <a:cubicBezTo>
                    <a:pt x="715326" y="154882"/>
                    <a:pt x="716230" y="155787"/>
                    <a:pt x="716230" y="156872"/>
                  </a:cubicBezTo>
                  <a:cubicBezTo>
                    <a:pt x="716411" y="157957"/>
                    <a:pt x="715687" y="159042"/>
                    <a:pt x="714602" y="159584"/>
                  </a:cubicBezTo>
                  <a:lnTo>
                    <a:pt x="3844" y="486208"/>
                  </a:lnTo>
                  <a:cubicBezTo>
                    <a:pt x="3301" y="486569"/>
                    <a:pt x="2759" y="486569"/>
                    <a:pt x="2397" y="486569"/>
                  </a:cubicBezTo>
                  <a:close/>
                  <a:moveTo>
                    <a:pt x="98974" y="6039"/>
                  </a:moveTo>
                  <a:lnTo>
                    <a:pt x="6195" y="479154"/>
                  </a:lnTo>
                  <a:lnTo>
                    <a:pt x="705198" y="157957"/>
                  </a:lnTo>
                  <a:lnTo>
                    <a:pt x="98974" y="6039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69" name="Google Shape;669;p21"/>
            <p:cNvSpPr/>
            <p:nvPr/>
          </p:nvSpPr>
          <p:spPr>
            <a:xfrm>
              <a:off x="8081800" y="5894938"/>
              <a:ext cx="716137" cy="511536"/>
            </a:xfrm>
            <a:custGeom>
              <a:avLst/>
              <a:gdLst/>
              <a:ahLst/>
              <a:cxnLst/>
              <a:rect l="l" t="t" r="r" b="b"/>
              <a:pathLst>
                <a:path w="716137" h="511536" extrusionOk="0">
                  <a:moveTo>
                    <a:pt x="442732" y="511536"/>
                  </a:moveTo>
                  <a:cubicBezTo>
                    <a:pt x="442370" y="511536"/>
                    <a:pt x="442189" y="511536"/>
                    <a:pt x="441828" y="511356"/>
                  </a:cubicBezTo>
                  <a:lnTo>
                    <a:pt x="1628" y="331767"/>
                  </a:lnTo>
                  <a:cubicBezTo>
                    <a:pt x="543" y="331406"/>
                    <a:pt x="0" y="330321"/>
                    <a:pt x="0" y="329416"/>
                  </a:cubicBezTo>
                  <a:cubicBezTo>
                    <a:pt x="0" y="328331"/>
                    <a:pt x="543" y="327427"/>
                    <a:pt x="1628" y="326884"/>
                  </a:cubicBezTo>
                  <a:lnTo>
                    <a:pt x="712386" y="261"/>
                  </a:lnTo>
                  <a:cubicBezTo>
                    <a:pt x="713471" y="-281"/>
                    <a:pt x="714737" y="80"/>
                    <a:pt x="715460" y="804"/>
                  </a:cubicBezTo>
                  <a:cubicBezTo>
                    <a:pt x="716184" y="1708"/>
                    <a:pt x="716365" y="2974"/>
                    <a:pt x="715822" y="3878"/>
                  </a:cubicBezTo>
                  <a:lnTo>
                    <a:pt x="445264" y="510090"/>
                  </a:lnTo>
                  <a:cubicBezTo>
                    <a:pt x="444721" y="511175"/>
                    <a:pt x="443817" y="511536"/>
                    <a:pt x="442732" y="511536"/>
                  </a:cubicBezTo>
                  <a:close/>
                  <a:moveTo>
                    <a:pt x="9404" y="329055"/>
                  </a:moveTo>
                  <a:lnTo>
                    <a:pt x="441647" y="505388"/>
                  </a:lnTo>
                  <a:lnTo>
                    <a:pt x="707141" y="8400"/>
                  </a:lnTo>
                  <a:lnTo>
                    <a:pt x="9404" y="32905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70" name="Google Shape;670;p21"/>
            <p:cNvSpPr/>
            <p:nvPr/>
          </p:nvSpPr>
          <p:spPr>
            <a:xfrm>
              <a:off x="8176171" y="5561769"/>
              <a:ext cx="621729" cy="338494"/>
            </a:xfrm>
            <a:custGeom>
              <a:avLst/>
              <a:gdLst/>
              <a:ahLst/>
              <a:cxnLst/>
              <a:rect l="l" t="t" r="r" b="b"/>
              <a:pathLst>
                <a:path w="621729" h="338494" extrusionOk="0">
                  <a:moveTo>
                    <a:pt x="618918" y="338494"/>
                  </a:moveTo>
                  <a:cubicBezTo>
                    <a:pt x="618738" y="338494"/>
                    <a:pt x="618557" y="338494"/>
                    <a:pt x="618376" y="338494"/>
                  </a:cubicBezTo>
                  <a:lnTo>
                    <a:pt x="2024" y="184044"/>
                  </a:lnTo>
                  <a:cubicBezTo>
                    <a:pt x="939" y="183863"/>
                    <a:pt x="215" y="182778"/>
                    <a:pt x="34" y="181693"/>
                  </a:cubicBezTo>
                  <a:cubicBezTo>
                    <a:pt x="-147" y="180608"/>
                    <a:pt x="396" y="179523"/>
                    <a:pt x="1481" y="178981"/>
                  </a:cubicBezTo>
                  <a:lnTo>
                    <a:pt x="336424" y="296"/>
                  </a:lnTo>
                  <a:cubicBezTo>
                    <a:pt x="337509" y="-246"/>
                    <a:pt x="338956" y="-66"/>
                    <a:pt x="339679" y="1020"/>
                  </a:cubicBezTo>
                  <a:lnTo>
                    <a:pt x="621089" y="334154"/>
                  </a:lnTo>
                  <a:cubicBezTo>
                    <a:pt x="621812" y="335058"/>
                    <a:pt x="621993" y="336324"/>
                    <a:pt x="621269" y="337409"/>
                  </a:cubicBezTo>
                  <a:cubicBezTo>
                    <a:pt x="620727" y="338132"/>
                    <a:pt x="619823" y="338494"/>
                    <a:pt x="618918" y="338494"/>
                  </a:cubicBezTo>
                  <a:close/>
                  <a:moveTo>
                    <a:pt x="9981" y="180427"/>
                  </a:moveTo>
                  <a:lnTo>
                    <a:pt x="611503" y="331260"/>
                  </a:lnTo>
                  <a:lnTo>
                    <a:pt x="336785" y="6083"/>
                  </a:lnTo>
                  <a:lnTo>
                    <a:pt x="9981" y="180427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71" name="Google Shape;671;p21"/>
            <p:cNvSpPr/>
            <p:nvPr/>
          </p:nvSpPr>
          <p:spPr>
            <a:xfrm>
              <a:off x="8511230" y="5561816"/>
              <a:ext cx="286847" cy="338446"/>
            </a:xfrm>
            <a:custGeom>
              <a:avLst/>
              <a:gdLst/>
              <a:ahLst/>
              <a:cxnLst/>
              <a:rect l="l" t="t" r="r" b="b"/>
              <a:pathLst>
                <a:path w="286847" h="338446" extrusionOk="0">
                  <a:moveTo>
                    <a:pt x="283860" y="338447"/>
                  </a:moveTo>
                  <a:cubicBezTo>
                    <a:pt x="283136" y="338447"/>
                    <a:pt x="282413" y="338085"/>
                    <a:pt x="282051" y="337543"/>
                  </a:cubicBezTo>
                  <a:lnTo>
                    <a:pt x="641" y="4409"/>
                  </a:lnTo>
                  <a:cubicBezTo>
                    <a:pt x="-82" y="3504"/>
                    <a:pt x="-263" y="2058"/>
                    <a:pt x="461" y="1154"/>
                  </a:cubicBezTo>
                  <a:cubicBezTo>
                    <a:pt x="1184" y="68"/>
                    <a:pt x="2450" y="-293"/>
                    <a:pt x="3716" y="249"/>
                  </a:cubicBezTo>
                  <a:lnTo>
                    <a:pt x="229603" y="88325"/>
                  </a:lnTo>
                  <a:cubicBezTo>
                    <a:pt x="230507" y="88687"/>
                    <a:pt x="231050" y="89410"/>
                    <a:pt x="231231" y="90315"/>
                  </a:cubicBezTo>
                  <a:lnTo>
                    <a:pt x="286753" y="335372"/>
                  </a:lnTo>
                  <a:cubicBezTo>
                    <a:pt x="287115" y="336639"/>
                    <a:pt x="286392" y="337904"/>
                    <a:pt x="285306" y="338447"/>
                  </a:cubicBezTo>
                  <a:cubicBezTo>
                    <a:pt x="284764" y="338266"/>
                    <a:pt x="284221" y="338447"/>
                    <a:pt x="283860" y="338447"/>
                  </a:cubicBezTo>
                  <a:close/>
                  <a:moveTo>
                    <a:pt x="11312" y="8930"/>
                  </a:moveTo>
                  <a:lnTo>
                    <a:pt x="278796" y="325606"/>
                  </a:lnTo>
                  <a:lnTo>
                    <a:pt x="225986" y="92666"/>
                  </a:lnTo>
                  <a:lnTo>
                    <a:pt x="11312" y="893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72" name="Google Shape;672;p21"/>
            <p:cNvSpPr/>
            <p:nvPr/>
          </p:nvSpPr>
          <p:spPr>
            <a:xfrm>
              <a:off x="8522056" y="5812887"/>
              <a:ext cx="1036532" cy="593587"/>
            </a:xfrm>
            <a:custGeom>
              <a:avLst/>
              <a:gdLst/>
              <a:ahLst/>
              <a:cxnLst/>
              <a:rect l="l" t="t" r="r" b="b"/>
              <a:pathLst>
                <a:path w="1036532" h="593587" extrusionOk="0">
                  <a:moveTo>
                    <a:pt x="2475" y="593587"/>
                  </a:moveTo>
                  <a:cubicBezTo>
                    <a:pt x="1933" y="593587"/>
                    <a:pt x="1209" y="593226"/>
                    <a:pt x="848" y="592864"/>
                  </a:cubicBezTo>
                  <a:cubicBezTo>
                    <a:pt x="-57" y="591960"/>
                    <a:pt x="-237" y="590694"/>
                    <a:pt x="305" y="589608"/>
                  </a:cubicBezTo>
                  <a:lnTo>
                    <a:pt x="270864" y="83397"/>
                  </a:lnTo>
                  <a:cubicBezTo>
                    <a:pt x="271225" y="82674"/>
                    <a:pt x="272130" y="82131"/>
                    <a:pt x="273034" y="81950"/>
                  </a:cubicBezTo>
                  <a:lnTo>
                    <a:pt x="1033527" y="23"/>
                  </a:lnTo>
                  <a:cubicBezTo>
                    <a:pt x="1034793" y="-158"/>
                    <a:pt x="1036059" y="747"/>
                    <a:pt x="1036421" y="1832"/>
                  </a:cubicBezTo>
                  <a:cubicBezTo>
                    <a:pt x="1036782" y="3098"/>
                    <a:pt x="1036240" y="4364"/>
                    <a:pt x="1035155" y="5087"/>
                  </a:cubicBezTo>
                  <a:lnTo>
                    <a:pt x="4103" y="593226"/>
                  </a:lnTo>
                  <a:cubicBezTo>
                    <a:pt x="3561" y="593587"/>
                    <a:pt x="3018" y="593587"/>
                    <a:pt x="2475" y="593587"/>
                  </a:cubicBezTo>
                  <a:close/>
                  <a:moveTo>
                    <a:pt x="274842" y="87195"/>
                  </a:moveTo>
                  <a:lnTo>
                    <a:pt x="9348" y="584002"/>
                  </a:lnTo>
                  <a:lnTo>
                    <a:pt x="1021048" y="6896"/>
                  </a:lnTo>
                  <a:lnTo>
                    <a:pt x="274842" y="8719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73" name="Google Shape;673;p21"/>
            <p:cNvSpPr/>
            <p:nvPr/>
          </p:nvSpPr>
          <p:spPr>
            <a:xfrm>
              <a:off x="8736970" y="5649714"/>
              <a:ext cx="821506" cy="250548"/>
            </a:xfrm>
            <a:custGeom>
              <a:avLst/>
              <a:gdLst/>
              <a:ahLst/>
              <a:cxnLst/>
              <a:rect l="l" t="t" r="r" b="b"/>
              <a:pathLst>
                <a:path w="821506" h="250548" extrusionOk="0">
                  <a:moveTo>
                    <a:pt x="58120" y="250549"/>
                  </a:moveTo>
                  <a:cubicBezTo>
                    <a:pt x="56854" y="250549"/>
                    <a:pt x="55949" y="249644"/>
                    <a:pt x="55588" y="248378"/>
                  </a:cubicBezTo>
                  <a:lnTo>
                    <a:pt x="65" y="3321"/>
                  </a:lnTo>
                  <a:cubicBezTo>
                    <a:pt x="-116" y="2416"/>
                    <a:pt x="65" y="1512"/>
                    <a:pt x="789" y="789"/>
                  </a:cubicBezTo>
                  <a:cubicBezTo>
                    <a:pt x="1512" y="65"/>
                    <a:pt x="2235" y="-116"/>
                    <a:pt x="3321" y="65"/>
                  </a:cubicBezTo>
                  <a:lnTo>
                    <a:pt x="819336" y="163196"/>
                  </a:lnTo>
                  <a:cubicBezTo>
                    <a:pt x="820602" y="163377"/>
                    <a:pt x="821506" y="164643"/>
                    <a:pt x="821506" y="165909"/>
                  </a:cubicBezTo>
                  <a:cubicBezTo>
                    <a:pt x="821506" y="167175"/>
                    <a:pt x="820421" y="168260"/>
                    <a:pt x="819155" y="168441"/>
                  </a:cubicBezTo>
                  <a:lnTo>
                    <a:pt x="58662" y="250368"/>
                  </a:lnTo>
                  <a:cubicBezTo>
                    <a:pt x="58300" y="250549"/>
                    <a:pt x="58120" y="250549"/>
                    <a:pt x="58120" y="250549"/>
                  </a:cubicBezTo>
                  <a:close/>
                  <a:moveTo>
                    <a:pt x="6214" y="6214"/>
                  </a:moveTo>
                  <a:lnTo>
                    <a:pt x="60290" y="244942"/>
                  </a:lnTo>
                  <a:lnTo>
                    <a:pt x="801070" y="165185"/>
                  </a:lnTo>
                  <a:lnTo>
                    <a:pt x="6214" y="6214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grpSp>
          <p:nvGrpSpPr>
            <p:cNvPr id="674" name="Google Shape;674;p21"/>
            <p:cNvGrpSpPr/>
            <p:nvPr/>
          </p:nvGrpSpPr>
          <p:grpSpPr>
            <a:xfrm>
              <a:off x="7397166" y="1622082"/>
              <a:ext cx="5364974" cy="5709390"/>
              <a:chOff x="7397166" y="1244711"/>
              <a:chExt cx="5364974" cy="5709390"/>
            </a:xfrm>
          </p:grpSpPr>
          <p:sp>
            <p:nvSpPr>
              <p:cNvPr id="675" name="Google Shape;675;p21"/>
              <p:cNvSpPr/>
              <p:nvPr/>
            </p:nvSpPr>
            <p:spPr>
              <a:xfrm>
                <a:off x="7569239" y="4550419"/>
                <a:ext cx="23729" cy="23729"/>
              </a:xfrm>
              <a:custGeom>
                <a:avLst/>
                <a:gdLst/>
                <a:ahLst/>
                <a:cxnLst/>
                <a:rect l="l" t="t" r="r" b="b"/>
                <a:pathLst>
                  <a:path w="23729" h="23729" extrusionOk="0">
                    <a:moveTo>
                      <a:pt x="23711" y="12679"/>
                    </a:moveTo>
                    <a:cubicBezTo>
                      <a:pt x="24073" y="6168"/>
                      <a:pt x="19189" y="562"/>
                      <a:pt x="12679" y="19"/>
                    </a:cubicBezTo>
                    <a:cubicBezTo>
                      <a:pt x="6168" y="-343"/>
                      <a:pt x="561" y="4540"/>
                      <a:pt x="19" y="11051"/>
                    </a:cubicBezTo>
                    <a:cubicBezTo>
                      <a:pt x="-343" y="17562"/>
                      <a:pt x="4540" y="23168"/>
                      <a:pt x="11051" y="23711"/>
                    </a:cubicBezTo>
                    <a:cubicBezTo>
                      <a:pt x="17743" y="24073"/>
                      <a:pt x="23349" y="19190"/>
                      <a:pt x="23711" y="126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76" name="Google Shape;676;p21"/>
              <p:cNvSpPr/>
              <p:nvPr/>
            </p:nvSpPr>
            <p:spPr>
              <a:xfrm>
                <a:off x="10938181" y="5497719"/>
                <a:ext cx="28824" cy="28824"/>
              </a:xfrm>
              <a:custGeom>
                <a:avLst/>
                <a:gdLst/>
                <a:ahLst/>
                <a:cxnLst/>
                <a:rect l="l" t="t" r="r" b="b"/>
                <a:pathLst>
                  <a:path w="28824" h="28824" extrusionOk="0">
                    <a:moveTo>
                      <a:pt x="28790" y="15407"/>
                    </a:moveTo>
                    <a:cubicBezTo>
                      <a:pt x="29333" y="7449"/>
                      <a:pt x="23364" y="577"/>
                      <a:pt x="15407" y="34"/>
                    </a:cubicBezTo>
                    <a:cubicBezTo>
                      <a:pt x="7449" y="-508"/>
                      <a:pt x="577" y="5460"/>
                      <a:pt x="34" y="13418"/>
                    </a:cubicBezTo>
                    <a:cubicBezTo>
                      <a:pt x="-508" y="21375"/>
                      <a:pt x="5460" y="28247"/>
                      <a:pt x="13417" y="28790"/>
                    </a:cubicBezTo>
                    <a:cubicBezTo>
                      <a:pt x="21375" y="29333"/>
                      <a:pt x="28248" y="23365"/>
                      <a:pt x="28790" y="154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77" name="Google Shape;677;p21"/>
              <p:cNvSpPr/>
              <p:nvPr/>
            </p:nvSpPr>
            <p:spPr>
              <a:xfrm>
                <a:off x="10741924" y="5956697"/>
                <a:ext cx="61980" cy="62001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2001" extrusionOk="0">
                    <a:moveTo>
                      <a:pt x="61916" y="32980"/>
                    </a:moveTo>
                    <a:cubicBezTo>
                      <a:pt x="63001" y="15799"/>
                      <a:pt x="50161" y="1149"/>
                      <a:pt x="32980" y="64"/>
                    </a:cubicBezTo>
                    <a:cubicBezTo>
                      <a:pt x="15799" y="-1021"/>
                      <a:pt x="1149" y="11820"/>
                      <a:pt x="64" y="29001"/>
                    </a:cubicBezTo>
                    <a:cubicBezTo>
                      <a:pt x="-1021" y="46182"/>
                      <a:pt x="11820" y="60831"/>
                      <a:pt x="29001" y="61916"/>
                    </a:cubicBezTo>
                    <a:cubicBezTo>
                      <a:pt x="46001" y="63183"/>
                      <a:pt x="60650" y="50161"/>
                      <a:pt x="61916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78" name="Google Shape;678;p21"/>
              <p:cNvSpPr/>
              <p:nvPr/>
            </p:nvSpPr>
            <p:spPr>
              <a:xfrm>
                <a:off x="10468879" y="5332071"/>
                <a:ext cx="22826" cy="22826"/>
              </a:xfrm>
              <a:custGeom>
                <a:avLst/>
                <a:gdLst/>
                <a:ahLst/>
                <a:cxnLst/>
                <a:rect l="l" t="t" r="r" b="b"/>
                <a:pathLst>
                  <a:path w="22826" h="22826" extrusionOk="0">
                    <a:moveTo>
                      <a:pt x="22807" y="12137"/>
                    </a:moveTo>
                    <a:cubicBezTo>
                      <a:pt x="23169" y="5807"/>
                      <a:pt x="18467" y="381"/>
                      <a:pt x="12137" y="20"/>
                    </a:cubicBezTo>
                    <a:cubicBezTo>
                      <a:pt x="5807" y="-342"/>
                      <a:pt x="381" y="4360"/>
                      <a:pt x="20" y="10690"/>
                    </a:cubicBezTo>
                    <a:cubicBezTo>
                      <a:pt x="-342" y="17020"/>
                      <a:pt x="4360" y="22446"/>
                      <a:pt x="10690" y="22807"/>
                    </a:cubicBezTo>
                    <a:cubicBezTo>
                      <a:pt x="16839" y="23169"/>
                      <a:pt x="22265" y="18286"/>
                      <a:pt x="22807" y="121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79" name="Google Shape;679;p21"/>
              <p:cNvSpPr/>
              <p:nvPr/>
            </p:nvSpPr>
            <p:spPr>
              <a:xfrm>
                <a:off x="12213387" y="2432780"/>
                <a:ext cx="29727" cy="29708"/>
              </a:xfrm>
              <a:custGeom>
                <a:avLst/>
                <a:gdLst/>
                <a:ahLst/>
                <a:cxnLst/>
                <a:rect l="l" t="t" r="r" b="b"/>
                <a:pathLst>
                  <a:path w="29727" h="29708" extrusionOk="0">
                    <a:moveTo>
                      <a:pt x="29694" y="15768"/>
                    </a:moveTo>
                    <a:cubicBezTo>
                      <a:pt x="30236" y="7629"/>
                      <a:pt x="24087" y="576"/>
                      <a:pt x="15768" y="33"/>
                    </a:cubicBezTo>
                    <a:cubicBezTo>
                      <a:pt x="7629" y="-509"/>
                      <a:pt x="576" y="5640"/>
                      <a:pt x="33" y="13959"/>
                    </a:cubicBezTo>
                    <a:cubicBezTo>
                      <a:pt x="-509" y="22098"/>
                      <a:pt x="5640" y="29151"/>
                      <a:pt x="13959" y="29693"/>
                    </a:cubicBezTo>
                    <a:cubicBezTo>
                      <a:pt x="22098" y="30055"/>
                      <a:pt x="29151" y="23906"/>
                      <a:pt x="29694" y="157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0" name="Google Shape;680;p21"/>
              <p:cNvSpPr/>
              <p:nvPr/>
            </p:nvSpPr>
            <p:spPr>
              <a:xfrm>
                <a:off x="12486304" y="2437489"/>
                <a:ext cx="15967" cy="15768"/>
              </a:xfrm>
              <a:custGeom>
                <a:avLst/>
                <a:gdLst/>
                <a:ahLst/>
                <a:cxnLst/>
                <a:rect l="l" t="t" r="r" b="b"/>
                <a:pathLst>
                  <a:path w="15967" h="15768" extrusionOk="0">
                    <a:moveTo>
                      <a:pt x="15941" y="8526"/>
                    </a:moveTo>
                    <a:cubicBezTo>
                      <a:pt x="16303" y="4186"/>
                      <a:pt x="12867" y="388"/>
                      <a:pt x="8526" y="26"/>
                    </a:cubicBezTo>
                    <a:cubicBezTo>
                      <a:pt x="4186" y="-335"/>
                      <a:pt x="388" y="3101"/>
                      <a:pt x="26" y="7441"/>
                    </a:cubicBezTo>
                    <a:cubicBezTo>
                      <a:pt x="-335" y="11782"/>
                      <a:pt x="3101" y="15580"/>
                      <a:pt x="7441" y="15761"/>
                    </a:cubicBezTo>
                    <a:cubicBezTo>
                      <a:pt x="11782" y="15941"/>
                      <a:pt x="15580" y="12867"/>
                      <a:pt x="15941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1" name="Google Shape;681;p21"/>
              <p:cNvSpPr/>
              <p:nvPr/>
            </p:nvSpPr>
            <p:spPr>
              <a:xfrm>
                <a:off x="12208538" y="2427930"/>
                <a:ext cx="39426" cy="39426"/>
              </a:xfrm>
              <a:custGeom>
                <a:avLst/>
                <a:gdLst/>
                <a:ahLst/>
                <a:cxnLst/>
                <a:rect l="l" t="t" r="r" b="b"/>
                <a:pathLst>
                  <a:path w="39426" h="39426" extrusionOk="0">
                    <a:moveTo>
                      <a:pt x="39426" y="19713"/>
                    </a:moveTo>
                    <a:cubicBezTo>
                      <a:pt x="39426" y="30600"/>
                      <a:pt x="30600" y="39426"/>
                      <a:pt x="19713" y="39426"/>
                    </a:cubicBezTo>
                    <a:cubicBezTo>
                      <a:pt x="8826" y="39426"/>
                      <a:pt x="0" y="30600"/>
                      <a:pt x="0" y="19713"/>
                    </a:cubicBezTo>
                    <a:cubicBezTo>
                      <a:pt x="0" y="8826"/>
                      <a:pt x="8826" y="0"/>
                      <a:pt x="19713" y="0"/>
                    </a:cubicBezTo>
                    <a:cubicBezTo>
                      <a:pt x="30600" y="0"/>
                      <a:pt x="39426" y="8826"/>
                      <a:pt x="39426" y="197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2" name="Google Shape;682;p21"/>
              <p:cNvSpPr/>
              <p:nvPr/>
            </p:nvSpPr>
            <p:spPr>
              <a:xfrm>
                <a:off x="9568394" y="5195334"/>
                <a:ext cx="32794" cy="32794"/>
              </a:xfrm>
              <a:custGeom>
                <a:avLst/>
                <a:gdLst/>
                <a:ahLst/>
                <a:cxnLst/>
                <a:rect l="l" t="t" r="r" b="b"/>
                <a:pathLst>
                  <a:path w="32794" h="32794" extrusionOk="0">
                    <a:moveTo>
                      <a:pt x="32765" y="17392"/>
                    </a:moveTo>
                    <a:cubicBezTo>
                      <a:pt x="33307" y="8349"/>
                      <a:pt x="26435" y="573"/>
                      <a:pt x="17392" y="30"/>
                    </a:cubicBezTo>
                    <a:cubicBezTo>
                      <a:pt x="8349" y="-513"/>
                      <a:pt x="573" y="6360"/>
                      <a:pt x="30" y="15403"/>
                    </a:cubicBezTo>
                    <a:cubicBezTo>
                      <a:pt x="-513" y="24445"/>
                      <a:pt x="6360" y="32222"/>
                      <a:pt x="15403" y="32765"/>
                    </a:cubicBezTo>
                    <a:cubicBezTo>
                      <a:pt x="24446" y="33307"/>
                      <a:pt x="32222" y="26435"/>
                      <a:pt x="32765" y="173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3" name="Google Shape;683;p21"/>
              <p:cNvSpPr/>
              <p:nvPr/>
            </p:nvSpPr>
            <p:spPr>
              <a:xfrm>
                <a:off x="9490696" y="5373184"/>
                <a:ext cx="130316" cy="130316"/>
              </a:xfrm>
              <a:custGeom>
                <a:avLst/>
                <a:gdLst/>
                <a:ahLst/>
                <a:cxnLst/>
                <a:rect l="l" t="t" r="r" b="b"/>
                <a:pathLst>
                  <a:path w="130316" h="130316" extrusionOk="0">
                    <a:moveTo>
                      <a:pt x="130176" y="69408"/>
                    </a:moveTo>
                    <a:cubicBezTo>
                      <a:pt x="132527" y="33419"/>
                      <a:pt x="105218" y="2492"/>
                      <a:pt x="69408" y="141"/>
                    </a:cubicBezTo>
                    <a:cubicBezTo>
                      <a:pt x="33418" y="-2210"/>
                      <a:pt x="2492" y="25099"/>
                      <a:pt x="141" y="60908"/>
                    </a:cubicBezTo>
                    <a:cubicBezTo>
                      <a:pt x="-2210" y="96898"/>
                      <a:pt x="25099" y="127825"/>
                      <a:pt x="60908" y="130175"/>
                    </a:cubicBezTo>
                    <a:cubicBezTo>
                      <a:pt x="96717" y="132527"/>
                      <a:pt x="127824" y="105218"/>
                      <a:pt x="130176" y="694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4" name="Google Shape;684;p21"/>
              <p:cNvSpPr/>
              <p:nvPr/>
            </p:nvSpPr>
            <p:spPr>
              <a:xfrm>
                <a:off x="8695881" y="5231254"/>
                <a:ext cx="87554" cy="87554"/>
              </a:xfrm>
              <a:custGeom>
                <a:avLst/>
                <a:gdLst/>
                <a:ahLst/>
                <a:cxnLst/>
                <a:rect l="l" t="t" r="r" b="b"/>
                <a:pathLst>
                  <a:path w="87554" h="87554" extrusionOk="0">
                    <a:moveTo>
                      <a:pt x="87454" y="46580"/>
                    </a:moveTo>
                    <a:cubicBezTo>
                      <a:pt x="89081" y="22527"/>
                      <a:pt x="70815" y="1548"/>
                      <a:pt x="46580" y="101"/>
                    </a:cubicBezTo>
                    <a:cubicBezTo>
                      <a:pt x="22527" y="-1527"/>
                      <a:pt x="1548" y="16739"/>
                      <a:pt x="101" y="40974"/>
                    </a:cubicBezTo>
                    <a:cubicBezTo>
                      <a:pt x="-1527" y="65028"/>
                      <a:pt x="16739" y="86007"/>
                      <a:pt x="40974" y="87454"/>
                    </a:cubicBezTo>
                    <a:cubicBezTo>
                      <a:pt x="65028" y="89081"/>
                      <a:pt x="85826" y="70815"/>
                      <a:pt x="87454" y="465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5" name="Google Shape;685;p21"/>
              <p:cNvSpPr/>
              <p:nvPr/>
            </p:nvSpPr>
            <p:spPr>
              <a:xfrm>
                <a:off x="9532510" y="5159270"/>
                <a:ext cx="104742" cy="104763"/>
              </a:xfrm>
              <a:custGeom>
                <a:avLst/>
                <a:gdLst/>
                <a:ahLst/>
                <a:cxnLst/>
                <a:rect l="l" t="t" r="r" b="b"/>
                <a:pathLst>
                  <a:path w="104742" h="104763" extrusionOk="0">
                    <a:moveTo>
                      <a:pt x="104638" y="55807"/>
                    </a:moveTo>
                    <a:cubicBezTo>
                      <a:pt x="106447" y="26871"/>
                      <a:pt x="84564" y="1913"/>
                      <a:pt x="55808" y="105"/>
                    </a:cubicBezTo>
                    <a:cubicBezTo>
                      <a:pt x="27052" y="-1704"/>
                      <a:pt x="1913" y="20179"/>
                      <a:pt x="104" y="48935"/>
                    </a:cubicBezTo>
                    <a:cubicBezTo>
                      <a:pt x="-1704" y="77872"/>
                      <a:pt x="20179" y="102830"/>
                      <a:pt x="48935" y="104638"/>
                    </a:cubicBezTo>
                    <a:cubicBezTo>
                      <a:pt x="77691" y="106628"/>
                      <a:pt x="102649" y="84744"/>
                      <a:pt x="104638" y="558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6" name="Google Shape;686;p21"/>
              <p:cNvSpPr/>
              <p:nvPr/>
            </p:nvSpPr>
            <p:spPr>
              <a:xfrm>
                <a:off x="10467795" y="5330987"/>
                <a:ext cx="24813" cy="2481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3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1"/>
                      <a:pt x="18" y="11593"/>
                    </a:cubicBezTo>
                    <a:cubicBezTo>
                      <a:pt x="-343" y="18465"/>
                      <a:pt x="4721" y="24253"/>
                      <a:pt x="11593" y="24795"/>
                    </a:cubicBezTo>
                    <a:cubicBezTo>
                      <a:pt x="18465" y="25157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7" name="Google Shape;687;p21"/>
              <p:cNvSpPr/>
              <p:nvPr/>
            </p:nvSpPr>
            <p:spPr>
              <a:xfrm>
                <a:off x="9525135" y="5407624"/>
                <a:ext cx="61256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61256" h="61257" extrusionOk="0">
                    <a:moveTo>
                      <a:pt x="61193" y="32618"/>
                    </a:moveTo>
                    <a:cubicBezTo>
                      <a:pt x="62278" y="15798"/>
                      <a:pt x="49437" y="1149"/>
                      <a:pt x="32618" y="64"/>
                    </a:cubicBezTo>
                    <a:cubicBezTo>
                      <a:pt x="15798" y="-1021"/>
                      <a:pt x="1149" y="11819"/>
                      <a:pt x="64" y="28639"/>
                    </a:cubicBezTo>
                    <a:cubicBezTo>
                      <a:pt x="-1021" y="45458"/>
                      <a:pt x="11820" y="60108"/>
                      <a:pt x="28639" y="61193"/>
                    </a:cubicBezTo>
                    <a:cubicBezTo>
                      <a:pt x="45459" y="62278"/>
                      <a:pt x="60108" y="49618"/>
                      <a:pt x="61193" y="326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8" name="Google Shape;688;p21"/>
              <p:cNvSpPr/>
              <p:nvPr/>
            </p:nvSpPr>
            <p:spPr>
              <a:xfrm>
                <a:off x="9556600" y="5183360"/>
                <a:ext cx="56563" cy="56563"/>
              </a:xfrm>
              <a:custGeom>
                <a:avLst/>
                <a:gdLst/>
                <a:ahLst/>
                <a:cxnLst/>
                <a:rect l="l" t="t" r="r" b="b"/>
                <a:pathLst>
                  <a:path w="56563" h="56563" extrusionOk="0">
                    <a:moveTo>
                      <a:pt x="56495" y="30090"/>
                    </a:moveTo>
                    <a:cubicBezTo>
                      <a:pt x="57580" y="14537"/>
                      <a:pt x="45644" y="973"/>
                      <a:pt x="30090" y="69"/>
                    </a:cubicBezTo>
                    <a:cubicBezTo>
                      <a:pt x="14537" y="-1017"/>
                      <a:pt x="973" y="10920"/>
                      <a:pt x="69" y="26473"/>
                    </a:cubicBezTo>
                    <a:cubicBezTo>
                      <a:pt x="-1017" y="42027"/>
                      <a:pt x="10920" y="55591"/>
                      <a:pt x="26473" y="56495"/>
                    </a:cubicBezTo>
                    <a:cubicBezTo>
                      <a:pt x="42027" y="57580"/>
                      <a:pt x="55410" y="45644"/>
                      <a:pt x="56495" y="3009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89" name="Google Shape;689;p21"/>
              <p:cNvSpPr/>
              <p:nvPr/>
            </p:nvSpPr>
            <p:spPr>
              <a:xfrm>
                <a:off x="10452009" y="5315202"/>
                <a:ext cx="56203" cy="5620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203" extrusionOk="0">
                    <a:moveTo>
                      <a:pt x="56134" y="29910"/>
                    </a:moveTo>
                    <a:cubicBezTo>
                      <a:pt x="57220" y="14357"/>
                      <a:pt x="45464" y="1155"/>
                      <a:pt x="29911" y="69"/>
                    </a:cubicBezTo>
                    <a:cubicBezTo>
                      <a:pt x="14357" y="-1016"/>
                      <a:pt x="1155" y="10740"/>
                      <a:pt x="69" y="26293"/>
                    </a:cubicBezTo>
                    <a:cubicBezTo>
                      <a:pt x="-1016" y="41847"/>
                      <a:pt x="10740" y="55049"/>
                      <a:pt x="26293" y="56134"/>
                    </a:cubicBezTo>
                    <a:cubicBezTo>
                      <a:pt x="41847" y="57220"/>
                      <a:pt x="55230" y="45464"/>
                      <a:pt x="56134" y="2991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0" name="Google Shape;690;p21"/>
              <p:cNvSpPr/>
              <p:nvPr/>
            </p:nvSpPr>
            <p:spPr>
              <a:xfrm>
                <a:off x="10389825" y="4874851"/>
                <a:ext cx="44208" cy="44228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8" extrusionOk="0">
                    <a:moveTo>
                      <a:pt x="44168" y="23551"/>
                    </a:moveTo>
                    <a:cubicBezTo>
                      <a:pt x="44892" y="11434"/>
                      <a:pt x="35668" y="944"/>
                      <a:pt x="23551" y="40"/>
                    </a:cubicBezTo>
                    <a:cubicBezTo>
                      <a:pt x="11434" y="-684"/>
                      <a:pt x="944" y="8540"/>
                      <a:pt x="40" y="20657"/>
                    </a:cubicBezTo>
                    <a:cubicBezTo>
                      <a:pt x="-684" y="32774"/>
                      <a:pt x="8540" y="43264"/>
                      <a:pt x="20657" y="44168"/>
                    </a:cubicBezTo>
                    <a:cubicBezTo>
                      <a:pt x="32774" y="45073"/>
                      <a:pt x="43445" y="35668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1" name="Google Shape;691;p21"/>
              <p:cNvSpPr/>
              <p:nvPr/>
            </p:nvSpPr>
            <p:spPr>
              <a:xfrm>
                <a:off x="8028510" y="5790800"/>
                <a:ext cx="112004" cy="112004"/>
              </a:xfrm>
              <a:custGeom>
                <a:avLst/>
                <a:gdLst/>
                <a:ahLst/>
                <a:cxnLst/>
                <a:rect l="l" t="t" r="r" b="b"/>
                <a:pathLst>
                  <a:path w="112004" h="112004" extrusionOk="0">
                    <a:moveTo>
                      <a:pt x="111886" y="59619"/>
                    </a:moveTo>
                    <a:cubicBezTo>
                      <a:pt x="113876" y="28693"/>
                      <a:pt x="90546" y="2108"/>
                      <a:pt x="59619" y="118"/>
                    </a:cubicBezTo>
                    <a:cubicBezTo>
                      <a:pt x="28693" y="-1871"/>
                      <a:pt x="2108" y="21459"/>
                      <a:pt x="118" y="52385"/>
                    </a:cubicBezTo>
                    <a:cubicBezTo>
                      <a:pt x="-1871" y="83311"/>
                      <a:pt x="21459" y="109897"/>
                      <a:pt x="52385" y="111886"/>
                    </a:cubicBezTo>
                    <a:cubicBezTo>
                      <a:pt x="83131" y="113876"/>
                      <a:pt x="109716" y="90546"/>
                      <a:pt x="111886" y="596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2" name="Google Shape;692;p21"/>
              <p:cNvSpPr/>
              <p:nvPr/>
            </p:nvSpPr>
            <p:spPr>
              <a:xfrm>
                <a:off x="7787357" y="5456326"/>
                <a:ext cx="9427" cy="9458"/>
              </a:xfrm>
              <a:custGeom>
                <a:avLst/>
                <a:gdLst/>
                <a:ahLst/>
                <a:cxnLst/>
                <a:rect l="l" t="t" r="r" b="b"/>
                <a:pathLst>
                  <a:path w="9427" h="9458" extrusionOk="0">
                    <a:moveTo>
                      <a:pt x="9416" y="5075"/>
                    </a:moveTo>
                    <a:cubicBezTo>
                      <a:pt x="9597" y="2543"/>
                      <a:pt x="7607" y="192"/>
                      <a:pt x="5075" y="11"/>
                    </a:cubicBezTo>
                    <a:cubicBezTo>
                      <a:pt x="2543" y="-170"/>
                      <a:pt x="192" y="1820"/>
                      <a:pt x="11" y="4352"/>
                    </a:cubicBezTo>
                    <a:cubicBezTo>
                      <a:pt x="-169" y="6884"/>
                      <a:pt x="1820" y="9235"/>
                      <a:pt x="4352" y="9416"/>
                    </a:cubicBezTo>
                    <a:cubicBezTo>
                      <a:pt x="7065" y="9777"/>
                      <a:pt x="9235" y="7788"/>
                      <a:pt x="9416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3" name="Google Shape;693;p21"/>
              <p:cNvSpPr/>
              <p:nvPr/>
            </p:nvSpPr>
            <p:spPr>
              <a:xfrm>
                <a:off x="7397166" y="6185082"/>
                <a:ext cx="88997" cy="88997"/>
              </a:xfrm>
              <a:custGeom>
                <a:avLst/>
                <a:gdLst/>
                <a:ahLst/>
                <a:cxnLst/>
                <a:rect l="l" t="t" r="r" b="b"/>
                <a:pathLst>
                  <a:path w="88997" h="88997" extrusionOk="0">
                    <a:moveTo>
                      <a:pt x="88899" y="47483"/>
                    </a:moveTo>
                    <a:cubicBezTo>
                      <a:pt x="90526" y="22887"/>
                      <a:pt x="71898" y="1727"/>
                      <a:pt x="47483" y="99"/>
                    </a:cubicBezTo>
                    <a:cubicBezTo>
                      <a:pt x="23068" y="-1529"/>
                      <a:pt x="1727" y="17099"/>
                      <a:pt x="99" y="41515"/>
                    </a:cubicBezTo>
                    <a:cubicBezTo>
                      <a:pt x="-1529" y="66111"/>
                      <a:pt x="17099" y="87271"/>
                      <a:pt x="41515" y="88899"/>
                    </a:cubicBezTo>
                    <a:cubicBezTo>
                      <a:pt x="65930" y="90526"/>
                      <a:pt x="87271" y="71898"/>
                      <a:pt x="88899" y="474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4" name="Google Shape;694;p21"/>
              <p:cNvSpPr/>
              <p:nvPr/>
            </p:nvSpPr>
            <p:spPr>
              <a:xfrm>
                <a:off x="10178866" y="6103673"/>
                <a:ext cx="107130" cy="107130"/>
              </a:xfrm>
              <a:custGeom>
                <a:avLst/>
                <a:gdLst/>
                <a:ahLst/>
                <a:cxnLst/>
                <a:rect l="l" t="t" r="r" b="b"/>
                <a:pathLst>
                  <a:path w="107130" h="107130" extrusionOk="0">
                    <a:moveTo>
                      <a:pt x="107008" y="57092"/>
                    </a:moveTo>
                    <a:cubicBezTo>
                      <a:pt x="108997" y="27613"/>
                      <a:pt x="86571" y="2112"/>
                      <a:pt x="57092" y="123"/>
                    </a:cubicBezTo>
                    <a:cubicBezTo>
                      <a:pt x="27612" y="-1866"/>
                      <a:pt x="2112" y="20559"/>
                      <a:pt x="123" y="50039"/>
                    </a:cubicBezTo>
                    <a:cubicBezTo>
                      <a:pt x="-1867" y="79518"/>
                      <a:pt x="20559" y="105019"/>
                      <a:pt x="50039" y="107008"/>
                    </a:cubicBezTo>
                    <a:cubicBezTo>
                      <a:pt x="79699" y="108997"/>
                      <a:pt x="105199" y="86571"/>
                      <a:pt x="107008" y="570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5" name="Google Shape;695;p21"/>
              <p:cNvSpPr/>
              <p:nvPr/>
            </p:nvSpPr>
            <p:spPr>
              <a:xfrm>
                <a:off x="10458007" y="5321018"/>
                <a:ext cx="44569" cy="44591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91" extrusionOk="0">
                    <a:moveTo>
                      <a:pt x="44530" y="23732"/>
                    </a:moveTo>
                    <a:cubicBezTo>
                      <a:pt x="45253" y="11434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2955" y="45434"/>
                      <a:pt x="43626" y="36211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6" name="Google Shape;696;p21"/>
              <p:cNvSpPr/>
              <p:nvPr/>
            </p:nvSpPr>
            <p:spPr>
              <a:xfrm>
                <a:off x="9521143" y="5403812"/>
                <a:ext cx="69059" cy="69059"/>
              </a:xfrm>
              <a:custGeom>
                <a:avLst/>
                <a:gdLst/>
                <a:ahLst/>
                <a:cxnLst/>
                <a:rect l="l" t="t" r="r" b="b"/>
                <a:pathLst>
                  <a:path w="69059" h="69059" extrusionOk="0">
                    <a:moveTo>
                      <a:pt x="68983" y="36791"/>
                    </a:moveTo>
                    <a:cubicBezTo>
                      <a:pt x="70249" y="17801"/>
                      <a:pt x="55780" y="1343"/>
                      <a:pt x="36791" y="77"/>
                    </a:cubicBezTo>
                    <a:cubicBezTo>
                      <a:pt x="17801" y="-1189"/>
                      <a:pt x="1343" y="13280"/>
                      <a:pt x="77" y="32269"/>
                    </a:cubicBezTo>
                    <a:cubicBezTo>
                      <a:pt x="-1189" y="51259"/>
                      <a:pt x="13280" y="67717"/>
                      <a:pt x="32269" y="68983"/>
                    </a:cubicBezTo>
                    <a:cubicBezTo>
                      <a:pt x="51440" y="70249"/>
                      <a:pt x="67898" y="55780"/>
                      <a:pt x="68983" y="367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7" name="Google Shape;697;p21"/>
              <p:cNvSpPr/>
              <p:nvPr/>
            </p:nvSpPr>
            <p:spPr>
              <a:xfrm>
                <a:off x="10212042" y="6136850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2"/>
                      <a:pt x="32959" y="766"/>
                      <a:pt x="21746" y="43"/>
                    </a:cubicBezTo>
                    <a:cubicBezTo>
                      <a:pt x="10533" y="-681"/>
                      <a:pt x="767" y="7820"/>
                      <a:pt x="43" y="19032"/>
                    </a:cubicBezTo>
                    <a:cubicBezTo>
                      <a:pt x="-680" y="30245"/>
                      <a:pt x="7820" y="40012"/>
                      <a:pt x="19033" y="40735"/>
                    </a:cubicBezTo>
                    <a:cubicBezTo>
                      <a:pt x="30427" y="41458"/>
                      <a:pt x="40012" y="32958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8" name="Google Shape;698;p21"/>
              <p:cNvSpPr/>
              <p:nvPr/>
            </p:nvSpPr>
            <p:spPr>
              <a:xfrm>
                <a:off x="10717815" y="5932769"/>
                <a:ext cx="109837" cy="109837"/>
              </a:xfrm>
              <a:custGeom>
                <a:avLst/>
                <a:gdLst/>
                <a:ahLst/>
                <a:cxnLst/>
                <a:rect l="l" t="t" r="r" b="b"/>
                <a:pathLst>
                  <a:path w="109837" h="109837" extrusionOk="0">
                    <a:moveTo>
                      <a:pt x="109718" y="58536"/>
                    </a:moveTo>
                    <a:cubicBezTo>
                      <a:pt x="111707" y="28333"/>
                      <a:pt x="88739" y="2109"/>
                      <a:pt x="58536" y="120"/>
                    </a:cubicBezTo>
                    <a:cubicBezTo>
                      <a:pt x="28333" y="-1870"/>
                      <a:pt x="2109" y="21099"/>
                      <a:pt x="120" y="51302"/>
                    </a:cubicBezTo>
                    <a:cubicBezTo>
                      <a:pt x="-1869" y="81505"/>
                      <a:pt x="21099" y="107728"/>
                      <a:pt x="51302" y="109718"/>
                    </a:cubicBezTo>
                    <a:cubicBezTo>
                      <a:pt x="81686" y="111707"/>
                      <a:pt x="107729" y="88739"/>
                      <a:pt x="109718" y="5853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699" name="Google Shape;699;p21"/>
              <p:cNvSpPr/>
              <p:nvPr/>
            </p:nvSpPr>
            <p:spPr>
              <a:xfrm>
                <a:off x="10313030" y="6273647"/>
                <a:ext cx="140647" cy="140648"/>
              </a:xfrm>
              <a:custGeom>
                <a:avLst/>
                <a:gdLst/>
                <a:ahLst/>
                <a:cxnLst/>
                <a:rect l="l" t="t" r="r" b="b"/>
                <a:pathLst>
                  <a:path w="140647" h="140648" extrusionOk="0">
                    <a:moveTo>
                      <a:pt x="140495" y="74845"/>
                    </a:moveTo>
                    <a:cubicBezTo>
                      <a:pt x="143027" y="36143"/>
                      <a:pt x="113729" y="2685"/>
                      <a:pt x="74845" y="152"/>
                    </a:cubicBezTo>
                    <a:cubicBezTo>
                      <a:pt x="36142" y="-2379"/>
                      <a:pt x="2684" y="26919"/>
                      <a:pt x="152" y="65803"/>
                    </a:cubicBezTo>
                    <a:cubicBezTo>
                      <a:pt x="-2379" y="104506"/>
                      <a:pt x="26919" y="137964"/>
                      <a:pt x="65802" y="140496"/>
                    </a:cubicBezTo>
                    <a:cubicBezTo>
                      <a:pt x="104686" y="143028"/>
                      <a:pt x="137964" y="113729"/>
                      <a:pt x="140495" y="748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0" name="Google Shape;700;p21"/>
              <p:cNvSpPr/>
              <p:nvPr/>
            </p:nvSpPr>
            <p:spPr>
              <a:xfrm>
                <a:off x="10178325" y="6102952"/>
                <a:ext cx="108573" cy="108574"/>
              </a:xfrm>
              <a:custGeom>
                <a:avLst/>
                <a:gdLst/>
                <a:ahLst/>
                <a:cxnLst/>
                <a:rect l="l" t="t" r="r" b="b"/>
                <a:pathLst>
                  <a:path w="108573" h="108574" extrusionOk="0">
                    <a:moveTo>
                      <a:pt x="108453" y="57813"/>
                    </a:moveTo>
                    <a:cubicBezTo>
                      <a:pt x="110442" y="27972"/>
                      <a:pt x="87655" y="2110"/>
                      <a:pt x="57814" y="121"/>
                    </a:cubicBezTo>
                    <a:cubicBezTo>
                      <a:pt x="27973" y="-1869"/>
                      <a:pt x="2110" y="20919"/>
                      <a:pt x="121" y="50760"/>
                    </a:cubicBezTo>
                    <a:cubicBezTo>
                      <a:pt x="-1868" y="80601"/>
                      <a:pt x="20919" y="106463"/>
                      <a:pt x="50760" y="108453"/>
                    </a:cubicBezTo>
                    <a:cubicBezTo>
                      <a:pt x="80601" y="110442"/>
                      <a:pt x="106464" y="87835"/>
                      <a:pt x="108453" y="57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1" name="Google Shape;701;p21"/>
              <p:cNvSpPr/>
              <p:nvPr/>
            </p:nvSpPr>
            <p:spPr>
              <a:xfrm>
                <a:off x="10729408" y="5944363"/>
                <a:ext cx="86831" cy="86811"/>
              </a:xfrm>
              <a:custGeom>
                <a:avLst/>
                <a:gdLst/>
                <a:ahLst/>
                <a:cxnLst/>
                <a:rect l="l" t="t" r="r" b="b"/>
                <a:pathLst>
                  <a:path w="86831" h="86811" extrusionOk="0">
                    <a:moveTo>
                      <a:pt x="86730" y="46219"/>
                    </a:moveTo>
                    <a:cubicBezTo>
                      <a:pt x="88358" y="22346"/>
                      <a:pt x="70092" y="1728"/>
                      <a:pt x="46219" y="101"/>
                    </a:cubicBezTo>
                    <a:cubicBezTo>
                      <a:pt x="22346" y="-1527"/>
                      <a:pt x="1729" y="16740"/>
                      <a:pt x="101" y="40612"/>
                    </a:cubicBezTo>
                    <a:cubicBezTo>
                      <a:pt x="-1527" y="64485"/>
                      <a:pt x="16739" y="85103"/>
                      <a:pt x="40612" y="86730"/>
                    </a:cubicBezTo>
                    <a:cubicBezTo>
                      <a:pt x="64485" y="88177"/>
                      <a:pt x="85103" y="70091"/>
                      <a:pt x="86730" y="462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2" name="Google Shape;702;p21"/>
              <p:cNvSpPr/>
              <p:nvPr/>
            </p:nvSpPr>
            <p:spPr>
              <a:xfrm>
                <a:off x="10455640" y="5318833"/>
                <a:ext cx="48941" cy="48942"/>
              </a:xfrm>
              <a:custGeom>
                <a:avLst/>
                <a:gdLst/>
                <a:ahLst/>
                <a:cxnLst/>
                <a:rect l="l" t="t" r="r" b="b"/>
                <a:pathLst>
                  <a:path w="48941" h="48942" extrusionOk="0">
                    <a:moveTo>
                      <a:pt x="48886" y="26098"/>
                    </a:moveTo>
                    <a:cubicBezTo>
                      <a:pt x="49790" y="12715"/>
                      <a:pt x="39482" y="960"/>
                      <a:pt x="26098" y="55"/>
                    </a:cubicBezTo>
                    <a:cubicBezTo>
                      <a:pt x="12715" y="-849"/>
                      <a:pt x="960" y="9460"/>
                      <a:pt x="55" y="22843"/>
                    </a:cubicBezTo>
                    <a:cubicBezTo>
                      <a:pt x="-849" y="36226"/>
                      <a:pt x="9460" y="47982"/>
                      <a:pt x="22843" y="48886"/>
                    </a:cubicBezTo>
                    <a:cubicBezTo>
                      <a:pt x="36407" y="49790"/>
                      <a:pt x="47982" y="39662"/>
                      <a:pt x="48886" y="260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3" name="Google Shape;703;p21"/>
              <p:cNvSpPr/>
              <p:nvPr/>
            </p:nvSpPr>
            <p:spPr>
              <a:xfrm>
                <a:off x="11829314" y="5656753"/>
                <a:ext cx="140647" cy="140647"/>
              </a:xfrm>
              <a:custGeom>
                <a:avLst/>
                <a:gdLst/>
                <a:ahLst/>
                <a:cxnLst/>
                <a:rect l="l" t="t" r="r" b="b"/>
                <a:pathLst>
                  <a:path w="140647" h="140647" extrusionOk="0">
                    <a:moveTo>
                      <a:pt x="140495" y="74845"/>
                    </a:moveTo>
                    <a:cubicBezTo>
                      <a:pt x="143027" y="36143"/>
                      <a:pt x="113729" y="2684"/>
                      <a:pt x="74845" y="152"/>
                    </a:cubicBezTo>
                    <a:cubicBezTo>
                      <a:pt x="36143" y="-2379"/>
                      <a:pt x="2684" y="26919"/>
                      <a:pt x="152" y="65803"/>
                    </a:cubicBezTo>
                    <a:cubicBezTo>
                      <a:pt x="-2379" y="104506"/>
                      <a:pt x="26919" y="137963"/>
                      <a:pt x="65803" y="140495"/>
                    </a:cubicBezTo>
                    <a:cubicBezTo>
                      <a:pt x="104506" y="143027"/>
                      <a:pt x="137964" y="113729"/>
                      <a:pt x="140495" y="748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4" name="Google Shape;704;p21"/>
              <p:cNvSpPr/>
              <p:nvPr/>
            </p:nvSpPr>
            <p:spPr>
              <a:xfrm>
                <a:off x="10940909" y="5500447"/>
                <a:ext cx="23368" cy="23368"/>
              </a:xfrm>
              <a:custGeom>
                <a:avLst/>
                <a:gdLst/>
                <a:ahLst/>
                <a:cxnLst/>
                <a:rect l="l" t="t" r="r" b="b"/>
                <a:pathLst>
                  <a:path w="23368" h="23368" extrusionOk="0">
                    <a:moveTo>
                      <a:pt x="23349" y="12498"/>
                    </a:moveTo>
                    <a:cubicBezTo>
                      <a:pt x="23711" y="5987"/>
                      <a:pt x="18828" y="380"/>
                      <a:pt x="12498" y="19"/>
                    </a:cubicBezTo>
                    <a:cubicBezTo>
                      <a:pt x="5987" y="-343"/>
                      <a:pt x="381" y="4540"/>
                      <a:pt x="19" y="10870"/>
                    </a:cubicBezTo>
                    <a:cubicBezTo>
                      <a:pt x="-343" y="17381"/>
                      <a:pt x="4540" y="22987"/>
                      <a:pt x="10870" y="23349"/>
                    </a:cubicBezTo>
                    <a:cubicBezTo>
                      <a:pt x="17200" y="23711"/>
                      <a:pt x="22987" y="19008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5" name="Google Shape;705;p21"/>
              <p:cNvSpPr/>
              <p:nvPr/>
            </p:nvSpPr>
            <p:spPr>
              <a:xfrm>
                <a:off x="10761299" y="5976094"/>
                <a:ext cx="23029" cy="23029"/>
              </a:xfrm>
              <a:custGeom>
                <a:avLst/>
                <a:gdLst/>
                <a:ahLst/>
                <a:cxnLst/>
                <a:rect l="l" t="t" r="r" b="b"/>
                <a:pathLst>
                  <a:path w="23029" h="23029" extrusionOk="0">
                    <a:moveTo>
                      <a:pt x="23010" y="12317"/>
                    </a:moveTo>
                    <a:cubicBezTo>
                      <a:pt x="23371" y="5988"/>
                      <a:pt x="18669" y="562"/>
                      <a:pt x="12339" y="20"/>
                    </a:cubicBezTo>
                    <a:cubicBezTo>
                      <a:pt x="6009" y="-342"/>
                      <a:pt x="584" y="4360"/>
                      <a:pt x="41" y="10690"/>
                    </a:cubicBezTo>
                    <a:cubicBezTo>
                      <a:pt x="-501" y="17020"/>
                      <a:pt x="4382" y="22445"/>
                      <a:pt x="10712" y="22988"/>
                    </a:cubicBezTo>
                    <a:cubicBezTo>
                      <a:pt x="17042" y="23531"/>
                      <a:pt x="22648" y="18648"/>
                      <a:pt x="23010" y="1231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6" name="Google Shape;706;p21"/>
              <p:cNvSpPr/>
              <p:nvPr/>
            </p:nvSpPr>
            <p:spPr>
              <a:xfrm>
                <a:off x="11885317" y="5712575"/>
                <a:ext cx="29003" cy="29003"/>
              </a:xfrm>
              <a:custGeom>
                <a:avLst/>
                <a:gdLst/>
                <a:ahLst/>
                <a:cxnLst/>
                <a:rect l="l" t="t" r="r" b="b"/>
                <a:pathLst>
                  <a:path w="29003" h="29003" extrusionOk="0">
                    <a:moveTo>
                      <a:pt x="28970" y="15406"/>
                    </a:moveTo>
                    <a:cubicBezTo>
                      <a:pt x="29513" y="7448"/>
                      <a:pt x="23364" y="576"/>
                      <a:pt x="15406" y="33"/>
                    </a:cubicBezTo>
                    <a:cubicBezTo>
                      <a:pt x="7448" y="-509"/>
                      <a:pt x="576" y="5640"/>
                      <a:pt x="33" y="13597"/>
                    </a:cubicBezTo>
                    <a:cubicBezTo>
                      <a:pt x="-509" y="21555"/>
                      <a:pt x="5640" y="28427"/>
                      <a:pt x="13597" y="28970"/>
                    </a:cubicBezTo>
                    <a:cubicBezTo>
                      <a:pt x="21374" y="29512"/>
                      <a:pt x="28428" y="23363"/>
                      <a:pt x="28970" y="154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7" name="Google Shape;707;p21"/>
              <p:cNvSpPr/>
              <p:nvPr/>
            </p:nvSpPr>
            <p:spPr>
              <a:xfrm>
                <a:off x="11208003" y="5289723"/>
                <a:ext cx="36447" cy="36445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45" extrusionOk="0">
                    <a:moveTo>
                      <a:pt x="36399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271" y="-676"/>
                      <a:pt x="771" y="6920"/>
                      <a:pt x="48" y="17048"/>
                    </a:cubicBezTo>
                    <a:cubicBezTo>
                      <a:pt x="-676" y="27176"/>
                      <a:pt x="6920" y="35676"/>
                      <a:pt x="17048" y="36399"/>
                    </a:cubicBezTo>
                    <a:cubicBezTo>
                      <a:pt x="27176" y="37123"/>
                      <a:pt x="35676" y="29346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8" name="Google Shape;708;p21"/>
              <p:cNvSpPr/>
              <p:nvPr/>
            </p:nvSpPr>
            <p:spPr>
              <a:xfrm>
                <a:off x="10939264" y="5498802"/>
                <a:ext cx="26838" cy="26839"/>
              </a:xfrm>
              <a:custGeom>
                <a:avLst/>
                <a:gdLst/>
                <a:ahLst/>
                <a:cxnLst/>
                <a:rect l="l" t="t" r="r" b="b"/>
                <a:pathLst>
                  <a:path w="26838" h="26839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345"/>
                      <a:pt x="26260" y="21739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09" name="Google Shape;709;p21"/>
              <p:cNvSpPr/>
              <p:nvPr/>
            </p:nvSpPr>
            <p:spPr>
              <a:xfrm>
                <a:off x="11830758" y="5658197"/>
                <a:ext cx="137759" cy="137759"/>
              </a:xfrm>
              <a:custGeom>
                <a:avLst/>
                <a:gdLst/>
                <a:ahLst/>
                <a:cxnLst/>
                <a:rect l="l" t="t" r="r" b="b"/>
                <a:pathLst>
                  <a:path w="137759" h="137759" extrusionOk="0">
                    <a:moveTo>
                      <a:pt x="137604" y="73401"/>
                    </a:moveTo>
                    <a:cubicBezTo>
                      <a:pt x="140136" y="35422"/>
                      <a:pt x="111381" y="2687"/>
                      <a:pt x="73401" y="155"/>
                    </a:cubicBezTo>
                    <a:cubicBezTo>
                      <a:pt x="35422" y="-2377"/>
                      <a:pt x="2687" y="26379"/>
                      <a:pt x="155" y="64359"/>
                    </a:cubicBezTo>
                    <a:cubicBezTo>
                      <a:pt x="-2377" y="102338"/>
                      <a:pt x="26379" y="135072"/>
                      <a:pt x="64359" y="137604"/>
                    </a:cubicBezTo>
                    <a:cubicBezTo>
                      <a:pt x="102338" y="140136"/>
                      <a:pt x="135254" y="111381"/>
                      <a:pt x="137604" y="734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0" name="Google Shape;710;p21"/>
              <p:cNvSpPr/>
              <p:nvPr/>
            </p:nvSpPr>
            <p:spPr>
              <a:xfrm>
                <a:off x="11784676" y="5096318"/>
                <a:ext cx="110921" cy="110942"/>
              </a:xfrm>
              <a:custGeom>
                <a:avLst/>
                <a:gdLst/>
                <a:ahLst/>
                <a:cxnLst/>
                <a:rect l="l" t="t" r="r" b="b"/>
                <a:pathLst>
                  <a:path w="110921" h="110942" extrusionOk="0">
                    <a:moveTo>
                      <a:pt x="110802" y="59078"/>
                    </a:moveTo>
                    <a:cubicBezTo>
                      <a:pt x="112791" y="28513"/>
                      <a:pt x="89642" y="2109"/>
                      <a:pt x="59078" y="119"/>
                    </a:cubicBezTo>
                    <a:cubicBezTo>
                      <a:pt x="28513" y="-1870"/>
                      <a:pt x="2109" y="21279"/>
                      <a:pt x="119" y="51844"/>
                    </a:cubicBezTo>
                    <a:cubicBezTo>
                      <a:pt x="-1870" y="82408"/>
                      <a:pt x="21279" y="108813"/>
                      <a:pt x="51844" y="110802"/>
                    </a:cubicBezTo>
                    <a:cubicBezTo>
                      <a:pt x="82408" y="112972"/>
                      <a:pt x="108813" y="89642"/>
                      <a:pt x="110802" y="5907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1" name="Google Shape;711;p21"/>
              <p:cNvSpPr/>
              <p:nvPr/>
            </p:nvSpPr>
            <p:spPr>
              <a:xfrm>
                <a:off x="11200763" y="5282483"/>
                <a:ext cx="50927" cy="50927"/>
              </a:xfrm>
              <a:custGeom>
                <a:avLst/>
                <a:gdLst/>
                <a:ahLst/>
                <a:cxnLst/>
                <a:rect l="l" t="t" r="r" b="b"/>
                <a:pathLst>
                  <a:path w="50927" h="50927" extrusionOk="0">
                    <a:moveTo>
                      <a:pt x="50874" y="27182"/>
                    </a:moveTo>
                    <a:cubicBezTo>
                      <a:pt x="51778" y="13075"/>
                      <a:pt x="41107" y="958"/>
                      <a:pt x="27182" y="53"/>
                    </a:cubicBezTo>
                    <a:cubicBezTo>
                      <a:pt x="13075" y="-851"/>
                      <a:pt x="958" y="9820"/>
                      <a:pt x="53" y="23745"/>
                    </a:cubicBezTo>
                    <a:cubicBezTo>
                      <a:pt x="-851" y="37852"/>
                      <a:pt x="9820" y="49969"/>
                      <a:pt x="23745" y="50874"/>
                    </a:cubicBezTo>
                    <a:cubicBezTo>
                      <a:pt x="37852" y="51778"/>
                      <a:pt x="49969" y="41107"/>
                      <a:pt x="50874" y="271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2" name="Google Shape;712;p21"/>
              <p:cNvSpPr/>
              <p:nvPr/>
            </p:nvSpPr>
            <p:spPr>
              <a:xfrm>
                <a:off x="12698414" y="4373142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4"/>
                      <a:pt x="37676" y="962"/>
                      <a:pt x="24835" y="58"/>
                    </a:cubicBezTo>
                    <a:cubicBezTo>
                      <a:pt x="11995" y="-846"/>
                      <a:pt x="962" y="8920"/>
                      <a:pt x="58" y="21761"/>
                    </a:cubicBezTo>
                    <a:cubicBezTo>
                      <a:pt x="-846" y="34601"/>
                      <a:pt x="8920" y="45633"/>
                      <a:pt x="21760" y="46538"/>
                    </a:cubicBezTo>
                    <a:cubicBezTo>
                      <a:pt x="34601" y="47442"/>
                      <a:pt x="45814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3" name="Google Shape;713;p21"/>
              <p:cNvSpPr/>
              <p:nvPr/>
            </p:nvSpPr>
            <p:spPr>
              <a:xfrm>
                <a:off x="12286237" y="3894954"/>
                <a:ext cx="57466" cy="57465"/>
              </a:xfrm>
              <a:custGeom>
                <a:avLst/>
                <a:gdLst/>
                <a:ahLst/>
                <a:cxnLst/>
                <a:rect l="l" t="t" r="r" b="b"/>
                <a:pathLst>
                  <a:path w="57466" h="57465" extrusionOk="0">
                    <a:moveTo>
                      <a:pt x="57399" y="30632"/>
                    </a:moveTo>
                    <a:cubicBezTo>
                      <a:pt x="58484" y="14717"/>
                      <a:pt x="46366" y="1153"/>
                      <a:pt x="30632" y="68"/>
                    </a:cubicBezTo>
                    <a:cubicBezTo>
                      <a:pt x="14717" y="-1018"/>
                      <a:pt x="1153" y="11100"/>
                      <a:pt x="68" y="26834"/>
                    </a:cubicBezTo>
                    <a:cubicBezTo>
                      <a:pt x="-1018" y="42749"/>
                      <a:pt x="11100" y="56313"/>
                      <a:pt x="26834" y="57398"/>
                    </a:cubicBezTo>
                    <a:cubicBezTo>
                      <a:pt x="42750" y="58483"/>
                      <a:pt x="56314" y="46366"/>
                      <a:pt x="57399" y="306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4" name="Google Shape;714;p21"/>
              <p:cNvSpPr/>
              <p:nvPr/>
            </p:nvSpPr>
            <p:spPr>
              <a:xfrm>
                <a:off x="12719404" y="5673315"/>
                <a:ext cx="35723" cy="35704"/>
              </a:xfrm>
              <a:custGeom>
                <a:avLst/>
                <a:gdLst/>
                <a:ahLst/>
                <a:cxnLst/>
                <a:rect l="l" t="t" r="r" b="b"/>
                <a:pathLst>
                  <a:path w="35723" h="35704" extrusionOk="0">
                    <a:moveTo>
                      <a:pt x="35676" y="19037"/>
                    </a:moveTo>
                    <a:cubicBezTo>
                      <a:pt x="36399" y="9271"/>
                      <a:pt x="28804" y="771"/>
                      <a:pt x="19037" y="48"/>
                    </a:cubicBezTo>
                    <a:cubicBezTo>
                      <a:pt x="9271" y="-676"/>
                      <a:pt x="771" y="6920"/>
                      <a:pt x="48" y="16686"/>
                    </a:cubicBezTo>
                    <a:cubicBezTo>
                      <a:pt x="-676" y="26452"/>
                      <a:pt x="6920" y="34952"/>
                      <a:pt x="16686" y="35676"/>
                    </a:cubicBezTo>
                    <a:cubicBezTo>
                      <a:pt x="26633" y="36219"/>
                      <a:pt x="35134" y="28804"/>
                      <a:pt x="35676" y="190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5" name="Google Shape;715;p21"/>
              <p:cNvSpPr/>
              <p:nvPr/>
            </p:nvSpPr>
            <p:spPr>
              <a:xfrm>
                <a:off x="12514905" y="5661607"/>
                <a:ext cx="50639" cy="50639"/>
              </a:xfrm>
              <a:custGeom>
                <a:avLst/>
                <a:gdLst/>
                <a:ahLst/>
                <a:cxnLst/>
                <a:rect l="l" t="t" r="r" b="b"/>
                <a:pathLst>
                  <a:path w="50639" h="50639" extrusionOk="0">
                    <a:moveTo>
                      <a:pt x="50639" y="25320"/>
                    </a:moveTo>
                    <a:cubicBezTo>
                      <a:pt x="50639" y="39303"/>
                      <a:pt x="39303" y="50639"/>
                      <a:pt x="25320" y="50639"/>
                    </a:cubicBezTo>
                    <a:cubicBezTo>
                      <a:pt x="11336" y="50639"/>
                      <a:pt x="0" y="39303"/>
                      <a:pt x="0" y="25320"/>
                    </a:cubicBezTo>
                    <a:cubicBezTo>
                      <a:pt x="0" y="11336"/>
                      <a:pt x="11336" y="0"/>
                      <a:pt x="25320" y="0"/>
                    </a:cubicBezTo>
                    <a:cubicBezTo>
                      <a:pt x="39303" y="0"/>
                      <a:pt x="50639" y="11336"/>
                      <a:pt x="50639" y="2532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6" name="Google Shape;716;p21"/>
              <p:cNvSpPr/>
              <p:nvPr/>
            </p:nvSpPr>
            <p:spPr>
              <a:xfrm>
                <a:off x="12433257" y="5142111"/>
                <a:ext cx="84986" cy="85007"/>
              </a:xfrm>
              <a:custGeom>
                <a:avLst/>
                <a:gdLst/>
                <a:ahLst/>
                <a:cxnLst/>
                <a:rect l="l" t="t" r="r" b="b"/>
                <a:pathLst>
                  <a:path w="84986" h="85007" extrusionOk="0">
                    <a:moveTo>
                      <a:pt x="84903" y="45296"/>
                    </a:moveTo>
                    <a:cubicBezTo>
                      <a:pt x="86350" y="21966"/>
                      <a:pt x="68627" y="1711"/>
                      <a:pt x="45296" y="83"/>
                    </a:cubicBezTo>
                    <a:cubicBezTo>
                      <a:pt x="21966" y="-1364"/>
                      <a:pt x="1710" y="16360"/>
                      <a:pt x="83" y="39690"/>
                    </a:cubicBezTo>
                    <a:cubicBezTo>
                      <a:pt x="-1364" y="63020"/>
                      <a:pt x="16359" y="83276"/>
                      <a:pt x="39690" y="84903"/>
                    </a:cubicBezTo>
                    <a:cubicBezTo>
                      <a:pt x="63201" y="86531"/>
                      <a:pt x="83456" y="68807"/>
                      <a:pt x="84903" y="45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7" name="Google Shape;717;p21"/>
              <p:cNvSpPr/>
              <p:nvPr/>
            </p:nvSpPr>
            <p:spPr>
              <a:xfrm>
                <a:off x="12717599" y="5671510"/>
                <a:ext cx="39513" cy="39514"/>
              </a:xfrm>
              <a:custGeom>
                <a:avLst/>
                <a:gdLst/>
                <a:ahLst/>
                <a:cxnLst/>
                <a:rect l="l" t="t" r="r" b="b"/>
                <a:pathLst>
                  <a:path w="39513" h="39514" extrusionOk="0">
                    <a:moveTo>
                      <a:pt x="39470" y="21023"/>
                    </a:moveTo>
                    <a:cubicBezTo>
                      <a:pt x="40194" y="10172"/>
                      <a:pt x="31874" y="767"/>
                      <a:pt x="21023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342"/>
                      <a:pt x="7639" y="38747"/>
                      <a:pt x="18491" y="39470"/>
                    </a:cubicBezTo>
                    <a:cubicBezTo>
                      <a:pt x="29342" y="40194"/>
                      <a:pt x="38746" y="31874"/>
                      <a:pt x="39470" y="210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8" name="Google Shape;718;p21"/>
              <p:cNvSpPr/>
              <p:nvPr/>
            </p:nvSpPr>
            <p:spPr>
              <a:xfrm>
                <a:off x="12529878" y="5685262"/>
                <a:ext cx="25213" cy="25214"/>
              </a:xfrm>
              <a:custGeom>
                <a:avLst/>
                <a:gdLst/>
                <a:ahLst/>
                <a:cxnLst/>
                <a:rect l="l" t="t" r="r" b="b"/>
                <a:pathLst>
                  <a:path w="25213" h="25214" extrusionOk="0">
                    <a:moveTo>
                      <a:pt x="25176" y="13421"/>
                    </a:moveTo>
                    <a:cubicBezTo>
                      <a:pt x="25719" y="6548"/>
                      <a:pt x="20293" y="399"/>
                      <a:pt x="13420" y="37"/>
                    </a:cubicBezTo>
                    <a:cubicBezTo>
                      <a:pt x="6548" y="-505"/>
                      <a:pt x="399" y="4921"/>
                      <a:pt x="37" y="11793"/>
                    </a:cubicBezTo>
                    <a:cubicBezTo>
                      <a:pt x="-505" y="18666"/>
                      <a:pt x="4920" y="24815"/>
                      <a:pt x="11793" y="25176"/>
                    </a:cubicBezTo>
                    <a:cubicBezTo>
                      <a:pt x="18665" y="25719"/>
                      <a:pt x="24634" y="20474"/>
                      <a:pt x="25176" y="134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19" name="Google Shape;719;p21"/>
              <p:cNvSpPr/>
              <p:nvPr/>
            </p:nvSpPr>
            <p:spPr>
              <a:xfrm>
                <a:off x="12530618" y="5677320"/>
                <a:ext cx="19395" cy="19395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395" extrusionOk="0">
                    <a:moveTo>
                      <a:pt x="19374" y="10330"/>
                    </a:moveTo>
                    <a:cubicBezTo>
                      <a:pt x="19735" y="4905"/>
                      <a:pt x="15575" y="383"/>
                      <a:pt x="10331" y="22"/>
                    </a:cubicBezTo>
                    <a:cubicBezTo>
                      <a:pt x="4905" y="-340"/>
                      <a:pt x="383" y="3820"/>
                      <a:pt x="22" y="9065"/>
                    </a:cubicBezTo>
                    <a:cubicBezTo>
                      <a:pt x="-340" y="14309"/>
                      <a:pt x="3820" y="19011"/>
                      <a:pt x="9065" y="19373"/>
                    </a:cubicBezTo>
                    <a:cubicBezTo>
                      <a:pt x="14310" y="19735"/>
                      <a:pt x="19011" y="15575"/>
                      <a:pt x="19374" y="103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0" name="Google Shape;720;p21"/>
              <p:cNvSpPr/>
              <p:nvPr/>
            </p:nvSpPr>
            <p:spPr>
              <a:xfrm>
                <a:off x="11878731" y="6854053"/>
                <a:ext cx="100049" cy="100048"/>
              </a:xfrm>
              <a:custGeom>
                <a:avLst/>
                <a:gdLst/>
                <a:ahLst/>
                <a:cxnLst/>
                <a:rect l="l" t="t" r="r" b="b"/>
                <a:pathLst>
                  <a:path w="100049" h="100048" extrusionOk="0">
                    <a:moveTo>
                      <a:pt x="99940" y="53279"/>
                    </a:moveTo>
                    <a:cubicBezTo>
                      <a:pt x="101749" y="25609"/>
                      <a:pt x="80770" y="1917"/>
                      <a:pt x="53280" y="109"/>
                    </a:cubicBezTo>
                    <a:cubicBezTo>
                      <a:pt x="25609" y="-1700"/>
                      <a:pt x="1917" y="19279"/>
                      <a:pt x="109" y="46769"/>
                    </a:cubicBezTo>
                    <a:cubicBezTo>
                      <a:pt x="-1700" y="74440"/>
                      <a:pt x="19279" y="98131"/>
                      <a:pt x="46769" y="99940"/>
                    </a:cubicBezTo>
                    <a:cubicBezTo>
                      <a:pt x="74259" y="101749"/>
                      <a:pt x="98132" y="80770"/>
                      <a:pt x="99940" y="53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1" name="Google Shape;721;p21"/>
              <p:cNvSpPr/>
              <p:nvPr/>
            </p:nvSpPr>
            <p:spPr>
              <a:xfrm>
                <a:off x="10699321" y="5914275"/>
                <a:ext cx="147006" cy="146986"/>
              </a:xfrm>
              <a:custGeom>
                <a:avLst/>
                <a:gdLst/>
                <a:ahLst/>
                <a:cxnLst/>
                <a:rect l="l" t="t" r="r" b="b"/>
                <a:pathLst>
                  <a:path w="147006" h="146986" extrusionOk="0">
                    <a:moveTo>
                      <a:pt x="146840" y="78296"/>
                    </a:moveTo>
                    <a:cubicBezTo>
                      <a:pt x="149552" y="37785"/>
                      <a:pt x="118807" y="2879"/>
                      <a:pt x="78296" y="167"/>
                    </a:cubicBezTo>
                    <a:cubicBezTo>
                      <a:pt x="37784" y="-2546"/>
                      <a:pt x="2879" y="28199"/>
                      <a:pt x="167" y="68711"/>
                    </a:cubicBezTo>
                    <a:cubicBezTo>
                      <a:pt x="-2546" y="109222"/>
                      <a:pt x="28199" y="144127"/>
                      <a:pt x="68710" y="146840"/>
                    </a:cubicBezTo>
                    <a:cubicBezTo>
                      <a:pt x="109222" y="149371"/>
                      <a:pt x="144127" y="118807"/>
                      <a:pt x="146840" y="78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2" name="Google Shape;722;p21"/>
              <p:cNvSpPr/>
              <p:nvPr/>
            </p:nvSpPr>
            <p:spPr>
              <a:xfrm>
                <a:off x="10363055" y="6323672"/>
                <a:ext cx="40597" cy="40597"/>
              </a:xfrm>
              <a:custGeom>
                <a:avLst/>
                <a:gdLst/>
                <a:ahLst/>
                <a:cxnLst/>
                <a:rect l="l" t="t" r="r" b="b"/>
                <a:pathLst>
                  <a:path w="40597" h="40597" extrusionOk="0">
                    <a:moveTo>
                      <a:pt x="40554" y="21565"/>
                    </a:moveTo>
                    <a:cubicBezTo>
                      <a:pt x="41278" y="10352"/>
                      <a:pt x="32778" y="767"/>
                      <a:pt x="21565" y="43"/>
                    </a:cubicBezTo>
                    <a:cubicBezTo>
                      <a:pt x="10352" y="-681"/>
                      <a:pt x="766" y="7820"/>
                      <a:pt x="43" y="19033"/>
                    </a:cubicBezTo>
                    <a:cubicBezTo>
                      <a:pt x="-680" y="30246"/>
                      <a:pt x="7820" y="39831"/>
                      <a:pt x="19033" y="40554"/>
                    </a:cubicBezTo>
                    <a:cubicBezTo>
                      <a:pt x="30246" y="41278"/>
                      <a:pt x="39831" y="32778"/>
                      <a:pt x="40554" y="21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3" name="Google Shape;723;p21"/>
              <p:cNvSpPr/>
              <p:nvPr/>
            </p:nvSpPr>
            <p:spPr>
              <a:xfrm>
                <a:off x="11924403" y="6899724"/>
                <a:ext cx="8525" cy="8525"/>
              </a:xfrm>
              <a:custGeom>
                <a:avLst/>
                <a:gdLst/>
                <a:ahLst/>
                <a:cxnLst/>
                <a:rect l="l" t="t" r="r" b="b"/>
                <a:pathLst>
                  <a:path w="8525" h="8525" extrusionOk="0">
                    <a:moveTo>
                      <a:pt x="8513" y="4534"/>
                    </a:moveTo>
                    <a:cubicBezTo>
                      <a:pt x="8693" y="2183"/>
                      <a:pt x="6885" y="194"/>
                      <a:pt x="4534" y="12"/>
                    </a:cubicBezTo>
                    <a:cubicBezTo>
                      <a:pt x="2183" y="-169"/>
                      <a:pt x="193" y="1640"/>
                      <a:pt x="12" y="3991"/>
                    </a:cubicBezTo>
                    <a:cubicBezTo>
                      <a:pt x="-168" y="6343"/>
                      <a:pt x="1640" y="8332"/>
                      <a:pt x="3991" y="8513"/>
                    </a:cubicBezTo>
                    <a:cubicBezTo>
                      <a:pt x="6342" y="8694"/>
                      <a:pt x="8332" y="6885"/>
                      <a:pt x="8513" y="45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4" name="Google Shape;724;p21"/>
              <p:cNvSpPr/>
              <p:nvPr/>
            </p:nvSpPr>
            <p:spPr>
              <a:xfrm>
                <a:off x="11868649" y="5695906"/>
                <a:ext cx="62159" cy="62181"/>
              </a:xfrm>
              <a:custGeom>
                <a:avLst/>
                <a:gdLst/>
                <a:ahLst/>
                <a:cxnLst/>
                <a:rect l="l" t="t" r="r" b="b"/>
                <a:pathLst>
                  <a:path w="62159" h="62181" extrusionOk="0">
                    <a:moveTo>
                      <a:pt x="62096" y="33160"/>
                    </a:moveTo>
                    <a:cubicBezTo>
                      <a:pt x="63182" y="15978"/>
                      <a:pt x="50160" y="1329"/>
                      <a:pt x="33160" y="63"/>
                    </a:cubicBezTo>
                    <a:cubicBezTo>
                      <a:pt x="15978" y="-1022"/>
                      <a:pt x="1329" y="11999"/>
                      <a:pt x="63" y="29000"/>
                    </a:cubicBezTo>
                    <a:cubicBezTo>
                      <a:pt x="-1022" y="46181"/>
                      <a:pt x="12000" y="60830"/>
                      <a:pt x="29000" y="62096"/>
                    </a:cubicBezTo>
                    <a:cubicBezTo>
                      <a:pt x="46181" y="63362"/>
                      <a:pt x="61011" y="50341"/>
                      <a:pt x="62096" y="331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5" name="Google Shape;725;p21"/>
              <p:cNvSpPr/>
              <p:nvPr/>
            </p:nvSpPr>
            <p:spPr>
              <a:xfrm>
                <a:off x="10768381" y="5983335"/>
                <a:ext cx="8886" cy="8874"/>
              </a:xfrm>
              <a:custGeom>
                <a:avLst/>
                <a:gdLst/>
                <a:ahLst/>
                <a:cxnLst/>
                <a:rect l="l" t="t" r="r" b="b"/>
                <a:pathLst>
                  <a:path w="8886" h="8874" extrusionOk="0">
                    <a:moveTo>
                      <a:pt x="8874" y="4715"/>
                    </a:moveTo>
                    <a:cubicBezTo>
                      <a:pt x="9055" y="2364"/>
                      <a:pt x="7247" y="193"/>
                      <a:pt x="4715" y="12"/>
                    </a:cubicBezTo>
                    <a:cubicBezTo>
                      <a:pt x="2363" y="-168"/>
                      <a:pt x="193" y="1640"/>
                      <a:pt x="12" y="4172"/>
                    </a:cubicBezTo>
                    <a:cubicBezTo>
                      <a:pt x="-169" y="6523"/>
                      <a:pt x="1640" y="8694"/>
                      <a:pt x="4172" y="8875"/>
                    </a:cubicBezTo>
                    <a:cubicBezTo>
                      <a:pt x="6523" y="8875"/>
                      <a:pt x="8693" y="7066"/>
                      <a:pt x="8874" y="47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6" name="Google Shape;726;p21"/>
              <p:cNvSpPr/>
              <p:nvPr/>
            </p:nvSpPr>
            <p:spPr>
              <a:xfrm>
                <a:off x="11920772" y="6896093"/>
                <a:ext cx="15967" cy="15967"/>
              </a:xfrm>
              <a:custGeom>
                <a:avLst/>
                <a:gdLst/>
                <a:ahLst/>
                <a:cxnLst/>
                <a:rect l="l" t="t" r="r" b="b"/>
                <a:pathLst>
                  <a:path w="15967" h="15967" extrusionOk="0">
                    <a:moveTo>
                      <a:pt x="15941" y="8526"/>
                    </a:moveTo>
                    <a:cubicBezTo>
                      <a:pt x="16303" y="4186"/>
                      <a:pt x="12867" y="207"/>
                      <a:pt x="8526" y="26"/>
                    </a:cubicBezTo>
                    <a:cubicBezTo>
                      <a:pt x="4186" y="-335"/>
                      <a:pt x="207" y="3101"/>
                      <a:pt x="26" y="7441"/>
                    </a:cubicBezTo>
                    <a:cubicBezTo>
                      <a:pt x="-336" y="11782"/>
                      <a:pt x="3101" y="15760"/>
                      <a:pt x="7441" y="15941"/>
                    </a:cubicBezTo>
                    <a:cubicBezTo>
                      <a:pt x="11962" y="16303"/>
                      <a:pt x="15760" y="12867"/>
                      <a:pt x="15941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7" name="Google Shape;727;p21"/>
              <p:cNvSpPr/>
              <p:nvPr/>
            </p:nvSpPr>
            <p:spPr>
              <a:xfrm>
                <a:off x="12281186" y="6714487"/>
                <a:ext cx="48941" cy="48940"/>
              </a:xfrm>
              <a:custGeom>
                <a:avLst/>
                <a:gdLst/>
                <a:ahLst/>
                <a:cxnLst/>
                <a:rect l="l" t="t" r="r" b="b"/>
                <a:pathLst>
                  <a:path w="48941" h="48940" extrusionOk="0">
                    <a:moveTo>
                      <a:pt x="48886" y="26098"/>
                    </a:moveTo>
                    <a:cubicBezTo>
                      <a:pt x="49790" y="12534"/>
                      <a:pt x="39481" y="959"/>
                      <a:pt x="26098" y="55"/>
                    </a:cubicBezTo>
                    <a:cubicBezTo>
                      <a:pt x="12534" y="-849"/>
                      <a:pt x="959" y="9460"/>
                      <a:pt x="55" y="22843"/>
                    </a:cubicBezTo>
                    <a:cubicBezTo>
                      <a:pt x="-849" y="36407"/>
                      <a:pt x="9459" y="47982"/>
                      <a:pt x="22843" y="48886"/>
                    </a:cubicBezTo>
                    <a:cubicBezTo>
                      <a:pt x="36407" y="49790"/>
                      <a:pt x="48163" y="39481"/>
                      <a:pt x="48886" y="260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8" name="Google Shape;728;p21"/>
              <p:cNvSpPr/>
              <p:nvPr/>
            </p:nvSpPr>
            <p:spPr>
              <a:xfrm>
                <a:off x="11894202" y="5721640"/>
                <a:ext cx="10872" cy="10872"/>
              </a:xfrm>
              <a:custGeom>
                <a:avLst/>
                <a:gdLst/>
                <a:ahLst/>
                <a:cxnLst/>
                <a:rect l="l" t="t" r="r" b="b"/>
                <a:pathLst>
                  <a:path w="10872" h="10872" extrusionOk="0">
                    <a:moveTo>
                      <a:pt x="10862" y="5798"/>
                    </a:moveTo>
                    <a:cubicBezTo>
                      <a:pt x="11043" y="2723"/>
                      <a:pt x="8872" y="191"/>
                      <a:pt x="5798" y="11"/>
                    </a:cubicBezTo>
                    <a:cubicBezTo>
                      <a:pt x="2723" y="-170"/>
                      <a:pt x="191" y="2000"/>
                      <a:pt x="11" y="5074"/>
                    </a:cubicBezTo>
                    <a:cubicBezTo>
                      <a:pt x="-170" y="8149"/>
                      <a:pt x="2000" y="10681"/>
                      <a:pt x="5074" y="10862"/>
                    </a:cubicBezTo>
                    <a:cubicBezTo>
                      <a:pt x="8149" y="11043"/>
                      <a:pt x="10681" y="8872"/>
                      <a:pt x="10862" y="57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29" name="Google Shape;729;p21"/>
              <p:cNvSpPr/>
              <p:nvPr/>
            </p:nvSpPr>
            <p:spPr>
              <a:xfrm>
                <a:off x="12463524" y="5172197"/>
                <a:ext cx="24813" cy="2483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33" extrusionOk="0">
                    <a:moveTo>
                      <a:pt x="24795" y="13221"/>
                    </a:moveTo>
                    <a:cubicBezTo>
                      <a:pt x="25157" y="6348"/>
                      <a:pt x="20093" y="380"/>
                      <a:pt x="13220" y="18"/>
                    </a:cubicBezTo>
                    <a:cubicBezTo>
                      <a:pt x="6348" y="-344"/>
                      <a:pt x="380" y="4720"/>
                      <a:pt x="18" y="11593"/>
                    </a:cubicBezTo>
                    <a:cubicBezTo>
                      <a:pt x="-344" y="18465"/>
                      <a:pt x="4720" y="24434"/>
                      <a:pt x="11593" y="24795"/>
                    </a:cubicBezTo>
                    <a:cubicBezTo>
                      <a:pt x="18284" y="25338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0" name="Google Shape;730;p21"/>
              <p:cNvSpPr/>
              <p:nvPr/>
            </p:nvSpPr>
            <p:spPr>
              <a:xfrm>
                <a:off x="11830869" y="2825946"/>
                <a:ext cx="39154" cy="39135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35" extrusionOk="0">
                    <a:moveTo>
                      <a:pt x="39109" y="20843"/>
                    </a:moveTo>
                    <a:cubicBezTo>
                      <a:pt x="39833" y="9992"/>
                      <a:pt x="31694" y="587"/>
                      <a:pt x="20843" y="45"/>
                    </a:cubicBezTo>
                    <a:cubicBezTo>
                      <a:pt x="9992" y="-679"/>
                      <a:pt x="587" y="7460"/>
                      <a:pt x="45" y="18311"/>
                    </a:cubicBezTo>
                    <a:cubicBezTo>
                      <a:pt x="-679" y="29162"/>
                      <a:pt x="7460" y="38567"/>
                      <a:pt x="18311" y="39109"/>
                    </a:cubicBezTo>
                    <a:cubicBezTo>
                      <a:pt x="29162" y="39652"/>
                      <a:pt x="38386" y="31694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1" name="Google Shape;731;p21"/>
              <p:cNvSpPr/>
              <p:nvPr/>
            </p:nvSpPr>
            <p:spPr>
              <a:xfrm>
                <a:off x="12187670" y="3138980"/>
                <a:ext cx="55841" cy="55822"/>
              </a:xfrm>
              <a:custGeom>
                <a:avLst/>
                <a:gdLst/>
                <a:ahLst/>
                <a:cxnLst/>
                <a:rect l="l" t="t" r="r" b="b"/>
                <a:pathLst>
                  <a:path w="55841" h="55822" extrusionOk="0">
                    <a:moveTo>
                      <a:pt x="55772" y="29730"/>
                    </a:moveTo>
                    <a:cubicBezTo>
                      <a:pt x="56858" y="14357"/>
                      <a:pt x="45102" y="1155"/>
                      <a:pt x="29729" y="69"/>
                    </a:cubicBezTo>
                    <a:cubicBezTo>
                      <a:pt x="14357" y="-1016"/>
                      <a:pt x="1155" y="10740"/>
                      <a:pt x="70" y="26113"/>
                    </a:cubicBezTo>
                    <a:cubicBezTo>
                      <a:pt x="-1016" y="41485"/>
                      <a:pt x="10740" y="54687"/>
                      <a:pt x="26112" y="55773"/>
                    </a:cubicBezTo>
                    <a:cubicBezTo>
                      <a:pt x="41485" y="56677"/>
                      <a:pt x="54687" y="45102"/>
                      <a:pt x="55772" y="297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2" name="Google Shape;732;p21"/>
              <p:cNvSpPr/>
              <p:nvPr/>
            </p:nvSpPr>
            <p:spPr>
              <a:xfrm>
                <a:off x="8138501" y="5325312"/>
                <a:ext cx="80653" cy="80653"/>
              </a:xfrm>
              <a:custGeom>
                <a:avLst/>
                <a:gdLst/>
                <a:ahLst/>
                <a:cxnLst/>
                <a:rect l="l" t="t" r="r" b="b"/>
                <a:pathLst>
                  <a:path w="80653" h="80653" extrusionOk="0">
                    <a:moveTo>
                      <a:pt x="80567" y="42949"/>
                    </a:moveTo>
                    <a:cubicBezTo>
                      <a:pt x="82014" y="20704"/>
                      <a:pt x="65194" y="1534"/>
                      <a:pt x="42949" y="87"/>
                    </a:cubicBezTo>
                    <a:cubicBezTo>
                      <a:pt x="20704" y="-1360"/>
                      <a:pt x="1534" y="15460"/>
                      <a:pt x="87" y="37705"/>
                    </a:cubicBezTo>
                    <a:cubicBezTo>
                      <a:pt x="-1360" y="59950"/>
                      <a:pt x="15459" y="79120"/>
                      <a:pt x="37705" y="80567"/>
                    </a:cubicBezTo>
                    <a:cubicBezTo>
                      <a:pt x="59950" y="82014"/>
                      <a:pt x="79120" y="65194"/>
                      <a:pt x="80567" y="429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3" name="Google Shape;733;p21"/>
              <p:cNvSpPr/>
              <p:nvPr/>
            </p:nvSpPr>
            <p:spPr>
              <a:xfrm>
                <a:off x="8049711" y="5812001"/>
                <a:ext cx="69421" cy="69421"/>
              </a:xfrm>
              <a:custGeom>
                <a:avLst/>
                <a:gdLst/>
                <a:ahLst/>
                <a:cxnLst/>
                <a:rect l="l" t="t" r="r" b="b"/>
                <a:pathLst>
                  <a:path w="69421" h="69421" extrusionOk="0">
                    <a:moveTo>
                      <a:pt x="69344" y="36971"/>
                    </a:moveTo>
                    <a:cubicBezTo>
                      <a:pt x="70610" y="17801"/>
                      <a:pt x="56142" y="1343"/>
                      <a:pt x="36971" y="77"/>
                    </a:cubicBezTo>
                    <a:cubicBezTo>
                      <a:pt x="17801" y="-1189"/>
                      <a:pt x="1343" y="13279"/>
                      <a:pt x="77" y="32450"/>
                    </a:cubicBezTo>
                    <a:cubicBezTo>
                      <a:pt x="-1189" y="51620"/>
                      <a:pt x="13279" y="68078"/>
                      <a:pt x="32450" y="69344"/>
                    </a:cubicBezTo>
                    <a:cubicBezTo>
                      <a:pt x="51621" y="70611"/>
                      <a:pt x="68078" y="56142"/>
                      <a:pt x="69344" y="369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4" name="Google Shape;734;p21"/>
              <p:cNvSpPr/>
              <p:nvPr/>
            </p:nvSpPr>
            <p:spPr>
              <a:xfrm>
                <a:off x="7773757" y="5442907"/>
                <a:ext cx="36447" cy="3644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46" extrusionOk="0">
                    <a:moveTo>
                      <a:pt x="36399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452" y="-676"/>
                      <a:pt x="771" y="6920"/>
                      <a:pt x="48" y="17048"/>
                    </a:cubicBezTo>
                    <a:cubicBezTo>
                      <a:pt x="-676" y="26995"/>
                      <a:pt x="6920" y="35676"/>
                      <a:pt x="17048" y="36399"/>
                    </a:cubicBezTo>
                    <a:cubicBezTo>
                      <a:pt x="27176" y="37123"/>
                      <a:pt x="35857" y="29527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5" name="Google Shape;735;p21"/>
              <p:cNvSpPr/>
              <p:nvPr/>
            </p:nvSpPr>
            <p:spPr>
              <a:xfrm>
                <a:off x="8165679" y="5352670"/>
                <a:ext cx="25936" cy="25917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7" extrusionOk="0">
                    <a:moveTo>
                      <a:pt x="25900" y="13783"/>
                    </a:moveTo>
                    <a:cubicBezTo>
                      <a:pt x="26442" y="6729"/>
                      <a:pt x="21017" y="580"/>
                      <a:pt x="13782" y="37"/>
                    </a:cubicBezTo>
                    <a:cubicBezTo>
                      <a:pt x="6729" y="-505"/>
                      <a:pt x="580" y="4921"/>
                      <a:pt x="37" y="12155"/>
                    </a:cubicBezTo>
                    <a:cubicBezTo>
                      <a:pt x="-505" y="19208"/>
                      <a:pt x="4920" y="25357"/>
                      <a:pt x="12155" y="25900"/>
                    </a:cubicBezTo>
                    <a:cubicBezTo>
                      <a:pt x="19389" y="26262"/>
                      <a:pt x="25538" y="21017"/>
                      <a:pt x="25900" y="137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6" name="Google Shape;736;p21"/>
              <p:cNvSpPr/>
              <p:nvPr/>
            </p:nvSpPr>
            <p:spPr>
              <a:xfrm>
                <a:off x="8132938" y="4901614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2"/>
                      <a:pt x="32958" y="766"/>
                      <a:pt x="21746" y="43"/>
                    </a:cubicBezTo>
                    <a:cubicBezTo>
                      <a:pt x="10533" y="-681"/>
                      <a:pt x="766" y="7820"/>
                      <a:pt x="43" y="19032"/>
                    </a:cubicBezTo>
                    <a:cubicBezTo>
                      <a:pt x="-680" y="30246"/>
                      <a:pt x="7820" y="40012"/>
                      <a:pt x="19033" y="40735"/>
                    </a:cubicBezTo>
                    <a:cubicBezTo>
                      <a:pt x="30427" y="41459"/>
                      <a:pt x="40012" y="32958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7" name="Google Shape;737;p21"/>
              <p:cNvSpPr/>
              <p:nvPr/>
            </p:nvSpPr>
            <p:spPr>
              <a:xfrm>
                <a:off x="7770689" y="5439838"/>
                <a:ext cx="42583" cy="42583"/>
              </a:xfrm>
              <a:custGeom>
                <a:avLst/>
                <a:gdLst/>
                <a:ahLst/>
                <a:cxnLst/>
                <a:rect l="l" t="t" r="r" b="b"/>
                <a:pathLst>
                  <a:path w="42583" h="42583" extrusionOk="0">
                    <a:moveTo>
                      <a:pt x="42542" y="22648"/>
                    </a:moveTo>
                    <a:cubicBezTo>
                      <a:pt x="43266" y="10893"/>
                      <a:pt x="34404" y="765"/>
                      <a:pt x="22648" y="41"/>
                    </a:cubicBezTo>
                    <a:cubicBezTo>
                      <a:pt x="10893" y="-682"/>
                      <a:pt x="765" y="8180"/>
                      <a:pt x="41" y="19935"/>
                    </a:cubicBezTo>
                    <a:cubicBezTo>
                      <a:pt x="-682" y="31691"/>
                      <a:pt x="8180" y="41819"/>
                      <a:pt x="19935" y="42542"/>
                    </a:cubicBezTo>
                    <a:cubicBezTo>
                      <a:pt x="31691" y="43266"/>
                      <a:pt x="41819" y="34404"/>
                      <a:pt x="42542" y="2264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8" name="Google Shape;738;p21"/>
              <p:cNvSpPr/>
              <p:nvPr/>
            </p:nvSpPr>
            <p:spPr>
              <a:xfrm rot="-4644878">
                <a:off x="11296721" y="4960603"/>
                <a:ext cx="61130" cy="61130"/>
              </a:xfrm>
              <a:custGeom>
                <a:avLst/>
                <a:gdLst/>
                <a:ahLst/>
                <a:cxnLst/>
                <a:rect l="l" t="t" r="r" b="b"/>
                <a:pathLst>
                  <a:path w="61130" h="61130" extrusionOk="0">
                    <a:moveTo>
                      <a:pt x="61131" y="30565"/>
                    </a:moveTo>
                    <a:cubicBezTo>
                      <a:pt x="61131" y="47446"/>
                      <a:pt x="47446" y="61131"/>
                      <a:pt x="30565" y="61131"/>
                    </a:cubicBezTo>
                    <a:cubicBezTo>
                      <a:pt x="13685" y="61131"/>
                      <a:pt x="0" y="47446"/>
                      <a:pt x="0" y="30565"/>
                    </a:cubicBezTo>
                    <a:cubicBezTo>
                      <a:pt x="0" y="13685"/>
                      <a:pt x="13685" y="0"/>
                      <a:pt x="30565" y="0"/>
                    </a:cubicBezTo>
                    <a:cubicBezTo>
                      <a:pt x="47446" y="0"/>
                      <a:pt x="61131" y="13685"/>
                      <a:pt x="61131" y="30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39" name="Google Shape;739;p21"/>
              <p:cNvSpPr/>
              <p:nvPr/>
            </p:nvSpPr>
            <p:spPr>
              <a:xfrm>
                <a:off x="11826898" y="5138721"/>
                <a:ext cx="26296" cy="26277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7" extrusionOk="0">
                    <a:moveTo>
                      <a:pt x="26260" y="13962"/>
                    </a:moveTo>
                    <a:cubicBezTo>
                      <a:pt x="26803" y="6728"/>
                      <a:pt x="21196" y="398"/>
                      <a:pt x="13962" y="36"/>
                    </a:cubicBezTo>
                    <a:cubicBezTo>
                      <a:pt x="6728" y="-506"/>
                      <a:pt x="398" y="5100"/>
                      <a:pt x="36" y="12334"/>
                    </a:cubicBezTo>
                    <a:cubicBezTo>
                      <a:pt x="-506" y="19568"/>
                      <a:pt x="5100" y="25898"/>
                      <a:pt x="12334" y="26260"/>
                    </a:cubicBezTo>
                    <a:cubicBezTo>
                      <a:pt x="19569" y="26622"/>
                      <a:pt x="25718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0" name="Google Shape;740;p21"/>
              <p:cNvSpPr/>
              <p:nvPr/>
            </p:nvSpPr>
            <p:spPr>
              <a:xfrm>
                <a:off x="11215445" y="5297165"/>
                <a:ext cx="21743" cy="21743"/>
              </a:xfrm>
              <a:custGeom>
                <a:avLst/>
                <a:gdLst/>
                <a:ahLst/>
                <a:cxnLst/>
                <a:rect l="l" t="t" r="r" b="b"/>
                <a:pathLst>
                  <a:path w="21743" h="21743" extrusionOk="0">
                    <a:moveTo>
                      <a:pt x="21723" y="11595"/>
                    </a:moveTo>
                    <a:cubicBezTo>
                      <a:pt x="22085" y="5627"/>
                      <a:pt x="17563" y="382"/>
                      <a:pt x="11595" y="20"/>
                    </a:cubicBezTo>
                    <a:cubicBezTo>
                      <a:pt x="5627" y="-342"/>
                      <a:pt x="382" y="4180"/>
                      <a:pt x="20" y="10148"/>
                    </a:cubicBezTo>
                    <a:cubicBezTo>
                      <a:pt x="-342" y="16116"/>
                      <a:pt x="4180" y="21361"/>
                      <a:pt x="10148" y="21723"/>
                    </a:cubicBezTo>
                    <a:cubicBezTo>
                      <a:pt x="16116" y="22085"/>
                      <a:pt x="21180" y="17563"/>
                      <a:pt x="21723" y="1159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1" name="Google Shape;741;p21"/>
              <p:cNvSpPr/>
              <p:nvPr/>
            </p:nvSpPr>
            <p:spPr>
              <a:xfrm>
                <a:off x="11365161" y="4188134"/>
                <a:ext cx="53455" cy="53455"/>
              </a:xfrm>
              <a:custGeom>
                <a:avLst/>
                <a:gdLst/>
                <a:ahLst/>
                <a:cxnLst/>
                <a:rect l="l" t="t" r="r" b="b"/>
                <a:pathLst>
                  <a:path w="53455" h="53455" extrusionOk="0">
                    <a:moveTo>
                      <a:pt x="53404" y="28446"/>
                    </a:moveTo>
                    <a:cubicBezTo>
                      <a:pt x="54308" y="13797"/>
                      <a:pt x="43276" y="956"/>
                      <a:pt x="28446" y="52"/>
                    </a:cubicBezTo>
                    <a:cubicBezTo>
                      <a:pt x="13797" y="-852"/>
                      <a:pt x="956" y="10180"/>
                      <a:pt x="52" y="25010"/>
                    </a:cubicBezTo>
                    <a:cubicBezTo>
                      <a:pt x="-852" y="39659"/>
                      <a:pt x="10180" y="52500"/>
                      <a:pt x="25010" y="53404"/>
                    </a:cubicBezTo>
                    <a:cubicBezTo>
                      <a:pt x="39840" y="54308"/>
                      <a:pt x="52500" y="43276"/>
                      <a:pt x="53404" y="2844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2" name="Google Shape;742;p21"/>
              <p:cNvSpPr/>
              <p:nvPr/>
            </p:nvSpPr>
            <p:spPr>
              <a:xfrm>
                <a:off x="12272838" y="3881554"/>
                <a:ext cx="84264" cy="84264"/>
              </a:xfrm>
              <a:custGeom>
                <a:avLst/>
                <a:gdLst/>
                <a:ahLst/>
                <a:cxnLst/>
                <a:rect l="l" t="t" r="r" b="b"/>
                <a:pathLst>
                  <a:path w="84264" h="84264" extrusionOk="0">
                    <a:moveTo>
                      <a:pt x="84181" y="44935"/>
                    </a:moveTo>
                    <a:cubicBezTo>
                      <a:pt x="85627" y="21786"/>
                      <a:pt x="68084" y="1711"/>
                      <a:pt x="44935" y="83"/>
                    </a:cubicBezTo>
                    <a:cubicBezTo>
                      <a:pt x="21786" y="-1363"/>
                      <a:pt x="1711" y="16179"/>
                      <a:pt x="83" y="39329"/>
                    </a:cubicBezTo>
                    <a:cubicBezTo>
                      <a:pt x="-1364" y="62478"/>
                      <a:pt x="16179" y="82553"/>
                      <a:pt x="39329" y="84181"/>
                    </a:cubicBezTo>
                    <a:cubicBezTo>
                      <a:pt x="62478" y="85628"/>
                      <a:pt x="82553" y="68085"/>
                      <a:pt x="84181" y="449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3" name="Google Shape;743;p21"/>
              <p:cNvSpPr/>
              <p:nvPr/>
            </p:nvSpPr>
            <p:spPr>
              <a:xfrm>
                <a:off x="11580754" y="4269172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899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4" name="Google Shape;744;p21"/>
              <p:cNvSpPr/>
              <p:nvPr/>
            </p:nvSpPr>
            <p:spPr>
              <a:xfrm>
                <a:off x="10656401" y="4988786"/>
                <a:ext cx="40235" cy="40259"/>
              </a:xfrm>
              <a:custGeom>
                <a:avLst/>
                <a:gdLst/>
                <a:ahLst/>
                <a:cxnLst/>
                <a:rect l="l" t="t" r="r" b="b"/>
                <a:pathLst>
                  <a:path w="40235" h="40259" extrusionOk="0">
                    <a:moveTo>
                      <a:pt x="40193" y="21565"/>
                    </a:moveTo>
                    <a:cubicBezTo>
                      <a:pt x="40916" y="10533"/>
                      <a:pt x="32416" y="947"/>
                      <a:pt x="21384" y="43"/>
                    </a:cubicBezTo>
                    <a:cubicBezTo>
                      <a:pt x="10352" y="-680"/>
                      <a:pt x="766" y="7820"/>
                      <a:pt x="43" y="18852"/>
                    </a:cubicBezTo>
                    <a:cubicBezTo>
                      <a:pt x="-681" y="29884"/>
                      <a:pt x="7820" y="39469"/>
                      <a:pt x="18852" y="40193"/>
                    </a:cubicBezTo>
                    <a:cubicBezTo>
                      <a:pt x="29884" y="41097"/>
                      <a:pt x="39469" y="32778"/>
                      <a:pt x="40193" y="215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5" name="Google Shape;745;p21"/>
              <p:cNvSpPr/>
              <p:nvPr/>
            </p:nvSpPr>
            <p:spPr>
              <a:xfrm>
                <a:off x="10438972" y="5302164"/>
                <a:ext cx="82278" cy="82299"/>
              </a:xfrm>
              <a:custGeom>
                <a:avLst/>
                <a:gdLst/>
                <a:ahLst/>
                <a:cxnLst/>
                <a:rect l="l" t="t" r="r" b="b"/>
                <a:pathLst>
                  <a:path w="82278" h="82299" extrusionOk="0">
                    <a:moveTo>
                      <a:pt x="82193" y="43852"/>
                    </a:moveTo>
                    <a:cubicBezTo>
                      <a:pt x="83640" y="21245"/>
                      <a:pt x="66459" y="1532"/>
                      <a:pt x="43852" y="85"/>
                    </a:cubicBezTo>
                    <a:cubicBezTo>
                      <a:pt x="21245" y="-1362"/>
                      <a:pt x="1532" y="15819"/>
                      <a:pt x="85" y="38426"/>
                    </a:cubicBezTo>
                    <a:cubicBezTo>
                      <a:pt x="-1362" y="61033"/>
                      <a:pt x="15820" y="80746"/>
                      <a:pt x="38426" y="82193"/>
                    </a:cubicBezTo>
                    <a:cubicBezTo>
                      <a:pt x="61214" y="83821"/>
                      <a:pt x="80746" y="66639"/>
                      <a:pt x="82193" y="4385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6" name="Google Shape;746;p21"/>
              <p:cNvSpPr/>
              <p:nvPr/>
            </p:nvSpPr>
            <p:spPr>
              <a:xfrm>
                <a:off x="10400696" y="4885722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6"/>
                    </a:cubicBezTo>
                    <a:cubicBezTo>
                      <a:pt x="16839" y="22807"/>
                      <a:pt x="22084" y="18105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7" name="Google Shape;747;p21"/>
              <p:cNvSpPr/>
              <p:nvPr/>
            </p:nvSpPr>
            <p:spPr>
              <a:xfrm>
                <a:off x="10648979" y="4981544"/>
                <a:ext cx="55080" cy="5508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080" extrusionOk="0">
                    <a:moveTo>
                      <a:pt x="55030" y="29349"/>
                    </a:moveTo>
                    <a:cubicBezTo>
                      <a:pt x="55934" y="14157"/>
                      <a:pt x="44541" y="954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3"/>
                      <a:pt x="10540" y="54126"/>
                      <a:pt x="25732" y="55030"/>
                    </a:cubicBezTo>
                    <a:cubicBezTo>
                      <a:pt x="40924" y="55934"/>
                      <a:pt x="53945" y="44540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8" name="Google Shape;748;p21"/>
              <p:cNvSpPr/>
              <p:nvPr/>
            </p:nvSpPr>
            <p:spPr>
              <a:xfrm>
                <a:off x="10902298" y="5462016"/>
                <a:ext cx="100410" cy="100410"/>
              </a:xfrm>
              <a:custGeom>
                <a:avLst/>
                <a:gdLst/>
                <a:ahLst/>
                <a:cxnLst/>
                <a:rect l="l" t="t" r="r" b="b"/>
                <a:pathLst>
                  <a:path w="100410" h="100410" extrusionOk="0">
                    <a:moveTo>
                      <a:pt x="100302" y="53461"/>
                    </a:moveTo>
                    <a:cubicBezTo>
                      <a:pt x="102111" y="25790"/>
                      <a:pt x="81131" y="1917"/>
                      <a:pt x="53461" y="109"/>
                    </a:cubicBezTo>
                    <a:cubicBezTo>
                      <a:pt x="25790" y="-1700"/>
                      <a:pt x="1917" y="19279"/>
                      <a:pt x="109" y="46950"/>
                    </a:cubicBezTo>
                    <a:cubicBezTo>
                      <a:pt x="-1700" y="74621"/>
                      <a:pt x="19279" y="98494"/>
                      <a:pt x="46950" y="100302"/>
                    </a:cubicBezTo>
                    <a:cubicBezTo>
                      <a:pt x="74621" y="102111"/>
                      <a:pt x="98493" y="81131"/>
                      <a:pt x="100302" y="5346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49" name="Google Shape;749;p21"/>
              <p:cNvSpPr/>
              <p:nvPr/>
            </p:nvSpPr>
            <p:spPr>
              <a:xfrm>
                <a:off x="10466331" y="5329523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0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8" y="20472"/>
                      <a:pt x="5280" y="26983"/>
                      <a:pt x="12876" y="27525"/>
                    </a:cubicBezTo>
                    <a:cubicBezTo>
                      <a:pt x="20472" y="28068"/>
                      <a:pt x="26982" y="22281"/>
                      <a:pt x="27525" y="146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0" name="Google Shape;750;p21"/>
              <p:cNvSpPr/>
              <p:nvPr/>
            </p:nvSpPr>
            <p:spPr>
              <a:xfrm>
                <a:off x="10666189" y="4998755"/>
                <a:ext cx="20659" cy="20659"/>
              </a:xfrm>
              <a:custGeom>
                <a:avLst/>
                <a:gdLst/>
                <a:ahLst/>
                <a:cxnLst/>
                <a:rect l="l" t="t" r="r" b="b"/>
                <a:pathLst>
                  <a:path w="20659" h="20659" extrusionOk="0">
                    <a:moveTo>
                      <a:pt x="20638" y="11053"/>
                    </a:moveTo>
                    <a:cubicBezTo>
                      <a:pt x="21000" y="5266"/>
                      <a:pt x="16660" y="383"/>
                      <a:pt x="11053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0" y="15394"/>
                      <a:pt x="4000" y="20277"/>
                      <a:pt x="9606" y="20638"/>
                    </a:cubicBezTo>
                    <a:cubicBezTo>
                      <a:pt x="15394" y="21000"/>
                      <a:pt x="20277" y="16660"/>
                      <a:pt x="20638" y="1105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1" name="Google Shape;751;p21"/>
              <p:cNvSpPr/>
              <p:nvPr/>
            </p:nvSpPr>
            <p:spPr>
              <a:xfrm>
                <a:off x="11203671" y="5285391"/>
                <a:ext cx="45111" cy="45132"/>
              </a:xfrm>
              <a:custGeom>
                <a:avLst/>
                <a:gdLst/>
                <a:ahLst/>
                <a:cxnLst/>
                <a:rect l="l" t="t" r="r" b="b"/>
                <a:pathLst>
                  <a:path w="45111" h="45132" extrusionOk="0">
                    <a:moveTo>
                      <a:pt x="45072" y="24093"/>
                    </a:moveTo>
                    <a:cubicBezTo>
                      <a:pt x="45795" y="11614"/>
                      <a:pt x="36391" y="943"/>
                      <a:pt x="24093" y="39"/>
                    </a:cubicBezTo>
                    <a:cubicBezTo>
                      <a:pt x="11614" y="-684"/>
                      <a:pt x="943" y="8720"/>
                      <a:pt x="39" y="21018"/>
                    </a:cubicBezTo>
                    <a:cubicBezTo>
                      <a:pt x="-684" y="33497"/>
                      <a:pt x="8720" y="44168"/>
                      <a:pt x="21018" y="45072"/>
                    </a:cubicBezTo>
                    <a:cubicBezTo>
                      <a:pt x="33497" y="45976"/>
                      <a:pt x="44348" y="36572"/>
                      <a:pt x="45072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2" name="Google Shape;752;p21"/>
              <p:cNvSpPr/>
              <p:nvPr/>
            </p:nvSpPr>
            <p:spPr>
              <a:xfrm>
                <a:off x="10916799" y="5476518"/>
                <a:ext cx="71407" cy="71406"/>
              </a:xfrm>
              <a:custGeom>
                <a:avLst/>
                <a:gdLst/>
                <a:ahLst/>
                <a:cxnLst/>
                <a:rect l="l" t="t" r="r" b="b"/>
                <a:pathLst>
                  <a:path w="71407" h="71406" extrusionOk="0">
                    <a:moveTo>
                      <a:pt x="71332" y="38055"/>
                    </a:moveTo>
                    <a:cubicBezTo>
                      <a:pt x="72598" y="18342"/>
                      <a:pt x="57768" y="1342"/>
                      <a:pt x="38055" y="75"/>
                    </a:cubicBezTo>
                    <a:cubicBezTo>
                      <a:pt x="18342" y="-1191"/>
                      <a:pt x="1341" y="13639"/>
                      <a:pt x="75" y="33353"/>
                    </a:cubicBezTo>
                    <a:cubicBezTo>
                      <a:pt x="-1190" y="53066"/>
                      <a:pt x="13639" y="70066"/>
                      <a:pt x="33353" y="71332"/>
                    </a:cubicBezTo>
                    <a:cubicBezTo>
                      <a:pt x="53066" y="72598"/>
                      <a:pt x="70066" y="57587"/>
                      <a:pt x="71332" y="380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3" name="Google Shape;753;p21"/>
              <p:cNvSpPr/>
              <p:nvPr/>
            </p:nvSpPr>
            <p:spPr>
              <a:xfrm>
                <a:off x="10667633" y="5000199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385"/>
                      <a:pt x="9428" y="24"/>
                    </a:cubicBezTo>
                    <a:cubicBezTo>
                      <a:pt x="4545" y="-338"/>
                      <a:pt x="386" y="3460"/>
                      <a:pt x="24" y="8343"/>
                    </a:cubicBezTo>
                    <a:cubicBezTo>
                      <a:pt x="-338" y="13226"/>
                      <a:pt x="3460" y="17386"/>
                      <a:pt x="8343" y="17748"/>
                    </a:cubicBezTo>
                    <a:cubicBezTo>
                      <a:pt x="13226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4" name="Google Shape;754;p21"/>
              <p:cNvSpPr/>
              <p:nvPr/>
            </p:nvSpPr>
            <p:spPr>
              <a:xfrm>
                <a:off x="11296063" y="4960371"/>
                <a:ext cx="61618" cy="61618"/>
              </a:xfrm>
              <a:custGeom>
                <a:avLst/>
                <a:gdLst/>
                <a:ahLst/>
                <a:cxnLst/>
                <a:rect l="l" t="t" r="r" b="b"/>
                <a:pathLst>
                  <a:path w="61618" h="61618" extrusionOk="0">
                    <a:moveTo>
                      <a:pt x="61555" y="32799"/>
                    </a:moveTo>
                    <a:cubicBezTo>
                      <a:pt x="62640" y="15798"/>
                      <a:pt x="49799" y="1149"/>
                      <a:pt x="32799" y="64"/>
                    </a:cubicBezTo>
                    <a:cubicBezTo>
                      <a:pt x="15799" y="-1021"/>
                      <a:pt x="1149" y="11819"/>
                      <a:pt x="64" y="28820"/>
                    </a:cubicBezTo>
                    <a:cubicBezTo>
                      <a:pt x="-1021" y="45820"/>
                      <a:pt x="11820" y="60469"/>
                      <a:pt x="28820" y="61554"/>
                    </a:cubicBezTo>
                    <a:cubicBezTo>
                      <a:pt x="45820" y="62640"/>
                      <a:pt x="60469" y="49799"/>
                      <a:pt x="61555" y="327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5" name="Google Shape;755;p21"/>
              <p:cNvSpPr/>
              <p:nvPr/>
            </p:nvSpPr>
            <p:spPr>
              <a:xfrm>
                <a:off x="11215445" y="5297165"/>
                <a:ext cx="21382" cy="21382"/>
              </a:xfrm>
              <a:custGeom>
                <a:avLst/>
                <a:gdLst/>
                <a:ahLst/>
                <a:cxnLst/>
                <a:rect l="l" t="t" r="r" b="b"/>
                <a:pathLst>
                  <a:path w="21382" h="21382" extrusionOk="0">
                    <a:moveTo>
                      <a:pt x="21362" y="11415"/>
                    </a:moveTo>
                    <a:cubicBezTo>
                      <a:pt x="21724" y="5627"/>
                      <a:pt x="17383" y="564"/>
                      <a:pt x="11415" y="21"/>
                    </a:cubicBezTo>
                    <a:cubicBezTo>
                      <a:pt x="5627" y="-341"/>
                      <a:pt x="564" y="4000"/>
                      <a:pt x="21" y="9968"/>
                    </a:cubicBezTo>
                    <a:cubicBezTo>
                      <a:pt x="-341" y="15755"/>
                      <a:pt x="4000" y="20819"/>
                      <a:pt x="9968" y="21362"/>
                    </a:cubicBezTo>
                    <a:cubicBezTo>
                      <a:pt x="15936" y="21724"/>
                      <a:pt x="21000" y="17383"/>
                      <a:pt x="21362" y="114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6" name="Google Shape;756;p21"/>
              <p:cNvSpPr/>
              <p:nvPr/>
            </p:nvSpPr>
            <p:spPr>
              <a:xfrm>
                <a:off x="8483773" y="5157138"/>
                <a:ext cx="59813" cy="59813"/>
              </a:xfrm>
              <a:custGeom>
                <a:avLst/>
                <a:gdLst/>
                <a:ahLst/>
                <a:cxnLst/>
                <a:rect l="l" t="t" r="r" b="b"/>
                <a:pathLst>
                  <a:path w="59813" h="59813" extrusionOk="0">
                    <a:moveTo>
                      <a:pt x="59748" y="31896"/>
                    </a:moveTo>
                    <a:cubicBezTo>
                      <a:pt x="60833" y="15438"/>
                      <a:pt x="48354" y="1151"/>
                      <a:pt x="31896" y="66"/>
                    </a:cubicBezTo>
                    <a:cubicBezTo>
                      <a:pt x="15438" y="-1019"/>
                      <a:pt x="1151" y="11460"/>
                      <a:pt x="66" y="27917"/>
                    </a:cubicBezTo>
                    <a:cubicBezTo>
                      <a:pt x="-1019" y="44375"/>
                      <a:pt x="11460" y="58663"/>
                      <a:pt x="27917" y="59748"/>
                    </a:cubicBezTo>
                    <a:cubicBezTo>
                      <a:pt x="44375" y="60833"/>
                      <a:pt x="58663" y="48354"/>
                      <a:pt x="59748" y="318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7" name="Google Shape;757;p21"/>
              <p:cNvSpPr/>
              <p:nvPr/>
            </p:nvSpPr>
            <p:spPr>
              <a:xfrm>
                <a:off x="8137057" y="5324049"/>
                <a:ext cx="83361" cy="83361"/>
              </a:xfrm>
              <a:custGeom>
                <a:avLst/>
                <a:gdLst/>
                <a:ahLst/>
                <a:cxnLst/>
                <a:rect l="l" t="t" r="r" b="b"/>
                <a:pathLst>
                  <a:path w="83361" h="83361" extrusionOk="0">
                    <a:moveTo>
                      <a:pt x="83277" y="44394"/>
                    </a:moveTo>
                    <a:cubicBezTo>
                      <a:pt x="84724" y="21425"/>
                      <a:pt x="67362" y="1531"/>
                      <a:pt x="44394" y="84"/>
                    </a:cubicBezTo>
                    <a:cubicBezTo>
                      <a:pt x="21425" y="-1363"/>
                      <a:pt x="1531" y="15999"/>
                      <a:pt x="84" y="38968"/>
                    </a:cubicBezTo>
                    <a:cubicBezTo>
                      <a:pt x="-1363" y="61936"/>
                      <a:pt x="15999" y="81830"/>
                      <a:pt x="38968" y="83277"/>
                    </a:cubicBezTo>
                    <a:cubicBezTo>
                      <a:pt x="61937" y="84724"/>
                      <a:pt x="81830" y="67362"/>
                      <a:pt x="83277" y="443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8" name="Google Shape;758;p21"/>
              <p:cNvSpPr/>
              <p:nvPr/>
            </p:nvSpPr>
            <p:spPr>
              <a:xfrm>
                <a:off x="8131856" y="4900350"/>
                <a:ext cx="43124" cy="43146"/>
              </a:xfrm>
              <a:custGeom>
                <a:avLst/>
                <a:gdLst/>
                <a:ahLst/>
                <a:cxnLst/>
                <a:rect l="l" t="t" r="r" b="b"/>
                <a:pathLst>
                  <a:path w="43124" h="43146" extrusionOk="0">
                    <a:moveTo>
                      <a:pt x="43084" y="23009"/>
                    </a:moveTo>
                    <a:cubicBezTo>
                      <a:pt x="43807" y="11073"/>
                      <a:pt x="34765" y="764"/>
                      <a:pt x="23009" y="41"/>
                    </a:cubicBezTo>
                    <a:cubicBezTo>
                      <a:pt x="11073" y="-683"/>
                      <a:pt x="764" y="8360"/>
                      <a:pt x="41" y="20115"/>
                    </a:cubicBezTo>
                    <a:cubicBezTo>
                      <a:pt x="-683" y="32052"/>
                      <a:pt x="8360" y="42360"/>
                      <a:pt x="20115" y="43084"/>
                    </a:cubicBezTo>
                    <a:cubicBezTo>
                      <a:pt x="32052" y="43988"/>
                      <a:pt x="42361" y="34946"/>
                      <a:pt x="43084" y="230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59" name="Google Shape;759;p21"/>
              <p:cNvSpPr/>
              <p:nvPr/>
            </p:nvSpPr>
            <p:spPr>
              <a:xfrm>
                <a:off x="10216406" y="3545591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5"/>
                    </a:cubicBezTo>
                    <a:cubicBezTo>
                      <a:pt x="16839" y="22807"/>
                      <a:pt x="22084" y="18105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0" name="Google Shape;760;p21"/>
              <p:cNvSpPr/>
              <p:nvPr/>
            </p:nvSpPr>
            <p:spPr>
              <a:xfrm>
                <a:off x="7875213" y="4712794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40020" y="54669"/>
                      <a:pt x="52680" y="43456"/>
                      <a:pt x="53765" y="286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1" name="Google Shape;761;p21"/>
              <p:cNvSpPr/>
              <p:nvPr/>
            </p:nvSpPr>
            <p:spPr>
              <a:xfrm>
                <a:off x="8338184" y="4424134"/>
                <a:ext cx="57827" cy="57827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27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100" y="56675"/>
                      <a:pt x="27015" y="57760"/>
                    </a:cubicBezTo>
                    <a:cubicBezTo>
                      <a:pt x="42930" y="58845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2" name="Google Shape;762;p21"/>
              <p:cNvSpPr/>
              <p:nvPr/>
            </p:nvSpPr>
            <p:spPr>
              <a:xfrm>
                <a:off x="7569506" y="4494079"/>
                <a:ext cx="96079" cy="96058"/>
              </a:xfrm>
              <a:custGeom>
                <a:avLst/>
                <a:gdLst/>
                <a:ahLst/>
                <a:cxnLst/>
                <a:rect l="l" t="t" r="r" b="b"/>
                <a:pathLst>
                  <a:path w="96079" h="96058" extrusionOk="0">
                    <a:moveTo>
                      <a:pt x="95966" y="51114"/>
                    </a:moveTo>
                    <a:cubicBezTo>
                      <a:pt x="97775" y="24709"/>
                      <a:pt x="77700" y="1741"/>
                      <a:pt x="51114" y="113"/>
                    </a:cubicBezTo>
                    <a:cubicBezTo>
                      <a:pt x="24709" y="-1695"/>
                      <a:pt x="1741" y="18380"/>
                      <a:pt x="113" y="44965"/>
                    </a:cubicBezTo>
                    <a:cubicBezTo>
                      <a:pt x="-1695" y="71370"/>
                      <a:pt x="18380" y="94338"/>
                      <a:pt x="44965" y="95966"/>
                    </a:cubicBezTo>
                    <a:cubicBezTo>
                      <a:pt x="71370" y="97594"/>
                      <a:pt x="94158" y="77519"/>
                      <a:pt x="95966" y="5111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3" name="Google Shape;763;p21"/>
              <p:cNvSpPr/>
              <p:nvPr/>
            </p:nvSpPr>
            <p:spPr>
              <a:xfrm>
                <a:off x="7883176" y="4720576"/>
                <a:ext cx="38070" cy="38070"/>
              </a:xfrm>
              <a:custGeom>
                <a:avLst/>
                <a:gdLst/>
                <a:ahLst/>
                <a:cxnLst/>
                <a:rect l="l" t="t" r="r" b="b"/>
                <a:pathLst>
                  <a:path w="38070" h="38070" extrusionOk="0">
                    <a:moveTo>
                      <a:pt x="38025" y="20302"/>
                    </a:moveTo>
                    <a:cubicBezTo>
                      <a:pt x="38749" y="9812"/>
                      <a:pt x="30791" y="769"/>
                      <a:pt x="20301" y="46"/>
                    </a:cubicBezTo>
                    <a:cubicBezTo>
                      <a:pt x="9812" y="-678"/>
                      <a:pt x="769" y="7280"/>
                      <a:pt x="46" y="17769"/>
                    </a:cubicBezTo>
                    <a:cubicBezTo>
                      <a:pt x="-678" y="28259"/>
                      <a:pt x="7280" y="37302"/>
                      <a:pt x="17769" y="38025"/>
                    </a:cubicBezTo>
                    <a:cubicBezTo>
                      <a:pt x="28259" y="38748"/>
                      <a:pt x="37302" y="30791"/>
                      <a:pt x="38025" y="203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4" name="Google Shape;764;p21"/>
              <p:cNvSpPr/>
              <p:nvPr/>
            </p:nvSpPr>
            <p:spPr>
              <a:xfrm>
                <a:off x="8138555" y="4907050"/>
                <a:ext cx="29905" cy="29906"/>
              </a:xfrm>
              <a:custGeom>
                <a:avLst/>
                <a:gdLst/>
                <a:ahLst/>
                <a:cxnLst/>
                <a:rect l="l" t="t" r="r" b="b"/>
                <a:pathLst>
                  <a:path w="29905" h="29906" extrusionOk="0">
                    <a:moveTo>
                      <a:pt x="29873" y="15948"/>
                    </a:moveTo>
                    <a:cubicBezTo>
                      <a:pt x="30416" y="7628"/>
                      <a:pt x="24086" y="575"/>
                      <a:pt x="15948" y="32"/>
                    </a:cubicBezTo>
                    <a:cubicBezTo>
                      <a:pt x="7628" y="-510"/>
                      <a:pt x="575" y="5820"/>
                      <a:pt x="32" y="13958"/>
                    </a:cubicBezTo>
                    <a:cubicBezTo>
                      <a:pt x="-510" y="22278"/>
                      <a:pt x="5820" y="29331"/>
                      <a:pt x="13958" y="29874"/>
                    </a:cubicBezTo>
                    <a:cubicBezTo>
                      <a:pt x="22097" y="30416"/>
                      <a:pt x="29331" y="24267"/>
                      <a:pt x="29873" y="1594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5" name="Google Shape;765;p21"/>
              <p:cNvSpPr/>
              <p:nvPr/>
            </p:nvSpPr>
            <p:spPr>
              <a:xfrm>
                <a:off x="7757992" y="5426961"/>
                <a:ext cx="68338" cy="68338"/>
              </a:xfrm>
              <a:custGeom>
                <a:avLst/>
                <a:gdLst/>
                <a:ahLst/>
                <a:cxnLst/>
                <a:rect l="l" t="t" r="r" b="b"/>
                <a:pathLst>
                  <a:path w="68338" h="68338" extrusionOk="0">
                    <a:moveTo>
                      <a:pt x="68260" y="36430"/>
                    </a:moveTo>
                    <a:cubicBezTo>
                      <a:pt x="69526" y="17621"/>
                      <a:pt x="55239" y="1344"/>
                      <a:pt x="36430" y="78"/>
                    </a:cubicBezTo>
                    <a:cubicBezTo>
                      <a:pt x="17621" y="-1188"/>
                      <a:pt x="1344" y="13100"/>
                      <a:pt x="78" y="31909"/>
                    </a:cubicBezTo>
                    <a:cubicBezTo>
                      <a:pt x="-1188" y="50717"/>
                      <a:pt x="13100" y="66994"/>
                      <a:pt x="31908" y="68260"/>
                    </a:cubicBezTo>
                    <a:cubicBezTo>
                      <a:pt x="50717" y="69526"/>
                      <a:pt x="66994" y="55239"/>
                      <a:pt x="68260" y="364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6" name="Google Shape;766;p21"/>
              <p:cNvSpPr/>
              <p:nvPr/>
            </p:nvSpPr>
            <p:spPr>
              <a:xfrm>
                <a:off x="7893505" y="4731086"/>
                <a:ext cx="17050" cy="17032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32" extrusionOk="0">
                    <a:moveTo>
                      <a:pt x="17025" y="9068"/>
                    </a:moveTo>
                    <a:cubicBezTo>
                      <a:pt x="17387" y="4366"/>
                      <a:pt x="13770" y="387"/>
                      <a:pt x="9068" y="25"/>
                    </a:cubicBezTo>
                    <a:cubicBezTo>
                      <a:pt x="4365" y="-337"/>
                      <a:pt x="387" y="3280"/>
                      <a:pt x="25" y="7983"/>
                    </a:cubicBezTo>
                    <a:cubicBezTo>
                      <a:pt x="-337" y="12685"/>
                      <a:pt x="3280" y="16664"/>
                      <a:pt x="7983" y="17025"/>
                    </a:cubicBezTo>
                    <a:cubicBezTo>
                      <a:pt x="12685" y="17206"/>
                      <a:pt x="16664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7" name="Google Shape;767;p21"/>
              <p:cNvSpPr/>
              <p:nvPr/>
            </p:nvSpPr>
            <p:spPr>
              <a:xfrm>
                <a:off x="8363015" y="4448964"/>
                <a:ext cx="8165" cy="8164"/>
              </a:xfrm>
              <a:custGeom>
                <a:avLst/>
                <a:gdLst/>
                <a:ahLst/>
                <a:cxnLst/>
                <a:rect l="l" t="t" r="r" b="b"/>
                <a:pathLst>
                  <a:path w="8165" h="8164" extrusionOk="0">
                    <a:moveTo>
                      <a:pt x="8152" y="4354"/>
                    </a:moveTo>
                    <a:cubicBezTo>
                      <a:pt x="8333" y="2184"/>
                      <a:pt x="6705" y="195"/>
                      <a:pt x="4354" y="14"/>
                    </a:cubicBezTo>
                    <a:cubicBezTo>
                      <a:pt x="2184" y="-167"/>
                      <a:pt x="195" y="1461"/>
                      <a:pt x="14" y="3812"/>
                    </a:cubicBezTo>
                    <a:cubicBezTo>
                      <a:pt x="-167" y="5982"/>
                      <a:pt x="1461" y="7971"/>
                      <a:pt x="3812" y="8152"/>
                    </a:cubicBezTo>
                    <a:cubicBezTo>
                      <a:pt x="6163" y="8333"/>
                      <a:pt x="7971" y="6524"/>
                      <a:pt x="8152" y="435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8" name="Google Shape;768;p21"/>
              <p:cNvSpPr/>
              <p:nvPr/>
            </p:nvSpPr>
            <p:spPr>
              <a:xfrm>
                <a:off x="8140179" y="4908855"/>
                <a:ext cx="26296" cy="26296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96" extrusionOk="0">
                    <a:moveTo>
                      <a:pt x="26260" y="13962"/>
                    </a:moveTo>
                    <a:cubicBezTo>
                      <a:pt x="26803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4" y="26260"/>
                    </a:cubicBezTo>
                    <a:cubicBezTo>
                      <a:pt x="19569" y="26803"/>
                      <a:pt x="25898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69" name="Google Shape;769;p21"/>
              <p:cNvSpPr/>
              <p:nvPr/>
            </p:nvSpPr>
            <p:spPr>
              <a:xfrm>
                <a:off x="8893729" y="4931390"/>
                <a:ext cx="101855" cy="101854"/>
              </a:xfrm>
              <a:custGeom>
                <a:avLst/>
                <a:gdLst/>
                <a:ahLst/>
                <a:cxnLst/>
                <a:rect l="l" t="t" r="r" b="b"/>
                <a:pathLst>
                  <a:path w="101855" h="101854" extrusionOk="0">
                    <a:moveTo>
                      <a:pt x="101748" y="54183"/>
                    </a:moveTo>
                    <a:cubicBezTo>
                      <a:pt x="103557" y="26151"/>
                      <a:pt x="82397" y="1916"/>
                      <a:pt x="54183" y="108"/>
                    </a:cubicBezTo>
                    <a:cubicBezTo>
                      <a:pt x="26151" y="-1701"/>
                      <a:pt x="1916" y="19459"/>
                      <a:pt x="108" y="47673"/>
                    </a:cubicBezTo>
                    <a:cubicBezTo>
                      <a:pt x="-1701" y="75705"/>
                      <a:pt x="19459" y="99940"/>
                      <a:pt x="47672" y="101748"/>
                    </a:cubicBezTo>
                    <a:cubicBezTo>
                      <a:pt x="75705" y="103557"/>
                      <a:pt x="99939" y="82216"/>
                      <a:pt x="101748" y="5418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0" name="Google Shape;770;p21"/>
              <p:cNvSpPr/>
              <p:nvPr/>
            </p:nvSpPr>
            <p:spPr>
              <a:xfrm>
                <a:off x="8341814" y="4427764"/>
                <a:ext cx="50386" cy="50386"/>
              </a:xfrm>
              <a:custGeom>
                <a:avLst/>
                <a:gdLst/>
                <a:ahLst/>
                <a:cxnLst/>
                <a:rect l="l" t="t" r="r" b="b"/>
                <a:pathLst>
                  <a:path w="50386" h="50386" extrusionOk="0">
                    <a:moveTo>
                      <a:pt x="50332" y="26821"/>
                    </a:moveTo>
                    <a:cubicBezTo>
                      <a:pt x="51236" y="12895"/>
                      <a:pt x="40747" y="959"/>
                      <a:pt x="26821" y="54"/>
                    </a:cubicBezTo>
                    <a:cubicBezTo>
                      <a:pt x="12895" y="-850"/>
                      <a:pt x="959" y="9640"/>
                      <a:pt x="54" y="23565"/>
                    </a:cubicBezTo>
                    <a:cubicBezTo>
                      <a:pt x="-850" y="37491"/>
                      <a:pt x="9640" y="49428"/>
                      <a:pt x="23565" y="50332"/>
                    </a:cubicBezTo>
                    <a:cubicBezTo>
                      <a:pt x="37491" y="51236"/>
                      <a:pt x="49428" y="40747"/>
                      <a:pt x="50332" y="268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1" name="Google Shape;771;p21"/>
              <p:cNvSpPr/>
              <p:nvPr/>
            </p:nvSpPr>
            <p:spPr>
              <a:xfrm>
                <a:off x="8133841" y="4902516"/>
                <a:ext cx="39154" cy="39153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53" extrusionOk="0">
                    <a:moveTo>
                      <a:pt x="39109" y="20843"/>
                    </a:moveTo>
                    <a:cubicBezTo>
                      <a:pt x="39833" y="9992"/>
                      <a:pt x="31694" y="768"/>
                      <a:pt x="20843" y="45"/>
                    </a:cubicBezTo>
                    <a:cubicBezTo>
                      <a:pt x="9992" y="-679"/>
                      <a:pt x="768" y="7460"/>
                      <a:pt x="45" y="18311"/>
                    </a:cubicBezTo>
                    <a:cubicBezTo>
                      <a:pt x="-679" y="29162"/>
                      <a:pt x="7460" y="38386"/>
                      <a:pt x="18311" y="39109"/>
                    </a:cubicBezTo>
                    <a:cubicBezTo>
                      <a:pt x="28981" y="39833"/>
                      <a:pt x="38386" y="31513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2" name="Google Shape;772;p21"/>
              <p:cNvSpPr/>
              <p:nvPr/>
            </p:nvSpPr>
            <p:spPr>
              <a:xfrm>
                <a:off x="8933063" y="4970544"/>
                <a:ext cx="23367" cy="23390"/>
              </a:xfrm>
              <a:custGeom>
                <a:avLst/>
                <a:gdLst/>
                <a:ahLst/>
                <a:cxnLst/>
                <a:rect l="l" t="t" r="r" b="b"/>
                <a:pathLst>
                  <a:path w="23367" h="23390" extrusionOk="0">
                    <a:moveTo>
                      <a:pt x="23349" y="12498"/>
                    </a:moveTo>
                    <a:cubicBezTo>
                      <a:pt x="23711" y="5987"/>
                      <a:pt x="18828" y="380"/>
                      <a:pt x="12498" y="19"/>
                    </a:cubicBezTo>
                    <a:cubicBezTo>
                      <a:pt x="6168" y="-343"/>
                      <a:pt x="381" y="4540"/>
                      <a:pt x="19" y="10870"/>
                    </a:cubicBezTo>
                    <a:cubicBezTo>
                      <a:pt x="-343" y="17381"/>
                      <a:pt x="4540" y="22987"/>
                      <a:pt x="10870" y="23349"/>
                    </a:cubicBezTo>
                    <a:cubicBezTo>
                      <a:pt x="17381" y="23892"/>
                      <a:pt x="22987" y="19009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3" name="Google Shape;773;p21"/>
              <p:cNvSpPr/>
              <p:nvPr/>
            </p:nvSpPr>
            <p:spPr>
              <a:xfrm>
                <a:off x="8496289" y="5169655"/>
                <a:ext cx="34781" cy="34781"/>
              </a:xfrm>
              <a:custGeom>
                <a:avLst/>
                <a:gdLst/>
                <a:ahLst/>
                <a:cxnLst/>
                <a:rect l="l" t="t" r="r" b="b"/>
                <a:pathLst>
                  <a:path w="34781" h="34781" extrusionOk="0">
                    <a:moveTo>
                      <a:pt x="34753" y="18476"/>
                    </a:moveTo>
                    <a:cubicBezTo>
                      <a:pt x="35295" y="8891"/>
                      <a:pt x="28061" y="571"/>
                      <a:pt x="18476" y="29"/>
                    </a:cubicBezTo>
                    <a:cubicBezTo>
                      <a:pt x="8891" y="-514"/>
                      <a:pt x="571" y="6720"/>
                      <a:pt x="29" y="16305"/>
                    </a:cubicBezTo>
                    <a:cubicBezTo>
                      <a:pt x="-514" y="25891"/>
                      <a:pt x="6720" y="34210"/>
                      <a:pt x="16306" y="34753"/>
                    </a:cubicBezTo>
                    <a:cubicBezTo>
                      <a:pt x="25891" y="35295"/>
                      <a:pt x="34210" y="28061"/>
                      <a:pt x="34753" y="184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4" name="Google Shape;774;p21"/>
              <p:cNvSpPr/>
              <p:nvPr/>
            </p:nvSpPr>
            <p:spPr>
              <a:xfrm>
                <a:off x="8119158" y="4887834"/>
                <a:ext cx="68519" cy="68498"/>
              </a:xfrm>
              <a:custGeom>
                <a:avLst/>
                <a:gdLst/>
                <a:ahLst/>
                <a:cxnLst/>
                <a:rect l="l" t="t" r="r" b="b"/>
                <a:pathLst>
                  <a:path w="68519" h="68498" extrusionOk="0">
                    <a:moveTo>
                      <a:pt x="68441" y="36430"/>
                    </a:moveTo>
                    <a:cubicBezTo>
                      <a:pt x="69707" y="17621"/>
                      <a:pt x="55420" y="1344"/>
                      <a:pt x="36430" y="78"/>
                    </a:cubicBezTo>
                    <a:cubicBezTo>
                      <a:pt x="17621" y="-1188"/>
                      <a:pt x="1344" y="13100"/>
                      <a:pt x="78" y="32089"/>
                    </a:cubicBezTo>
                    <a:cubicBezTo>
                      <a:pt x="-1188" y="50898"/>
                      <a:pt x="13100" y="67175"/>
                      <a:pt x="32089" y="68441"/>
                    </a:cubicBezTo>
                    <a:cubicBezTo>
                      <a:pt x="50898" y="69526"/>
                      <a:pt x="67175" y="55239"/>
                      <a:pt x="68441" y="364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5" name="Google Shape;775;p21"/>
              <p:cNvSpPr/>
              <p:nvPr/>
            </p:nvSpPr>
            <p:spPr>
              <a:xfrm>
                <a:off x="8935049" y="4972530"/>
                <a:ext cx="19395" cy="19420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420" extrusionOk="0">
                    <a:moveTo>
                      <a:pt x="19373" y="10330"/>
                    </a:moveTo>
                    <a:cubicBezTo>
                      <a:pt x="19735" y="4905"/>
                      <a:pt x="15575" y="383"/>
                      <a:pt x="10331" y="22"/>
                    </a:cubicBezTo>
                    <a:cubicBezTo>
                      <a:pt x="4905" y="-340"/>
                      <a:pt x="384" y="3820"/>
                      <a:pt x="22" y="9065"/>
                    </a:cubicBezTo>
                    <a:cubicBezTo>
                      <a:pt x="-340" y="14490"/>
                      <a:pt x="3820" y="19011"/>
                      <a:pt x="9065" y="19373"/>
                    </a:cubicBezTo>
                    <a:cubicBezTo>
                      <a:pt x="14309" y="19916"/>
                      <a:pt x="19012" y="15756"/>
                      <a:pt x="19373" y="103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6" name="Google Shape;776;p21"/>
              <p:cNvSpPr/>
              <p:nvPr/>
            </p:nvSpPr>
            <p:spPr>
              <a:xfrm>
                <a:off x="8712208" y="5247581"/>
                <a:ext cx="55080" cy="5508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080" extrusionOk="0">
                    <a:moveTo>
                      <a:pt x="55030" y="29349"/>
                    </a:moveTo>
                    <a:cubicBezTo>
                      <a:pt x="55934" y="14157"/>
                      <a:pt x="44540" y="955"/>
                      <a:pt x="29349" y="50"/>
                    </a:cubicBezTo>
                    <a:cubicBezTo>
                      <a:pt x="14157" y="-854"/>
                      <a:pt x="954" y="10540"/>
                      <a:pt x="50" y="25732"/>
                    </a:cubicBezTo>
                    <a:cubicBezTo>
                      <a:pt x="-854" y="40924"/>
                      <a:pt x="10540" y="54126"/>
                      <a:pt x="25732" y="55030"/>
                    </a:cubicBezTo>
                    <a:cubicBezTo>
                      <a:pt x="40923" y="55934"/>
                      <a:pt x="53945" y="44541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7" name="Google Shape;777;p21"/>
              <p:cNvSpPr/>
              <p:nvPr/>
            </p:nvSpPr>
            <p:spPr>
              <a:xfrm>
                <a:off x="8471097" y="5144281"/>
                <a:ext cx="85347" cy="85367"/>
              </a:xfrm>
              <a:custGeom>
                <a:avLst/>
                <a:gdLst/>
                <a:ahLst/>
                <a:cxnLst/>
                <a:rect l="l" t="t" r="r" b="b"/>
                <a:pathLst>
                  <a:path w="85347" h="85367" extrusionOk="0">
                    <a:moveTo>
                      <a:pt x="85265" y="45477"/>
                    </a:moveTo>
                    <a:cubicBezTo>
                      <a:pt x="86712" y="21966"/>
                      <a:pt x="68988" y="1530"/>
                      <a:pt x="45477" y="83"/>
                    </a:cubicBezTo>
                    <a:cubicBezTo>
                      <a:pt x="21966" y="-1364"/>
                      <a:pt x="1529" y="16359"/>
                      <a:pt x="83" y="39871"/>
                    </a:cubicBezTo>
                    <a:cubicBezTo>
                      <a:pt x="-1364" y="63382"/>
                      <a:pt x="16360" y="83818"/>
                      <a:pt x="39871" y="85265"/>
                    </a:cubicBezTo>
                    <a:cubicBezTo>
                      <a:pt x="63382" y="86893"/>
                      <a:pt x="83637" y="68988"/>
                      <a:pt x="85265" y="454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8" name="Google Shape;778;p21"/>
              <p:cNvSpPr/>
              <p:nvPr/>
            </p:nvSpPr>
            <p:spPr>
              <a:xfrm>
                <a:off x="8941026" y="4978506"/>
                <a:ext cx="7442" cy="7443"/>
              </a:xfrm>
              <a:custGeom>
                <a:avLst/>
                <a:gdLst/>
                <a:ahLst/>
                <a:cxnLst/>
                <a:rect l="l" t="t" r="r" b="b"/>
                <a:pathLst>
                  <a:path w="7442" h="7443" extrusionOk="0">
                    <a:moveTo>
                      <a:pt x="7429" y="3992"/>
                    </a:moveTo>
                    <a:cubicBezTo>
                      <a:pt x="7610" y="2003"/>
                      <a:pt x="5982" y="195"/>
                      <a:pt x="3992" y="14"/>
                    </a:cubicBezTo>
                    <a:cubicBezTo>
                      <a:pt x="2003" y="-167"/>
                      <a:pt x="195" y="1460"/>
                      <a:pt x="14" y="3450"/>
                    </a:cubicBezTo>
                    <a:cubicBezTo>
                      <a:pt x="-167" y="5439"/>
                      <a:pt x="1460" y="7248"/>
                      <a:pt x="3450" y="7429"/>
                    </a:cubicBezTo>
                    <a:cubicBezTo>
                      <a:pt x="5439" y="7610"/>
                      <a:pt x="7248" y="6163"/>
                      <a:pt x="7429" y="39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79" name="Google Shape;779;p21"/>
              <p:cNvSpPr/>
              <p:nvPr/>
            </p:nvSpPr>
            <p:spPr>
              <a:xfrm>
                <a:off x="9548275" y="5175035"/>
                <a:ext cx="73212" cy="73212"/>
              </a:xfrm>
              <a:custGeom>
                <a:avLst/>
                <a:gdLst/>
                <a:ahLst/>
                <a:cxnLst/>
                <a:rect l="l" t="t" r="r" b="b"/>
                <a:pathLst>
                  <a:path w="73212" h="73212" extrusionOk="0">
                    <a:moveTo>
                      <a:pt x="73139" y="38957"/>
                    </a:moveTo>
                    <a:cubicBezTo>
                      <a:pt x="74405" y="18702"/>
                      <a:pt x="59213" y="1340"/>
                      <a:pt x="38957" y="74"/>
                    </a:cubicBezTo>
                    <a:cubicBezTo>
                      <a:pt x="18702" y="-1192"/>
                      <a:pt x="1340" y="14000"/>
                      <a:pt x="74" y="34255"/>
                    </a:cubicBezTo>
                    <a:cubicBezTo>
                      <a:pt x="-1192" y="54511"/>
                      <a:pt x="14000" y="71873"/>
                      <a:pt x="34255" y="73139"/>
                    </a:cubicBezTo>
                    <a:cubicBezTo>
                      <a:pt x="54330" y="74405"/>
                      <a:pt x="71692" y="59213"/>
                      <a:pt x="73139" y="389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0" name="Google Shape;780;p21"/>
              <p:cNvSpPr/>
              <p:nvPr/>
            </p:nvSpPr>
            <p:spPr>
              <a:xfrm>
                <a:off x="8708938" y="5244492"/>
                <a:ext cx="61258" cy="61278"/>
              </a:xfrm>
              <a:custGeom>
                <a:avLst/>
                <a:gdLst/>
                <a:ahLst/>
                <a:cxnLst/>
                <a:rect l="l" t="t" r="r" b="b"/>
                <a:pathLst>
                  <a:path w="61258" h="61278" extrusionOk="0">
                    <a:moveTo>
                      <a:pt x="61194" y="32619"/>
                    </a:moveTo>
                    <a:cubicBezTo>
                      <a:pt x="62279" y="15799"/>
                      <a:pt x="49619" y="1150"/>
                      <a:pt x="32619" y="65"/>
                    </a:cubicBezTo>
                    <a:cubicBezTo>
                      <a:pt x="15799" y="-1020"/>
                      <a:pt x="1331" y="11640"/>
                      <a:pt x="65" y="28640"/>
                    </a:cubicBezTo>
                    <a:cubicBezTo>
                      <a:pt x="-1020" y="45459"/>
                      <a:pt x="11640" y="59928"/>
                      <a:pt x="28640" y="61194"/>
                    </a:cubicBezTo>
                    <a:cubicBezTo>
                      <a:pt x="45640" y="62460"/>
                      <a:pt x="60109" y="49438"/>
                      <a:pt x="61194" y="3261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1" name="Google Shape;781;p21"/>
              <p:cNvSpPr/>
              <p:nvPr/>
            </p:nvSpPr>
            <p:spPr>
              <a:xfrm>
                <a:off x="9802963" y="6496764"/>
                <a:ext cx="34600" cy="34621"/>
              </a:xfrm>
              <a:custGeom>
                <a:avLst/>
                <a:gdLst/>
                <a:ahLst/>
                <a:cxnLst/>
                <a:rect l="l" t="t" r="r" b="b"/>
                <a:pathLst>
                  <a:path w="34600" h="34621" extrusionOk="0">
                    <a:moveTo>
                      <a:pt x="34572" y="18476"/>
                    </a:moveTo>
                    <a:cubicBezTo>
                      <a:pt x="35114" y="8890"/>
                      <a:pt x="27880" y="752"/>
                      <a:pt x="18476" y="29"/>
                    </a:cubicBezTo>
                    <a:cubicBezTo>
                      <a:pt x="8891" y="-514"/>
                      <a:pt x="752" y="6720"/>
                      <a:pt x="29" y="16124"/>
                    </a:cubicBezTo>
                    <a:cubicBezTo>
                      <a:pt x="-514" y="25710"/>
                      <a:pt x="6720" y="33848"/>
                      <a:pt x="16125" y="34572"/>
                    </a:cubicBezTo>
                    <a:cubicBezTo>
                      <a:pt x="25710" y="35295"/>
                      <a:pt x="33848" y="28061"/>
                      <a:pt x="34572" y="184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2" name="Google Shape;782;p21"/>
              <p:cNvSpPr/>
              <p:nvPr/>
            </p:nvSpPr>
            <p:spPr>
              <a:xfrm>
                <a:off x="9535826" y="5418495"/>
                <a:ext cx="39513" cy="39514"/>
              </a:xfrm>
              <a:custGeom>
                <a:avLst/>
                <a:gdLst/>
                <a:ahLst/>
                <a:cxnLst/>
                <a:rect l="l" t="t" r="r" b="b"/>
                <a:pathLst>
                  <a:path w="39513" h="39514" extrusionOk="0">
                    <a:moveTo>
                      <a:pt x="39470" y="21023"/>
                    </a:moveTo>
                    <a:cubicBezTo>
                      <a:pt x="40194" y="10172"/>
                      <a:pt x="31874" y="767"/>
                      <a:pt x="21023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342"/>
                      <a:pt x="7640" y="38747"/>
                      <a:pt x="18491" y="39470"/>
                    </a:cubicBezTo>
                    <a:cubicBezTo>
                      <a:pt x="29342" y="40194"/>
                      <a:pt x="38928" y="31874"/>
                      <a:pt x="39470" y="210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3" name="Google Shape;783;p21"/>
              <p:cNvSpPr/>
              <p:nvPr/>
            </p:nvSpPr>
            <p:spPr>
              <a:xfrm>
                <a:off x="8476853" y="5978552"/>
                <a:ext cx="95516" cy="95517"/>
              </a:xfrm>
              <a:custGeom>
                <a:avLst/>
                <a:gdLst/>
                <a:ahLst/>
                <a:cxnLst/>
                <a:rect l="l" t="t" r="r" b="b"/>
                <a:pathLst>
                  <a:path w="95516" h="95517" extrusionOk="0">
                    <a:moveTo>
                      <a:pt x="95424" y="50913"/>
                    </a:moveTo>
                    <a:cubicBezTo>
                      <a:pt x="97051" y="24689"/>
                      <a:pt x="77157" y="1901"/>
                      <a:pt x="50933" y="93"/>
                    </a:cubicBezTo>
                    <a:cubicBezTo>
                      <a:pt x="24709" y="-1534"/>
                      <a:pt x="1922" y="18359"/>
                      <a:pt x="113" y="44583"/>
                    </a:cubicBezTo>
                    <a:cubicBezTo>
                      <a:pt x="-1695" y="70807"/>
                      <a:pt x="18380" y="93595"/>
                      <a:pt x="44603" y="95403"/>
                    </a:cubicBezTo>
                    <a:cubicBezTo>
                      <a:pt x="71008" y="97212"/>
                      <a:pt x="93796" y="77318"/>
                      <a:pt x="95424" y="509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4" name="Google Shape;784;p21"/>
              <p:cNvSpPr/>
              <p:nvPr/>
            </p:nvSpPr>
            <p:spPr>
              <a:xfrm>
                <a:off x="9811648" y="6505630"/>
                <a:ext cx="17050" cy="17050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50" extrusionOk="0">
                    <a:moveTo>
                      <a:pt x="17025" y="9068"/>
                    </a:moveTo>
                    <a:cubicBezTo>
                      <a:pt x="17387" y="4366"/>
                      <a:pt x="13770" y="387"/>
                      <a:pt x="9068" y="25"/>
                    </a:cubicBezTo>
                    <a:cubicBezTo>
                      <a:pt x="4366" y="-337"/>
                      <a:pt x="387" y="3280"/>
                      <a:pt x="25" y="7983"/>
                    </a:cubicBezTo>
                    <a:cubicBezTo>
                      <a:pt x="-337" y="12685"/>
                      <a:pt x="3280" y="16664"/>
                      <a:pt x="7983" y="17025"/>
                    </a:cubicBezTo>
                    <a:cubicBezTo>
                      <a:pt x="12685" y="17387"/>
                      <a:pt x="16663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5" name="Google Shape;785;p21"/>
              <p:cNvSpPr/>
              <p:nvPr/>
            </p:nvSpPr>
            <p:spPr>
              <a:xfrm>
                <a:off x="10207870" y="6132678"/>
                <a:ext cx="49302" cy="49302"/>
              </a:xfrm>
              <a:custGeom>
                <a:avLst/>
                <a:gdLst/>
                <a:ahLst/>
                <a:cxnLst/>
                <a:rect l="l" t="t" r="r" b="b"/>
                <a:pathLst>
                  <a:path w="49302" h="49302" extrusionOk="0">
                    <a:moveTo>
                      <a:pt x="49248" y="26279"/>
                    </a:moveTo>
                    <a:cubicBezTo>
                      <a:pt x="50152" y="12715"/>
                      <a:pt x="39843" y="959"/>
                      <a:pt x="26279" y="55"/>
                    </a:cubicBezTo>
                    <a:cubicBezTo>
                      <a:pt x="12715" y="-849"/>
                      <a:pt x="960" y="9459"/>
                      <a:pt x="55" y="23024"/>
                    </a:cubicBezTo>
                    <a:cubicBezTo>
                      <a:pt x="-849" y="36588"/>
                      <a:pt x="9460" y="48344"/>
                      <a:pt x="23024" y="49248"/>
                    </a:cubicBezTo>
                    <a:cubicBezTo>
                      <a:pt x="36588" y="50152"/>
                      <a:pt x="48343" y="39843"/>
                      <a:pt x="4924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6" name="Google Shape;786;p21"/>
              <p:cNvSpPr/>
              <p:nvPr/>
            </p:nvSpPr>
            <p:spPr>
              <a:xfrm>
                <a:off x="9547599" y="5430268"/>
                <a:ext cx="16148" cy="15968"/>
              </a:xfrm>
              <a:custGeom>
                <a:avLst/>
                <a:gdLst/>
                <a:ahLst/>
                <a:cxnLst/>
                <a:rect l="l" t="t" r="r" b="b"/>
                <a:pathLst>
                  <a:path w="16148" h="15968" extrusionOk="0">
                    <a:moveTo>
                      <a:pt x="16122" y="8526"/>
                    </a:moveTo>
                    <a:cubicBezTo>
                      <a:pt x="16484" y="4005"/>
                      <a:pt x="13048" y="207"/>
                      <a:pt x="8526" y="26"/>
                    </a:cubicBezTo>
                    <a:cubicBezTo>
                      <a:pt x="4005" y="-336"/>
                      <a:pt x="207" y="3101"/>
                      <a:pt x="26" y="7441"/>
                    </a:cubicBezTo>
                    <a:cubicBezTo>
                      <a:pt x="-336" y="11963"/>
                      <a:pt x="3101" y="15760"/>
                      <a:pt x="7622" y="15941"/>
                    </a:cubicBezTo>
                    <a:cubicBezTo>
                      <a:pt x="11962" y="16303"/>
                      <a:pt x="15941" y="13048"/>
                      <a:pt x="16122" y="85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7" name="Google Shape;787;p21"/>
              <p:cNvSpPr/>
              <p:nvPr/>
            </p:nvSpPr>
            <p:spPr>
              <a:xfrm>
                <a:off x="12748199" y="2168758"/>
                <a:ext cx="13941" cy="13942"/>
              </a:xfrm>
              <a:custGeom>
                <a:avLst/>
                <a:gdLst/>
                <a:ahLst/>
                <a:cxnLst/>
                <a:rect l="l" t="t" r="r" b="b"/>
                <a:pathLst>
                  <a:path w="13941" h="13942" extrusionOk="0">
                    <a:moveTo>
                      <a:pt x="13934" y="7423"/>
                    </a:moveTo>
                    <a:cubicBezTo>
                      <a:pt x="14115" y="3625"/>
                      <a:pt x="11221" y="189"/>
                      <a:pt x="7423" y="8"/>
                    </a:cubicBezTo>
                    <a:cubicBezTo>
                      <a:pt x="3625" y="-173"/>
                      <a:pt x="189" y="2721"/>
                      <a:pt x="8" y="6519"/>
                    </a:cubicBezTo>
                    <a:cubicBezTo>
                      <a:pt x="-173" y="10317"/>
                      <a:pt x="2721" y="13753"/>
                      <a:pt x="6519" y="13934"/>
                    </a:cubicBezTo>
                    <a:cubicBezTo>
                      <a:pt x="10317" y="14115"/>
                      <a:pt x="13572" y="11402"/>
                      <a:pt x="13934" y="742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8" name="Google Shape;788;p21"/>
              <p:cNvSpPr/>
              <p:nvPr/>
            </p:nvSpPr>
            <p:spPr>
              <a:xfrm>
                <a:off x="12471441" y="2422626"/>
                <a:ext cx="45874" cy="45853"/>
              </a:xfrm>
              <a:custGeom>
                <a:avLst/>
                <a:gdLst/>
                <a:ahLst/>
                <a:cxnLst/>
                <a:rect l="l" t="t" r="r" b="b"/>
                <a:pathLst>
                  <a:path w="45874" h="45853" extrusionOk="0">
                    <a:moveTo>
                      <a:pt x="45815" y="24474"/>
                    </a:moveTo>
                    <a:cubicBezTo>
                      <a:pt x="46720" y="11815"/>
                      <a:pt x="37135" y="963"/>
                      <a:pt x="24475" y="59"/>
                    </a:cubicBezTo>
                    <a:cubicBezTo>
                      <a:pt x="11815" y="-845"/>
                      <a:pt x="964" y="8740"/>
                      <a:pt x="59" y="21400"/>
                    </a:cubicBezTo>
                    <a:cubicBezTo>
                      <a:pt x="-845" y="34060"/>
                      <a:pt x="8740" y="44911"/>
                      <a:pt x="21400" y="45815"/>
                    </a:cubicBezTo>
                    <a:cubicBezTo>
                      <a:pt x="34060" y="46539"/>
                      <a:pt x="44911" y="36953"/>
                      <a:pt x="45815" y="2447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89" name="Google Shape;789;p21"/>
              <p:cNvSpPr/>
              <p:nvPr/>
            </p:nvSpPr>
            <p:spPr>
              <a:xfrm>
                <a:off x="12479966" y="2430970"/>
                <a:ext cx="28824" cy="28848"/>
              </a:xfrm>
              <a:custGeom>
                <a:avLst/>
                <a:gdLst/>
                <a:ahLst/>
                <a:cxnLst/>
                <a:rect l="l" t="t" r="r" b="b"/>
                <a:pathLst>
                  <a:path w="28824" h="28848" extrusionOk="0">
                    <a:moveTo>
                      <a:pt x="28791" y="15407"/>
                    </a:moveTo>
                    <a:cubicBezTo>
                      <a:pt x="29333" y="7449"/>
                      <a:pt x="23365" y="577"/>
                      <a:pt x="15407" y="34"/>
                    </a:cubicBezTo>
                    <a:cubicBezTo>
                      <a:pt x="7449" y="-508"/>
                      <a:pt x="577" y="5460"/>
                      <a:pt x="34" y="13417"/>
                    </a:cubicBezTo>
                    <a:cubicBezTo>
                      <a:pt x="-508" y="21375"/>
                      <a:pt x="5460" y="28248"/>
                      <a:pt x="13418" y="28790"/>
                    </a:cubicBezTo>
                    <a:cubicBezTo>
                      <a:pt x="21375" y="29514"/>
                      <a:pt x="28247" y="23364"/>
                      <a:pt x="28791" y="154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0" name="Google Shape;790;p21"/>
              <p:cNvSpPr/>
              <p:nvPr/>
            </p:nvSpPr>
            <p:spPr>
              <a:xfrm>
                <a:off x="11990362" y="5113734"/>
                <a:ext cx="60896" cy="60896"/>
              </a:xfrm>
              <a:custGeom>
                <a:avLst/>
                <a:gdLst/>
                <a:ahLst/>
                <a:cxnLst/>
                <a:rect l="l" t="t" r="r" b="b"/>
                <a:pathLst>
                  <a:path w="60896" h="60896" extrusionOk="0">
                    <a:moveTo>
                      <a:pt x="60832" y="32438"/>
                    </a:moveTo>
                    <a:cubicBezTo>
                      <a:pt x="61917" y="15618"/>
                      <a:pt x="49258" y="1150"/>
                      <a:pt x="32438" y="65"/>
                    </a:cubicBezTo>
                    <a:cubicBezTo>
                      <a:pt x="15618" y="-1020"/>
                      <a:pt x="1150" y="11640"/>
                      <a:pt x="65" y="28459"/>
                    </a:cubicBezTo>
                    <a:cubicBezTo>
                      <a:pt x="-1020" y="45278"/>
                      <a:pt x="11640" y="59747"/>
                      <a:pt x="28459" y="60832"/>
                    </a:cubicBezTo>
                    <a:cubicBezTo>
                      <a:pt x="45098" y="61917"/>
                      <a:pt x="59747" y="49257"/>
                      <a:pt x="60832" y="32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1" name="Google Shape;791;p21"/>
              <p:cNvSpPr/>
              <p:nvPr/>
            </p:nvSpPr>
            <p:spPr>
              <a:xfrm>
                <a:off x="11891294" y="5718732"/>
                <a:ext cx="16688" cy="16688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88" extrusionOk="0">
                    <a:moveTo>
                      <a:pt x="16664" y="8887"/>
                    </a:moveTo>
                    <a:cubicBezTo>
                      <a:pt x="17025" y="4366"/>
                      <a:pt x="13408" y="387"/>
                      <a:pt x="8887" y="25"/>
                    </a:cubicBezTo>
                    <a:cubicBezTo>
                      <a:pt x="4366" y="-337"/>
                      <a:pt x="387" y="3280"/>
                      <a:pt x="25" y="7802"/>
                    </a:cubicBezTo>
                    <a:cubicBezTo>
                      <a:pt x="-337" y="12323"/>
                      <a:pt x="3280" y="16302"/>
                      <a:pt x="7802" y="16664"/>
                    </a:cubicBezTo>
                    <a:cubicBezTo>
                      <a:pt x="12504" y="17025"/>
                      <a:pt x="16483" y="13408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2" name="Google Shape;792;p21"/>
              <p:cNvSpPr/>
              <p:nvPr/>
            </p:nvSpPr>
            <p:spPr>
              <a:xfrm>
                <a:off x="11794825" y="5106648"/>
                <a:ext cx="90442" cy="90441"/>
              </a:xfrm>
              <a:custGeom>
                <a:avLst/>
                <a:gdLst/>
                <a:ahLst/>
                <a:cxnLst/>
                <a:rect l="l" t="t" r="r" b="b"/>
                <a:pathLst>
                  <a:path w="90442" h="90441" extrusionOk="0">
                    <a:moveTo>
                      <a:pt x="90345" y="48205"/>
                    </a:moveTo>
                    <a:cubicBezTo>
                      <a:pt x="91972" y="23247"/>
                      <a:pt x="73164" y="1726"/>
                      <a:pt x="48206" y="98"/>
                    </a:cubicBezTo>
                    <a:cubicBezTo>
                      <a:pt x="23247" y="-1529"/>
                      <a:pt x="1726" y="17279"/>
                      <a:pt x="98" y="42237"/>
                    </a:cubicBezTo>
                    <a:cubicBezTo>
                      <a:pt x="-1529" y="67195"/>
                      <a:pt x="17279" y="88717"/>
                      <a:pt x="42237" y="90344"/>
                    </a:cubicBezTo>
                    <a:cubicBezTo>
                      <a:pt x="67195" y="91972"/>
                      <a:pt x="88717" y="72982"/>
                      <a:pt x="90345" y="482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3" name="Google Shape;793;p21"/>
              <p:cNvSpPr/>
              <p:nvPr/>
            </p:nvSpPr>
            <p:spPr>
              <a:xfrm>
                <a:off x="12004864" y="5128417"/>
                <a:ext cx="31531" cy="31531"/>
              </a:xfrm>
              <a:custGeom>
                <a:avLst/>
                <a:gdLst/>
                <a:ahLst/>
                <a:cxnLst/>
                <a:rect l="l" t="t" r="r" b="b"/>
                <a:pathLst>
                  <a:path w="31531" h="31531" extrusionOk="0">
                    <a:moveTo>
                      <a:pt x="31500" y="16851"/>
                    </a:moveTo>
                    <a:cubicBezTo>
                      <a:pt x="32043" y="8170"/>
                      <a:pt x="25532" y="755"/>
                      <a:pt x="16851" y="32"/>
                    </a:cubicBezTo>
                    <a:cubicBezTo>
                      <a:pt x="8170" y="-511"/>
                      <a:pt x="755" y="6000"/>
                      <a:pt x="32" y="14681"/>
                    </a:cubicBezTo>
                    <a:cubicBezTo>
                      <a:pt x="-511" y="23362"/>
                      <a:pt x="6000" y="30777"/>
                      <a:pt x="14681" y="31500"/>
                    </a:cubicBezTo>
                    <a:cubicBezTo>
                      <a:pt x="23542" y="32043"/>
                      <a:pt x="30958" y="25532"/>
                      <a:pt x="31500" y="168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4" name="Google Shape;794;p21"/>
              <p:cNvSpPr/>
              <p:nvPr/>
            </p:nvSpPr>
            <p:spPr>
              <a:xfrm>
                <a:off x="12523195" y="5669897"/>
                <a:ext cx="34059" cy="34059"/>
              </a:xfrm>
              <a:custGeom>
                <a:avLst/>
                <a:gdLst/>
                <a:ahLst/>
                <a:cxnLst/>
                <a:rect l="l" t="t" r="r" b="b"/>
                <a:pathLst>
                  <a:path w="34059" h="34059" extrusionOk="0">
                    <a:moveTo>
                      <a:pt x="34030" y="18115"/>
                    </a:moveTo>
                    <a:cubicBezTo>
                      <a:pt x="34573" y="8710"/>
                      <a:pt x="27519" y="572"/>
                      <a:pt x="18115" y="29"/>
                    </a:cubicBezTo>
                    <a:cubicBezTo>
                      <a:pt x="8711" y="-513"/>
                      <a:pt x="572" y="6540"/>
                      <a:pt x="29" y="15945"/>
                    </a:cubicBezTo>
                    <a:cubicBezTo>
                      <a:pt x="-513" y="25349"/>
                      <a:pt x="6540" y="33487"/>
                      <a:pt x="15945" y="34030"/>
                    </a:cubicBezTo>
                    <a:cubicBezTo>
                      <a:pt x="25349" y="34573"/>
                      <a:pt x="33488" y="27519"/>
                      <a:pt x="34030" y="181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5" name="Google Shape;795;p21"/>
              <p:cNvSpPr/>
              <p:nvPr/>
            </p:nvSpPr>
            <p:spPr>
              <a:xfrm>
                <a:off x="11863754" y="5691193"/>
                <a:ext cx="71767" cy="71767"/>
              </a:xfrm>
              <a:custGeom>
                <a:avLst/>
                <a:gdLst/>
                <a:ahLst/>
                <a:cxnLst/>
                <a:rect l="l" t="t" r="r" b="b"/>
                <a:pathLst>
                  <a:path w="71767" h="71767" extrusionOk="0">
                    <a:moveTo>
                      <a:pt x="71693" y="38235"/>
                    </a:moveTo>
                    <a:cubicBezTo>
                      <a:pt x="72959" y="18522"/>
                      <a:pt x="57948" y="1341"/>
                      <a:pt x="38235" y="75"/>
                    </a:cubicBezTo>
                    <a:cubicBezTo>
                      <a:pt x="18522" y="-1191"/>
                      <a:pt x="1341" y="13820"/>
                      <a:pt x="75" y="33533"/>
                    </a:cubicBezTo>
                    <a:cubicBezTo>
                      <a:pt x="-1191" y="53246"/>
                      <a:pt x="13820" y="70427"/>
                      <a:pt x="33533" y="71693"/>
                    </a:cubicBezTo>
                    <a:cubicBezTo>
                      <a:pt x="53427" y="72959"/>
                      <a:pt x="70427" y="57948"/>
                      <a:pt x="71693" y="382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6" name="Google Shape;796;p21"/>
              <p:cNvSpPr/>
              <p:nvPr/>
            </p:nvSpPr>
            <p:spPr>
              <a:xfrm>
                <a:off x="12008113" y="5131666"/>
                <a:ext cx="25213" cy="25194"/>
              </a:xfrm>
              <a:custGeom>
                <a:avLst/>
                <a:gdLst/>
                <a:ahLst/>
                <a:cxnLst/>
                <a:rect l="l" t="t" r="r" b="b"/>
                <a:pathLst>
                  <a:path w="25213" h="25194" extrusionOk="0">
                    <a:moveTo>
                      <a:pt x="25176" y="13421"/>
                    </a:moveTo>
                    <a:cubicBezTo>
                      <a:pt x="25719" y="6367"/>
                      <a:pt x="20293" y="399"/>
                      <a:pt x="13421" y="37"/>
                    </a:cubicBezTo>
                    <a:cubicBezTo>
                      <a:pt x="6367" y="-505"/>
                      <a:pt x="399" y="4921"/>
                      <a:pt x="37" y="11793"/>
                    </a:cubicBezTo>
                    <a:cubicBezTo>
                      <a:pt x="-505" y="18846"/>
                      <a:pt x="4920" y="24815"/>
                      <a:pt x="11793" y="25176"/>
                    </a:cubicBezTo>
                    <a:cubicBezTo>
                      <a:pt x="18846" y="25538"/>
                      <a:pt x="24814" y="20293"/>
                      <a:pt x="25176" y="134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7" name="Google Shape;797;p21"/>
              <p:cNvSpPr/>
              <p:nvPr/>
            </p:nvSpPr>
            <p:spPr>
              <a:xfrm>
                <a:off x="12527347" y="5674049"/>
                <a:ext cx="25936" cy="25916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6" extrusionOk="0">
                    <a:moveTo>
                      <a:pt x="25899" y="13782"/>
                    </a:moveTo>
                    <a:cubicBezTo>
                      <a:pt x="26442" y="6548"/>
                      <a:pt x="21016" y="399"/>
                      <a:pt x="13782" y="37"/>
                    </a:cubicBezTo>
                    <a:cubicBezTo>
                      <a:pt x="6548" y="-505"/>
                      <a:pt x="399" y="4921"/>
                      <a:pt x="37" y="12155"/>
                    </a:cubicBezTo>
                    <a:cubicBezTo>
                      <a:pt x="-505" y="19389"/>
                      <a:pt x="4920" y="25538"/>
                      <a:pt x="12154" y="25900"/>
                    </a:cubicBezTo>
                    <a:cubicBezTo>
                      <a:pt x="19208" y="26261"/>
                      <a:pt x="25357" y="20836"/>
                      <a:pt x="25899" y="137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8" name="Google Shape;798;p21"/>
              <p:cNvSpPr/>
              <p:nvPr/>
            </p:nvSpPr>
            <p:spPr>
              <a:xfrm>
                <a:off x="12448842" y="5157696"/>
                <a:ext cx="53996" cy="53996"/>
              </a:xfrm>
              <a:custGeom>
                <a:avLst/>
                <a:gdLst/>
                <a:ahLst/>
                <a:cxnLst/>
                <a:rect l="l" t="t" r="r" b="b"/>
                <a:pathLst>
                  <a:path w="53996" h="53996" extrusionOk="0">
                    <a:moveTo>
                      <a:pt x="53946" y="28807"/>
                    </a:moveTo>
                    <a:cubicBezTo>
                      <a:pt x="54850" y="13977"/>
                      <a:pt x="43637" y="1136"/>
                      <a:pt x="28807" y="51"/>
                    </a:cubicBezTo>
                    <a:cubicBezTo>
                      <a:pt x="13977" y="-853"/>
                      <a:pt x="1137" y="10360"/>
                      <a:pt x="51" y="25190"/>
                    </a:cubicBezTo>
                    <a:cubicBezTo>
                      <a:pt x="-853" y="40020"/>
                      <a:pt x="10360" y="52861"/>
                      <a:pt x="25190" y="53946"/>
                    </a:cubicBezTo>
                    <a:cubicBezTo>
                      <a:pt x="40020" y="54850"/>
                      <a:pt x="52861" y="43637"/>
                      <a:pt x="53946" y="2880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799" name="Google Shape;799;p21"/>
              <p:cNvSpPr/>
              <p:nvPr/>
            </p:nvSpPr>
            <p:spPr>
              <a:xfrm>
                <a:off x="12603143" y="3913992"/>
                <a:ext cx="24091" cy="24110"/>
              </a:xfrm>
              <a:custGeom>
                <a:avLst/>
                <a:gdLst/>
                <a:ahLst/>
                <a:cxnLst/>
                <a:rect l="l" t="t" r="r" b="b"/>
                <a:pathLst>
                  <a:path w="24091" h="24110" extrusionOk="0">
                    <a:moveTo>
                      <a:pt x="24073" y="12859"/>
                    </a:moveTo>
                    <a:cubicBezTo>
                      <a:pt x="24434" y="6168"/>
                      <a:pt x="19551" y="561"/>
                      <a:pt x="12860" y="19"/>
                    </a:cubicBezTo>
                    <a:cubicBezTo>
                      <a:pt x="6168" y="-343"/>
                      <a:pt x="562" y="4540"/>
                      <a:pt x="19" y="11232"/>
                    </a:cubicBezTo>
                    <a:cubicBezTo>
                      <a:pt x="-343" y="17923"/>
                      <a:pt x="4540" y="23530"/>
                      <a:pt x="11232" y="24072"/>
                    </a:cubicBezTo>
                    <a:cubicBezTo>
                      <a:pt x="17924" y="24615"/>
                      <a:pt x="23530" y="19370"/>
                      <a:pt x="24073" y="128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0" name="Google Shape;800;p21"/>
              <p:cNvSpPr/>
              <p:nvPr/>
            </p:nvSpPr>
            <p:spPr>
              <a:xfrm>
                <a:off x="12301460" y="3910177"/>
                <a:ext cx="26839" cy="26838"/>
              </a:xfrm>
              <a:custGeom>
                <a:avLst/>
                <a:gdLst/>
                <a:ahLst/>
                <a:cxnLst/>
                <a:rect l="l" t="t" r="r" b="b"/>
                <a:pathLst>
                  <a:path w="26839" h="26838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345"/>
                      <a:pt x="26441" y="21739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1" name="Google Shape;801;p21"/>
              <p:cNvSpPr/>
              <p:nvPr/>
            </p:nvSpPr>
            <p:spPr>
              <a:xfrm>
                <a:off x="12572314" y="3883344"/>
                <a:ext cx="85548" cy="85547"/>
              </a:xfrm>
              <a:custGeom>
                <a:avLst/>
                <a:gdLst/>
                <a:ahLst/>
                <a:cxnLst/>
                <a:rect l="l" t="t" r="r" b="b"/>
                <a:pathLst>
                  <a:path w="85548" h="85547" extrusionOk="0">
                    <a:moveTo>
                      <a:pt x="85466" y="45497"/>
                    </a:moveTo>
                    <a:cubicBezTo>
                      <a:pt x="86913" y="21986"/>
                      <a:pt x="69189" y="1550"/>
                      <a:pt x="45497" y="103"/>
                    </a:cubicBezTo>
                    <a:cubicBezTo>
                      <a:pt x="21986" y="-1525"/>
                      <a:pt x="1549" y="16380"/>
                      <a:pt x="103" y="40071"/>
                    </a:cubicBezTo>
                    <a:cubicBezTo>
                      <a:pt x="-1525" y="63583"/>
                      <a:pt x="16380" y="84019"/>
                      <a:pt x="40071" y="85466"/>
                    </a:cubicBezTo>
                    <a:cubicBezTo>
                      <a:pt x="63583" y="86913"/>
                      <a:pt x="84019" y="69008"/>
                      <a:pt x="85466" y="4549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2" name="Google Shape;802;p21"/>
              <p:cNvSpPr/>
              <p:nvPr/>
            </p:nvSpPr>
            <p:spPr>
              <a:xfrm>
                <a:off x="12301641" y="3910357"/>
                <a:ext cx="26477" cy="26477"/>
              </a:xfrm>
              <a:custGeom>
                <a:avLst/>
                <a:gdLst/>
                <a:ahLst/>
                <a:cxnLst/>
                <a:rect l="l" t="t" r="r" b="b"/>
                <a:pathLst>
                  <a:path w="26477" h="26477" extrusionOk="0">
                    <a:moveTo>
                      <a:pt x="26441" y="14143"/>
                    </a:moveTo>
                    <a:cubicBezTo>
                      <a:pt x="26983" y="6909"/>
                      <a:pt x="21377" y="579"/>
                      <a:pt x="14143" y="36"/>
                    </a:cubicBezTo>
                    <a:cubicBezTo>
                      <a:pt x="6909" y="-506"/>
                      <a:pt x="579" y="5100"/>
                      <a:pt x="36" y="12335"/>
                    </a:cubicBezTo>
                    <a:cubicBezTo>
                      <a:pt x="-506" y="19569"/>
                      <a:pt x="5100" y="25899"/>
                      <a:pt x="12334" y="26441"/>
                    </a:cubicBezTo>
                    <a:cubicBezTo>
                      <a:pt x="19749" y="26984"/>
                      <a:pt x="25898" y="21377"/>
                      <a:pt x="26441" y="141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3" name="Google Shape;803;p21"/>
              <p:cNvSpPr/>
              <p:nvPr/>
            </p:nvSpPr>
            <p:spPr>
              <a:xfrm>
                <a:off x="12605311" y="3916159"/>
                <a:ext cx="19756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6" h="19756" extrusionOk="0">
                    <a:moveTo>
                      <a:pt x="19735" y="10512"/>
                    </a:moveTo>
                    <a:cubicBezTo>
                      <a:pt x="20097" y="5086"/>
                      <a:pt x="15937" y="384"/>
                      <a:pt x="10511" y="22"/>
                    </a:cubicBezTo>
                    <a:cubicBezTo>
                      <a:pt x="5086" y="-340"/>
                      <a:pt x="383" y="3820"/>
                      <a:pt x="22" y="9245"/>
                    </a:cubicBezTo>
                    <a:cubicBezTo>
                      <a:pt x="-340" y="14671"/>
                      <a:pt x="3820" y="19373"/>
                      <a:pt x="9245" y="19735"/>
                    </a:cubicBezTo>
                    <a:cubicBezTo>
                      <a:pt x="14671" y="20097"/>
                      <a:pt x="19373" y="15937"/>
                      <a:pt x="19735" y="1051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4" name="Google Shape;804;p21"/>
              <p:cNvSpPr/>
              <p:nvPr/>
            </p:nvSpPr>
            <p:spPr>
              <a:xfrm>
                <a:off x="11097491" y="3955550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5"/>
                      <a:pt x="38579" y="781"/>
                      <a:pt x="25377" y="57"/>
                    </a:cubicBezTo>
                    <a:cubicBezTo>
                      <a:pt x="12174" y="-847"/>
                      <a:pt x="780" y="9100"/>
                      <a:pt x="57" y="22302"/>
                    </a:cubicBezTo>
                    <a:cubicBezTo>
                      <a:pt x="-847" y="35505"/>
                      <a:pt x="9100" y="46899"/>
                      <a:pt x="22302" y="47622"/>
                    </a:cubicBezTo>
                    <a:cubicBezTo>
                      <a:pt x="35324" y="48526"/>
                      <a:pt x="46718" y="38579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5" name="Google Shape;805;p21"/>
              <p:cNvSpPr/>
              <p:nvPr/>
            </p:nvSpPr>
            <p:spPr>
              <a:xfrm>
                <a:off x="10679156" y="3167368"/>
                <a:ext cx="70324" cy="70323"/>
              </a:xfrm>
              <a:custGeom>
                <a:avLst/>
                <a:gdLst/>
                <a:ahLst/>
                <a:cxnLst/>
                <a:rect l="l" t="t" r="r" b="b"/>
                <a:pathLst>
                  <a:path w="70324" h="70323" extrusionOk="0">
                    <a:moveTo>
                      <a:pt x="70248" y="37513"/>
                    </a:moveTo>
                    <a:cubicBezTo>
                      <a:pt x="71514" y="18162"/>
                      <a:pt x="56865" y="1342"/>
                      <a:pt x="37513" y="76"/>
                    </a:cubicBezTo>
                    <a:cubicBezTo>
                      <a:pt x="18162" y="-1190"/>
                      <a:pt x="1342" y="13459"/>
                      <a:pt x="76" y="32811"/>
                    </a:cubicBezTo>
                    <a:cubicBezTo>
                      <a:pt x="-1190" y="52162"/>
                      <a:pt x="13460" y="68982"/>
                      <a:pt x="32811" y="70248"/>
                    </a:cubicBezTo>
                    <a:cubicBezTo>
                      <a:pt x="52162" y="71514"/>
                      <a:pt x="68982" y="56865"/>
                      <a:pt x="70248" y="375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6" name="Google Shape;806;p21"/>
              <p:cNvSpPr/>
              <p:nvPr/>
            </p:nvSpPr>
            <p:spPr>
              <a:xfrm>
                <a:off x="10203709" y="3532714"/>
                <a:ext cx="48038" cy="48038"/>
              </a:xfrm>
              <a:custGeom>
                <a:avLst/>
                <a:gdLst/>
                <a:ahLst/>
                <a:cxnLst/>
                <a:rect l="l" t="t" r="r" b="b"/>
                <a:pathLst>
                  <a:path w="48038" h="48038" extrusionOk="0">
                    <a:moveTo>
                      <a:pt x="47982" y="25557"/>
                    </a:moveTo>
                    <a:cubicBezTo>
                      <a:pt x="48887" y="12354"/>
                      <a:pt x="38759" y="960"/>
                      <a:pt x="25557" y="56"/>
                    </a:cubicBezTo>
                    <a:cubicBezTo>
                      <a:pt x="12354" y="-848"/>
                      <a:pt x="960" y="9280"/>
                      <a:pt x="56" y="22482"/>
                    </a:cubicBezTo>
                    <a:cubicBezTo>
                      <a:pt x="-848" y="35685"/>
                      <a:pt x="9280" y="47078"/>
                      <a:pt x="22482" y="47983"/>
                    </a:cubicBezTo>
                    <a:cubicBezTo>
                      <a:pt x="35685" y="48887"/>
                      <a:pt x="47078" y="38759"/>
                      <a:pt x="47982" y="255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7" name="Google Shape;807;p21"/>
              <p:cNvSpPr/>
              <p:nvPr/>
            </p:nvSpPr>
            <p:spPr>
              <a:xfrm>
                <a:off x="11107280" y="3965520"/>
                <a:ext cx="27920" cy="27921"/>
              </a:xfrm>
              <a:custGeom>
                <a:avLst/>
                <a:gdLst/>
                <a:ahLst/>
                <a:cxnLst/>
                <a:rect l="l" t="t" r="r" b="b"/>
                <a:pathLst>
                  <a:path w="27920" h="27921" extrusionOk="0">
                    <a:moveTo>
                      <a:pt x="27886" y="14864"/>
                    </a:moveTo>
                    <a:cubicBezTo>
                      <a:pt x="28429" y="7088"/>
                      <a:pt x="22460" y="396"/>
                      <a:pt x="14864" y="34"/>
                    </a:cubicBezTo>
                    <a:cubicBezTo>
                      <a:pt x="7088" y="-508"/>
                      <a:pt x="396" y="5460"/>
                      <a:pt x="34" y="13056"/>
                    </a:cubicBezTo>
                    <a:cubicBezTo>
                      <a:pt x="-508" y="20833"/>
                      <a:pt x="5460" y="27524"/>
                      <a:pt x="13056" y="27886"/>
                    </a:cubicBezTo>
                    <a:cubicBezTo>
                      <a:pt x="20833" y="28429"/>
                      <a:pt x="27524" y="22641"/>
                      <a:pt x="27886" y="148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8" name="Google Shape;808;p21"/>
              <p:cNvSpPr/>
              <p:nvPr/>
            </p:nvSpPr>
            <p:spPr>
              <a:xfrm>
                <a:off x="11099526" y="3050781"/>
                <a:ext cx="9427" cy="9427"/>
              </a:xfrm>
              <a:custGeom>
                <a:avLst/>
                <a:gdLst/>
                <a:ahLst/>
                <a:cxnLst/>
                <a:rect l="l" t="t" r="r" b="b"/>
                <a:pathLst>
                  <a:path w="9427" h="9427" extrusionOk="0">
                    <a:moveTo>
                      <a:pt x="9416" y="5075"/>
                    </a:moveTo>
                    <a:cubicBezTo>
                      <a:pt x="9597" y="2543"/>
                      <a:pt x="7607" y="192"/>
                      <a:pt x="5075" y="11"/>
                    </a:cubicBezTo>
                    <a:cubicBezTo>
                      <a:pt x="2543" y="-169"/>
                      <a:pt x="192" y="1820"/>
                      <a:pt x="11" y="4352"/>
                    </a:cubicBezTo>
                    <a:cubicBezTo>
                      <a:pt x="-169" y="6884"/>
                      <a:pt x="1820" y="9235"/>
                      <a:pt x="4352" y="9416"/>
                    </a:cubicBezTo>
                    <a:cubicBezTo>
                      <a:pt x="6884" y="9597"/>
                      <a:pt x="9235" y="7607"/>
                      <a:pt x="9416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09" name="Google Shape;809;p21"/>
              <p:cNvSpPr/>
              <p:nvPr/>
            </p:nvSpPr>
            <p:spPr>
              <a:xfrm>
                <a:off x="10699996" y="3188208"/>
                <a:ext cx="28643" cy="28643"/>
              </a:xfrm>
              <a:custGeom>
                <a:avLst/>
                <a:gdLst/>
                <a:ahLst/>
                <a:cxnLst/>
                <a:rect l="l" t="t" r="r" b="b"/>
                <a:pathLst>
                  <a:path w="28643" h="28643" extrusionOk="0">
                    <a:moveTo>
                      <a:pt x="28609" y="15226"/>
                    </a:moveTo>
                    <a:cubicBezTo>
                      <a:pt x="29152" y="7268"/>
                      <a:pt x="23184" y="577"/>
                      <a:pt x="15226" y="34"/>
                    </a:cubicBezTo>
                    <a:cubicBezTo>
                      <a:pt x="7268" y="-508"/>
                      <a:pt x="577" y="5460"/>
                      <a:pt x="34" y="13417"/>
                    </a:cubicBezTo>
                    <a:cubicBezTo>
                      <a:pt x="-508" y="21375"/>
                      <a:pt x="5460" y="28067"/>
                      <a:pt x="13417" y="28609"/>
                    </a:cubicBezTo>
                    <a:cubicBezTo>
                      <a:pt x="21194" y="29152"/>
                      <a:pt x="28066" y="23184"/>
                      <a:pt x="28609" y="152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0" name="Google Shape;810;p21"/>
              <p:cNvSpPr/>
              <p:nvPr/>
            </p:nvSpPr>
            <p:spPr>
              <a:xfrm>
                <a:off x="11100942" y="3959001"/>
                <a:ext cx="40778" cy="40778"/>
              </a:xfrm>
              <a:custGeom>
                <a:avLst/>
                <a:gdLst/>
                <a:ahLst/>
                <a:cxnLst/>
                <a:rect l="l" t="t" r="r" b="b"/>
                <a:pathLst>
                  <a:path w="40778" h="40778" extrusionOk="0">
                    <a:moveTo>
                      <a:pt x="40735" y="21745"/>
                    </a:moveTo>
                    <a:cubicBezTo>
                      <a:pt x="41459" y="10533"/>
                      <a:pt x="32958" y="767"/>
                      <a:pt x="21745" y="43"/>
                    </a:cubicBezTo>
                    <a:cubicBezTo>
                      <a:pt x="10533" y="-680"/>
                      <a:pt x="766" y="7820"/>
                      <a:pt x="43" y="19033"/>
                    </a:cubicBezTo>
                    <a:cubicBezTo>
                      <a:pt x="-681" y="30246"/>
                      <a:pt x="7820" y="40012"/>
                      <a:pt x="19033" y="40735"/>
                    </a:cubicBezTo>
                    <a:cubicBezTo>
                      <a:pt x="30246" y="41459"/>
                      <a:pt x="40012" y="32959"/>
                      <a:pt x="40735" y="2174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1" name="Google Shape;811;p21"/>
              <p:cNvSpPr/>
              <p:nvPr/>
            </p:nvSpPr>
            <p:spPr>
              <a:xfrm>
                <a:off x="11095715" y="3046789"/>
                <a:ext cx="17411" cy="17411"/>
              </a:xfrm>
              <a:custGeom>
                <a:avLst/>
                <a:gdLst/>
                <a:ahLst/>
                <a:cxnLst/>
                <a:rect l="l" t="t" r="r" b="b"/>
                <a:pathLst>
                  <a:path w="17411" h="17411" extrusionOk="0">
                    <a:moveTo>
                      <a:pt x="17387" y="9249"/>
                    </a:moveTo>
                    <a:cubicBezTo>
                      <a:pt x="17749" y="4365"/>
                      <a:pt x="14132" y="206"/>
                      <a:pt x="9249" y="25"/>
                    </a:cubicBezTo>
                    <a:cubicBezTo>
                      <a:pt x="4366" y="-337"/>
                      <a:pt x="206" y="3280"/>
                      <a:pt x="25" y="8163"/>
                    </a:cubicBezTo>
                    <a:cubicBezTo>
                      <a:pt x="-337" y="13046"/>
                      <a:pt x="3280" y="17206"/>
                      <a:pt x="8164" y="17387"/>
                    </a:cubicBezTo>
                    <a:cubicBezTo>
                      <a:pt x="12866" y="17749"/>
                      <a:pt x="17025" y="14132"/>
                      <a:pt x="17387" y="92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2" name="Google Shape;812;p21"/>
              <p:cNvSpPr/>
              <p:nvPr/>
            </p:nvSpPr>
            <p:spPr>
              <a:xfrm>
                <a:off x="11092236" y="3950295"/>
                <a:ext cx="58189" cy="58189"/>
              </a:xfrm>
              <a:custGeom>
                <a:avLst/>
                <a:gdLst/>
                <a:ahLst/>
                <a:cxnLst/>
                <a:rect l="l" t="t" r="r" b="b"/>
                <a:pathLst>
                  <a:path w="58189" h="58189" extrusionOk="0">
                    <a:moveTo>
                      <a:pt x="58122" y="30994"/>
                    </a:moveTo>
                    <a:cubicBezTo>
                      <a:pt x="59207" y="14897"/>
                      <a:pt x="47090" y="1153"/>
                      <a:pt x="30994" y="68"/>
                    </a:cubicBezTo>
                    <a:cubicBezTo>
                      <a:pt x="14897" y="-1018"/>
                      <a:pt x="1153" y="11100"/>
                      <a:pt x="68" y="27196"/>
                    </a:cubicBezTo>
                    <a:cubicBezTo>
                      <a:pt x="-1018" y="43292"/>
                      <a:pt x="11099" y="57037"/>
                      <a:pt x="27196" y="58122"/>
                    </a:cubicBezTo>
                    <a:cubicBezTo>
                      <a:pt x="43292" y="59207"/>
                      <a:pt x="57037" y="47090"/>
                      <a:pt x="58122" y="309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3" name="Google Shape;813;p21"/>
              <p:cNvSpPr/>
              <p:nvPr/>
            </p:nvSpPr>
            <p:spPr>
              <a:xfrm>
                <a:off x="12296206" y="3904922"/>
                <a:ext cx="37349" cy="37349"/>
              </a:xfrm>
              <a:custGeom>
                <a:avLst/>
                <a:gdLst/>
                <a:ahLst/>
                <a:cxnLst/>
                <a:rect l="l" t="t" r="r" b="b"/>
                <a:pathLst>
                  <a:path w="37349" h="37349" extrusionOk="0">
                    <a:moveTo>
                      <a:pt x="37303" y="19940"/>
                    </a:moveTo>
                    <a:cubicBezTo>
                      <a:pt x="38026" y="9632"/>
                      <a:pt x="30249" y="770"/>
                      <a:pt x="19940" y="47"/>
                    </a:cubicBezTo>
                    <a:cubicBezTo>
                      <a:pt x="9632" y="-677"/>
                      <a:pt x="770" y="7100"/>
                      <a:pt x="47" y="17409"/>
                    </a:cubicBezTo>
                    <a:cubicBezTo>
                      <a:pt x="-677" y="27717"/>
                      <a:pt x="7100" y="36579"/>
                      <a:pt x="17409" y="37303"/>
                    </a:cubicBezTo>
                    <a:cubicBezTo>
                      <a:pt x="27717" y="38026"/>
                      <a:pt x="36579" y="30249"/>
                      <a:pt x="37303" y="199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4" name="Google Shape;814;p21"/>
              <p:cNvSpPr/>
              <p:nvPr/>
            </p:nvSpPr>
            <p:spPr>
              <a:xfrm>
                <a:off x="11362614" y="4185588"/>
                <a:ext cx="58549" cy="58530"/>
              </a:xfrm>
              <a:custGeom>
                <a:avLst/>
                <a:gdLst/>
                <a:ahLst/>
                <a:cxnLst/>
                <a:rect l="l" t="t" r="r" b="b"/>
                <a:pathLst>
                  <a:path w="58549" h="58530" extrusionOk="0">
                    <a:moveTo>
                      <a:pt x="58483" y="31174"/>
                    </a:moveTo>
                    <a:cubicBezTo>
                      <a:pt x="59568" y="15078"/>
                      <a:pt x="47270" y="1152"/>
                      <a:pt x="31174" y="67"/>
                    </a:cubicBezTo>
                    <a:cubicBezTo>
                      <a:pt x="15078" y="-1018"/>
                      <a:pt x="1152" y="11280"/>
                      <a:pt x="67" y="27376"/>
                    </a:cubicBezTo>
                    <a:cubicBezTo>
                      <a:pt x="-1018" y="43472"/>
                      <a:pt x="11280" y="57397"/>
                      <a:pt x="27376" y="58483"/>
                    </a:cubicBezTo>
                    <a:cubicBezTo>
                      <a:pt x="43472" y="59387"/>
                      <a:pt x="57397" y="47270"/>
                      <a:pt x="58483" y="3117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5" name="Google Shape;815;p21"/>
              <p:cNvSpPr/>
              <p:nvPr/>
            </p:nvSpPr>
            <p:spPr>
              <a:xfrm>
                <a:off x="11087932" y="3039187"/>
                <a:ext cx="32615" cy="32615"/>
              </a:xfrm>
              <a:custGeom>
                <a:avLst/>
                <a:gdLst/>
                <a:ahLst/>
                <a:cxnLst/>
                <a:rect l="l" t="t" r="r" b="b"/>
                <a:pathLst>
                  <a:path w="32615" h="32615" extrusionOk="0">
                    <a:moveTo>
                      <a:pt x="32585" y="17393"/>
                    </a:moveTo>
                    <a:cubicBezTo>
                      <a:pt x="33127" y="8350"/>
                      <a:pt x="26435" y="754"/>
                      <a:pt x="17393" y="31"/>
                    </a:cubicBezTo>
                    <a:cubicBezTo>
                      <a:pt x="8350" y="-512"/>
                      <a:pt x="754" y="6180"/>
                      <a:pt x="31" y="15223"/>
                    </a:cubicBezTo>
                    <a:cubicBezTo>
                      <a:pt x="-512" y="24265"/>
                      <a:pt x="6180" y="31861"/>
                      <a:pt x="15222" y="32585"/>
                    </a:cubicBezTo>
                    <a:cubicBezTo>
                      <a:pt x="24265" y="33127"/>
                      <a:pt x="32042" y="26436"/>
                      <a:pt x="32585" y="173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6" name="Google Shape;816;p21"/>
              <p:cNvSpPr/>
              <p:nvPr/>
            </p:nvSpPr>
            <p:spPr>
              <a:xfrm>
                <a:off x="12188375" y="2407768"/>
                <a:ext cx="79570" cy="79570"/>
              </a:xfrm>
              <a:custGeom>
                <a:avLst/>
                <a:gdLst/>
                <a:ahLst/>
                <a:cxnLst/>
                <a:rect l="l" t="t" r="r" b="b"/>
                <a:pathLst>
                  <a:path w="79570" h="79570" extrusionOk="0">
                    <a:moveTo>
                      <a:pt x="79483" y="42408"/>
                    </a:moveTo>
                    <a:cubicBezTo>
                      <a:pt x="80930" y="20524"/>
                      <a:pt x="64291" y="1535"/>
                      <a:pt x="42408" y="88"/>
                    </a:cubicBezTo>
                    <a:cubicBezTo>
                      <a:pt x="20524" y="-1359"/>
                      <a:pt x="1535" y="15279"/>
                      <a:pt x="88" y="37163"/>
                    </a:cubicBezTo>
                    <a:cubicBezTo>
                      <a:pt x="-1359" y="59046"/>
                      <a:pt x="15279" y="78036"/>
                      <a:pt x="37163" y="79483"/>
                    </a:cubicBezTo>
                    <a:cubicBezTo>
                      <a:pt x="59046" y="80930"/>
                      <a:pt x="78036" y="64291"/>
                      <a:pt x="79483" y="424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7" name="Google Shape;817;p21"/>
              <p:cNvSpPr/>
              <p:nvPr/>
            </p:nvSpPr>
            <p:spPr>
              <a:xfrm>
                <a:off x="11834861" y="2829938"/>
                <a:ext cx="30989" cy="30989"/>
              </a:xfrm>
              <a:custGeom>
                <a:avLst/>
                <a:gdLst/>
                <a:ahLst/>
                <a:cxnLst/>
                <a:rect l="l" t="t" r="r" b="b"/>
                <a:pathLst>
                  <a:path w="30989" h="30989" extrusionOk="0">
                    <a:moveTo>
                      <a:pt x="30958" y="16489"/>
                    </a:moveTo>
                    <a:cubicBezTo>
                      <a:pt x="31500" y="7989"/>
                      <a:pt x="24989" y="574"/>
                      <a:pt x="16489" y="32"/>
                    </a:cubicBezTo>
                    <a:cubicBezTo>
                      <a:pt x="7989" y="-511"/>
                      <a:pt x="574" y="6000"/>
                      <a:pt x="32" y="14500"/>
                    </a:cubicBezTo>
                    <a:cubicBezTo>
                      <a:pt x="-511" y="23000"/>
                      <a:pt x="6000" y="30415"/>
                      <a:pt x="14500" y="30958"/>
                    </a:cubicBezTo>
                    <a:cubicBezTo>
                      <a:pt x="23000" y="31500"/>
                      <a:pt x="30415" y="24989"/>
                      <a:pt x="30958" y="1648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8" name="Google Shape;818;p21"/>
              <p:cNvSpPr/>
              <p:nvPr/>
            </p:nvSpPr>
            <p:spPr>
              <a:xfrm>
                <a:off x="12205404" y="2424796"/>
                <a:ext cx="45512" cy="45512"/>
              </a:xfrm>
              <a:custGeom>
                <a:avLst/>
                <a:gdLst/>
                <a:ahLst/>
                <a:cxnLst/>
                <a:rect l="l" t="t" r="r" b="b"/>
                <a:pathLst>
                  <a:path w="45512" h="45512" extrusionOk="0">
                    <a:moveTo>
                      <a:pt x="45454" y="24294"/>
                    </a:moveTo>
                    <a:cubicBezTo>
                      <a:pt x="46358" y="11815"/>
                      <a:pt x="36773" y="963"/>
                      <a:pt x="24293" y="59"/>
                    </a:cubicBezTo>
                    <a:cubicBezTo>
                      <a:pt x="11814" y="-845"/>
                      <a:pt x="964" y="8740"/>
                      <a:pt x="59" y="21219"/>
                    </a:cubicBezTo>
                    <a:cubicBezTo>
                      <a:pt x="-845" y="33698"/>
                      <a:pt x="8740" y="44549"/>
                      <a:pt x="21219" y="45453"/>
                    </a:cubicBezTo>
                    <a:cubicBezTo>
                      <a:pt x="33879" y="46358"/>
                      <a:pt x="44730" y="36773"/>
                      <a:pt x="45454" y="242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19" name="Google Shape;819;p21"/>
              <p:cNvSpPr/>
              <p:nvPr/>
            </p:nvSpPr>
            <p:spPr>
              <a:xfrm>
                <a:off x="11822344" y="2817421"/>
                <a:ext cx="56203" cy="5620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203" extrusionOk="0">
                    <a:moveTo>
                      <a:pt x="56134" y="29910"/>
                    </a:moveTo>
                    <a:cubicBezTo>
                      <a:pt x="57220" y="14357"/>
                      <a:pt x="45464" y="974"/>
                      <a:pt x="29910" y="69"/>
                    </a:cubicBezTo>
                    <a:cubicBezTo>
                      <a:pt x="14357" y="-1016"/>
                      <a:pt x="974" y="10740"/>
                      <a:pt x="69" y="26293"/>
                    </a:cubicBezTo>
                    <a:cubicBezTo>
                      <a:pt x="-1016" y="41847"/>
                      <a:pt x="10740" y="55230"/>
                      <a:pt x="26293" y="56134"/>
                    </a:cubicBezTo>
                    <a:cubicBezTo>
                      <a:pt x="41666" y="57219"/>
                      <a:pt x="55049" y="45464"/>
                      <a:pt x="56134" y="2991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0" name="Google Shape;820;p21"/>
              <p:cNvSpPr/>
              <p:nvPr/>
            </p:nvSpPr>
            <p:spPr>
              <a:xfrm>
                <a:off x="12260419" y="3077354"/>
                <a:ext cx="17952" cy="17952"/>
              </a:xfrm>
              <a:custGeom>
                <a:avLst/>
                <a:gdLst/>
                <a:ahLst/>
                <a:cxnLst/>
                <a:rect l="l" t="t" r="r" b="b"/>
                <a:pathLst>
                  <a:path w="17952" h="17952" extrusionOk="0">
                    <a:moveTo>
                      <a:pt x="17928" y="9609"/>
                    </a:moveTo>
                    <a:cubicBezTo>
                      <a:pt x="18290" y="4726"/>
                      <a:pt x="14492" y="386"/>
                      <a:pt x="9609" y="24"/>
                    </a:cubicBezTo>
                    <a:cubicBezTo>
                      <a:pt x="4726" y="-338"/>
                      <a:pt x="385" y="3460"/>
                      <a:pt x="24" y="8343"/>
                    </a:cubicBezTo>
                    <a:cubicBezTo>
                      <a:pt x="-338" y="13226"/>
                      <a:pt x="3460" y="17567"/>
                      <a:pt x="8343" y="17929"/>
                    </a:cubicBezTo>
                    <a:cubicBezTo>
                      <a:pt x="13407" y="18290"/>
                      <a:pt x="17748" y="14492"/>
                      <a:pt x="17928" y="96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1" name="Google Shape;821;p21"/>
              <p:cNvSpPr/>
              <p:nvPr/>
            </p:nvSpPr>
            <p:spPr>
              <a:xfrm>
                <a:off x="12204862" y="2424255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4"/>
                      <a:pt x="37676" y="781"/>
                      <a:pt x="24835" y="58"/>
                    </a:cubicBezTo>
                    <a:cubicBezTo>
                      <a:pt x="11995" y="-846"/>
                      <a:pt x="782" y="8920"/>
                      <a:pt x="58" y="21761"/>
                    </a:cubicBezTo>
                    <a:cubicBezTo>
                      <a:pt x="-846" y="34601"/>
                      <a:pt x="8920" y="45814"/>
                      <a:pt x="21761" y="46538"/>
                    </a:cubicBezTo>
                    <a:cubicBezTo>
                      <a:pt x="34601" y="47442"/>
                      <a:pt x="45814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2" name="Google Shape;822;p21"/>
              <p:cNvSpPr/>
              <p:nvPr/>
            </p:nvSpPr>
            <p:spPr>
              <a:xfrm>
                <a:off x="11843565" y="2838642"/>
                <a:ext cx="13581" cy="13603"/>
              </a:xfrm>
              <a:custGeom>
                <a:avLst/>
                <a:gdLst/>
                <a:ahLst/>
                <a:cxnLst/>
                <a:rect l="l" t="t" r="r" b="b"/>
                <a:pathLst>
                  <a:path w="13581" h="13603" extrusionOk="0">
                    <a:moveTo>
                      <a:pt x="13573" y="7243"/>
                    </a:moveTo>
                    <a:cubicBezTo>
                      <a:pt x="13753" y="3445"/>
                      <a:pt x="11041" y="189"/>
                      <a:pt x="7243" y="9"/>
                    </a:cubicBezTo>
                    <a:cubicBezTo>
                      <a:pt x="3445" y="-172"/>
                      <a:pt x="189" y="2540"/>
                      <a:pt x="9" y="6338"/>
                    </a:cubicBezTo>
                    <a:cubicBezTo>
                      <a:pt x="-172" y="10136"/>
                      <a:pt x="2540" y="13392"/>
                      <a:pt x="6339" y="13573"/>
                    </a:cubicBezTo>
                    <a:cubicBezTo>
                      <a:pt x="10136" y="13934"/>
                      <a:pt x="13392" y="11041"/>
                      <a:pt x="13573" y="72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3" name="Google Shape;823;p21"/>
              <p:cNvSpPr/>
              <p:nvPr/>
            </p:nvSpPr>
            <p:spPr>
              <a:xfrm>
                <a:off x="12236128" y="3053064"/>
                <a:ext cx="66352" cy="66352"/>
              </a:xfrm>
              <a:custGeom>
                <a:avLst/>
                <a:gdLst/>
                <a:ahLst/>
                <a:cxnLst/>
                <a:rect l="l" t="t" r="r" b="b"/>
                <a:pathLst>
                  <a:path w="66352" h="66352" extrusionOk="0">
                    <a:moveTo>
                      <a:pt x="66273" y="35346"/>
                    </a:moveTo>
                    <a:cubicBezTo>
                      <a:pt x="67538" y="17080"/>
                      <a:pt x="53613" y="1346"/>
                      <a:pt x="35346" y="80"/>
                    </a:cubicBezTo>
                    <a:cubicBezTo>
                      <a:pt x="17080" y="-1186"/>
                      <a:pt x="1346" y="12740"/>
                      <a:pt x="80" y="31006"/>
                    </a:cubicBezTo>
                    <a:cubicBezTo>
                      <a:pt x="-1186" y="49272"/>
                      <a:pt x="12739" y="65007"/>
                      <a:pt x="31006" y="66273"/>
                    </a:cubicBezTo>
                    <a:cubicBezTo>
                      <a:pt x="49453" y="67539"/>
                      <a:pt x="65188" y="53613"/>
                      <a:pt x="66273" y="3534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4" name="Google Shape;824;p21"/>
              <p:cNvSpPr/>
              <p:nvPr/>
            </p:nvSpPr>
            <p:spPr>
              <a:xfrm>
                <a:off x="12201269" y="3152579"/>
                <a:ext cx="28643" cy="28624"/>
              </a:xfrm>
              <a:custGeom>
                <a:avLst/>
                <a:gdLst/>
                <a:ahLst/>
                <a:cxnLst/>
                <a:rect l="l" t="t" r="r" b="b"/>
                <a:pathLst>
                  <a:path w="28643" h="28624" extrusionOk="0">
                    <a:moveTo>
                      <a:pt x="28609" y="15226"/>
                    </a:moveTo>
                    <a:cubicBezTo>
                      <a:pt x="29152" y="7449"/>
                      <a:pt x="23184" y="577"/>
                      <a:pt x="15226" y="34"/>
                    </a:cubicBezTo>
                    <a:cubicBezTo>
                      <a:pt x="7449" y="-508"/>
                      <a:pt x="577" y="5460"/>
                      <a:pt x="34" y="13417"/>
                    </a:cubicBezTo>
                    <a:cubicBezTo>
                      <a:pt x="-509" y="21194"/>
                      <a:pt x="5460" y="28067"/>
                      <a:pt x="13417" y="28609"/>
                    </a:cubicBezTo>
                    <a:cubicBezTo>
                      <a:pt x="21194" y="28971"/>
                      <a:pt x="28067" y="23003"/>
                      <a:pt x="28609" y="152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5" name="Google Shape;825;p21"/>
              <p:cNvSpPr/>
              <p:nvPr/>
            </p:nvSpPr>
            <p:spPr>
              <a:xfrm>
                <a:off x="11826516" y="2821593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4"/>
                      <a:pt x="38579" y="781"/>
                      <a:pt x="25377" y="57"/>
                    </a:cubicBezTo>
                    <a:cubicBezTo>
                      <a:pt x="12174" y="-847"/>
                      <a:pt x="781" y="9100"/>
                      <a:pt x="57" y="22302"/>
                    </a:cubicBezTo>
                    <a:cubicBezTo>
                      <a:pt x="-847" y="35505"/>
                      <a:pt x="9100" y="46898"/>
                      <a:pt x="22302" y="47622"/>
                    </a:cubicBezTo>
                    <a:cubicBezTo>
                      <a:pt x="35505" y="48526"/>
                      <a:pt x="46718" y="38579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6" name="Google Shape;826;p21"/>
              <p:cNvSpPr/>
              <p:nvPr/>
            </p:nvSpPr>
            <p:spPr>
              <a:xfrm>
                <a:off x="12244112" y="3060866"/>
                <a:ext cx="50747" cy="50747"/>
              </a:xfrm>
              <a:custGeom>
                <a:avLst/>
                <a:gdLst/>
                <a:ahLst/>
                <a:cxnLst/>
                <a:rect l="l" t="t" r="r" b="b"/>
                <a:pathLst>
                  <a:path w="50747" h="50747" extrusionOk="0">
                    <a:moveTo>
                      <a:pt x="50693" y="27002"/>
                    </a:moveTo>
                    <a:cubicBezTo>
                      <a:pt x="51597" y="13076"/>
                      <a:pt x="41108" y="959"/>
                      <a:pt x="27002" y="54"/>
                    </a:cubicBezTo>
                    <a:cubicBezTo>
                      <a:pt x="12895" y="-850"/>
                      <a:pt x="958" y="9640"/>
                      <a:pt x="54" y="23746"/>
                    </a:cubicBezTo>
                    <a:cubicBezTo>
                      <a:pt x="-850" y="37672"/>
                      <a:pt x="9640" y="49789"/>
                      <a:pt x="23746" y="50694"/>
                    </a:cubicBezTo>
                    <a:cubicBezTo>
                      <a:pt x="37672" y="51598"/>
                      <a:pt x="49789" y="41108"/>
                      <a:pt x="50693" y="270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7" name="Google Shape;827;p21"/>
              <p:cNvSpPr/>
              <p:nvPr/>
            </p:nvSpPr>
            <p:spPr>
              <a:xfrm>
                <a:off x="12479244" y="2430430"/>
                <a:ext cx="30267" cy="30267"/>
              </a:xfrm>
              <a:custGeom>
                <a:avLst/>
                <a:gdLst/>
                <a:ahLst/>
                <a:cxnLst/>
                <a:rect l="l" t="t" r="r" b="b"/>
                <a:pathLst>
                  <a:path w="30267" h="30267" extrusionOk="0">
                    <a:moveTo>
                      <a:pt x="30235" y="16128"/>
                    </a:moveTo>
                    <a:cubicBezTo>
                      <a:pt x="30777" y="7809"/>
                      <a:pt x="24447" y="575"/>
                      <a:pt x="16128" y="32"/>
                    </a:cubicBezTo>
                    <a:cubicBezTo>
                      <a:pt x="7809" y="-510"/>
                      <a:pt x="575" y="5820"/>
                      <a:pt x="32" y="14139"/>
                    </a:cubicBezTo>
                    <a:cubicBezTo>
                      <a:pt x="-510" y="22458"/>
                      <a:pt x="5819" y="29693"/>
                      <a:pt x="14139" y="30235"/>
                    </a:cubicBezTo>
                    <a:cubicBezTo>
                      <a:pt x="22458" y="30778"/>
                      <a:pt x="29692" y="24448"/>
                      <a:pt x="30235" y="161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8" name="Google Shape;828;p21"/>
              <p:cNvSpPr/>
              <p:nvPr/>
            </p:nvSpPr>
            <p:spPr>
              <a:xfrm>
                <a:off x="12206146" y="2425518"/>
                <a:ext cx="43847" cy="43889"/>
              </a:xfrm>
              <a:custGeom>
                <a:avLst/>
                <a:gdLst/>
                <a:ahLst/>
                <a:cxnLst/>
                <a:rect l="l" t="t" r="r" b="b"/>
                <a:pathLst>
                  <a:path w="43847" h="43889" extrusionOk="0">
                    <a:moveTo>
                      <a:pt x="43807" y="23391"/>
                    </a:moveTo>
                    <a:cubicBezTo>
                      <a:pt x="44531" y="11274"/>
                      <a:pt x="35488" y="965"/>
                      <a:pt x="23371" y="61"/>
                    </a:cubicBezTo>
                    <a:cubicBezTo>
                      <a:pt x="11253" y="-843"/>
                      <a:pt x="945" y="8381"/>
                      <a:pt x="41" y="20498"/>
                    </a:cubicBezTo>
                    <a:cubicBezTo>
                      <a:pt x="-683" y="32615"/>
                      <a:pt x="8360" y="42924"/>
                      <a:pt x="20477" y="43828"/>
                    </a:cubicBezTo>
                    <a:cubicBezTo>
                      <a:pt x="32594" y="44732"/>
                      <a:pt x="43084" y="35509"/>
                      <a:pt x="43807" y="233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29" name="Google Shape;829;p21"/>
              <p:cNvSpPr/>
              <p:nvPr/>
            </p:nvSpPr>
            <p:spPr>
              <a:xfrm>
                <a:off x="12255705" y="3072460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1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7" y="20472"/>
                      <a:pt x="5280" y="26983"/>
                      <a:pt x="12876" y="27525"/>
                    </a:cubicBezTo>
                    <a:cubicBezTo>
                      <a:pt x="20472" y="28068"/>
                      <a:pt x="26983" y="22280"/>
                      <a:pt x="27525" y="146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0" name="Google Shape;830;p21"/>
              <p:cNvSpPr/>
              <p:nvPr/>
            </p:nvSpPr>
            <p:spPr>
              <a:xfrm>
                <a:off x="12207247" y="3158557"/>
                <a:ext cx="16688" cy="16670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70" extrusionOk="0">
                    <a:moveTo>
                      <a:pt x="16664" y="8887"/>
                    </a:moveTo>
                    <a:cubicBezTo>
                      <a:pt x="17025" y="4365"/>
                      <a:pt x="13408" y="387"/>
                      <a:pt x="8887" y="25"/>
                    </a:cubicBezTo>
                    <a:cubicBezTo>
                      <a:pt x="4365" y="-337"/>
                      <a:pt x="386" y="3280"/>
                      <a:pt x="25" y="7802"/>
                    </a:cubicBezTo>
                    <a:cubicBezTo>
                      <a:pt x="-337" y="12323"/>
                      <a:pt x="3280" y="16302"/>
                      <a:pt x="7802" y="16664"/>
                    </a:cubicBezTo>
                    <a:cubicBezTo>
                      <a:pt x="12323" y="16844"/>
                      <a:pt x="16302" y="13408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1" name="Google Shape;831;p21"/>
              <p:cNvSpPr/>
              <p:nvPr/>
            </p:nvSpPr>
            <p:spPr>
              <a:xfrm>
                <a:off x="12247381" y="3064136"/>
                <a:ext cx="44208" cy="44229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9" extrusionOk="0">
                    <a:moveTo>
                      <a:pt x="44168" y="23551"/>
                    </a:moveTo>
                    <a:cubicBezTo>
                      <a:pt x="44892" y="11434"/>
                      <a:pt x="35668" y="763"/>
                      <a:pt x="23551" y="40"/>
                    </a:cubicBezTo>
                    <a:cubicBezTo>
                      <a:pt x="11434" y="-684"/>
                      <a:pt x="763" y="8540"/>
                      <a:pt x="40" y="20657"/>
                    </a:cubicBezTo>
                    <a:cubicBezTo>
                      <a:pt x="-684" y="32774"/>
                      <a:pt x="8540" y="43445"/>
                      <a:pt x="20657" y="44168"/>
                    </a:cubicBezTo>
                    <a:cubicBezTo>
                      <a:pt x="32774" y="45073"/>
                      <a:pt x="43445" y="35849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2" name="Google Shape;832;p21"/>
              <p:cNvSpPr/>
              <p:nvPr/>
            </p:nvSpPr>
            <p:spPr>
              <a:xfrm>
                <a:off x="12468734" y="2419919"/>
                <a:ext cx="51108" cy="51107"/>
              </a:xfrm>
              <a:custGeom>
                <a:avLst/>
                <a:gdLst/>
                <a:ahLst/>
                <a:cxnLst/>
                <a:rect l="l" t="t" r="r" b="b"/>
                <a:pathLst>
                  <a:path w="51108" h="51107" extrusionOk="0">
                    <a:moveTo>
                      <a:pt x="51055" y="27182"/>
                    </a:moveTo>
                    <a:cubicBezTo>
                      <a:pt x="51959" y="13075"/>
                      <a:pt x="41288" y="958"/>
                      <a:pt x="27182" y="53"/>
                    </a:cubicBezTo>
                    <a:cubicBezTo>
                      <a:pt x="13075" y="-851"/>
                      <a:pt x="958" y="9820"/>
                      <a:pt x="53" y="23926"/>
                    </a:cubicBezTo>
                    <a:cubicBezTo>
                      <a:pt x="-851" y="38033"/>
                      <a:pt x="9820" y="50150"/>
                      <a:pt x="23926" y="51054"/>
                    </a:cubicBezTo>
                    <a:cubicBezTo>
                      <a:pt x="38033" y="51959"/>
                      <a:pt x="50151" y="41288"/>
                      <a:pt x="51055" y="271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3" name="Google Shape;833;p21"/>
              <p:cNvSpPr/>
              <p:nvPr/>
            </p:nvSpPr>
            <p:spPr>
              <a:xfrm>
                <a:off x="8617628" y="4146727"/>
                <a:ext cx="39875" cy="39875"/>
              </a:xfrm>
              <a:custGeom>
                <a:avLst/>
                <a:gdLst/>
                <a:ahLst/>
                <a:cxnLst/>
                <a:rect l="l" t="t" r="r" b="b"/>
                <a:pathLst>
                  <a:path w="39875" h="39875" extrusionOk="0">
                    <a:moveTo>
                      <a:pt x="39832" y="21204"/>
                    </a:moveTo>
                    <a:cubicBezTo>
                      <a:pt x="40555" y="10172"/>
                      <a:pt x="32236" y="586"/>
                      <a:pt x="21204" y="44"/>
                    </a:cubicBezTo>
                    <a:cubicBezTo>
                      <a:pt x="10172" y="-680"/>
                      <a:pt x="586" y="7640"/>
                      <a:pt x="44" y="18672"/>
                    </a:cubicBezTo>
                    <a:cubicBezTo>
                      <a:pt x="-680" y="29704"/>
                      <a:pt x="7640" y="39108"/>
                      <a:pt x="18672" y="39832"/>
                    </a:cubicBezTo>
                    <a:cubicBezTo>
                      <a:pt x="29523" y="40555"/>
                      <a:pt x="39108" y="32236"/>
                      <a:pt x="39832" y="212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4" name="Google Shape;834;p21"/>
              <p:cNvSpPr/>
              <p:nvPr/>
            </p:nvSpPr>
            <p:spPr>
              <a:xfrm>
                <a:off x="9805067" y="4535513"/>
                <a:ext cx="93691" cy="93690"/>
              </a:xfrm>
              <a:custGeom>
                <a:avLst/>
                <a:gdLst/>
                <a:ahLst/>
                <a:cxnLst/>
                <a:rect l="l" t="t" r="r" b="b"/>
                <a:pathLst>
                  <a:path w="93691" h="93690" extrusionOk="0">
                    <a:moveTo>
                      <a:pt x="93597" y="49830"/>
                    </a:moveTo>
                    <a:cubicBezTo>
                      <a:pt x="95224" y="23967"/>
                      <a:pt x="75692" y="1722"/>
                      <a:pt x="49830" y="95"/>
                    </a:cubicBezTo>
                    <a:cubicBezTo>
                      <a:pt x="23968" y="-1533"/>
                      <a:pt x="1723" y="17999"/>
                      <a:pt x="95" y="43861"/>
                    </a:cubicBezTo>
                    <a:cubicBezTo>
                      <a:pt x="-1533" y="69724"/>
                      <a:pt x="17999" y="91969"/>
                      <a:pt x="43862" y="93596"/>
                    </a:cubicBezTo>
                    <a:cubicBezTo>
                      <a:pt x="69543" y="95224"/>
                      <a:pt x="91788" y="75511"/>
                      <a:pt x="93597" y="498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5" name="Google Shape;835;p21"/>
              <p:cNvSpPr/>
              <p:nvPr/>
            </p:nvSpPr>
            <p:spPr>
              <a:xfrm>
                <a:off x="9508761" y="5135340"/>
                <a:ext cx="152421" cy="152442"/>
              </a:xfrm>
              <a:custGeom>
                <a:avLst/>
                <a:gdLst/>
                <a:ahLst/>
                <a:cxnLst/>
                <a:rect l="l" t="t" r="r" b="b"/>
                <a:pathLst>
                  <a:path w="152421" h="152442" extrusionOk="0">
                    <a:moveTo>
                      <a:pt x="152260" y="81184"/>
                    </a:moveTo>
                    <a:cubicBezTo>
                      <a:pt x="154973" y="39226"/>
                      <a:pt x="123142" y="2874"/>
                      <a:pt x="81184" y="161"/>
                    </a:cubicBezTo>
                    <a:cubicBezTo>
                      <a:pt x="39226" y="-2551"/>
                      <a:pt x="2874" y="29279"/>
                      <a:pt x="161" y="71237"/>
                    </a:cubicBezTo>
                    <a:cubicBezTo>
                      <a:pt x="-2551" y="113195"/>
                      <a:pt x="29279" y="149547"/>
                      <a:pt x="71237" y="152260"/>
                    </a:cubicBezTo>
                    <a:cubicBezTo>
                      <a:pt x="113195" y="155154"/>
                      <a:pt x="149366" y="123323"/>
                      <a:pt x="152260" y="8118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6" name="Google Shape;836;p21"/>
              <p:cNvSpPr/>
              <p:nvPr/>
            </p:nvSpPr>
            <p:spPr>
              <a:xfrm>
                <a:off x="8908412" y="4946073"/>
                <a:ext cx="72489" cy="72489"/>
              </a:xfrm>
              <a:custGeom>
                <a:avLst/>
                <a:gdLst/>
                <a:ahLst/>
                <a:cxnLst/>
                <a:rect l="l" t="t" r="r" b="b"/>
                <a:pathLst>
                  <a:path w="72489" h="72489" extrusionOk="0">
                    <a:moveTo>
                      <a:pt x="72416" y="38596"/>
                    </a:moveTo>
                    <a:cubicBezTo>
                      <a:pt x="73681" y="18521"/>
                      <a:pt x="58490" y="1340"/>
                      <a:pt x="38596" y="74"/>
                    </a:cubicBezTo>
                    <a:cubicBezTo>
                      <a:pt x="18521" y="-1192"/>
                      <a:pt x="1340" y="14000"/>
                      <a:pt x="74" y="33893"/>
                    </a:cubicBezTo>
                    <a:cubicBezTo>
                      <a:pt x="-1192" y="53968"/>
                      <a:pt x="13999" y="71150"/>
                      <a:pt x="33894" y="72415"/>
                    </a:cubicBezTo>
                    <a:cubicBezTo>
                      <a:pt x="53968" y="73682"/>
                      <a:pt x="71150" y="58490"/>
                      <a:pt x="72416" y="385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7" name="Google Shape;837;p21"/>
              <p:cNvSpPr/>
              <p:nvPr/>
            </p:nvSpPr>
            <p:spPr>
              <a:xfrm>
                <a:off x="9842034" y="4572479"/>
                <a:ext cx="19396" cy="19397"/>
              </a:xfrm>
              <a:custGeom>
                <a:avLst/>
                <a:gdLst/>
                <a:ahLst/>
                <a:cxnLst/>
                <a:rect l="l" t="t" r="r" b="b"/>
                <a:pathLst>
                  <a:path w="19396" h="19397" extrusionOk="0">
                    <a:moveTo>
                      <a:pt x="19374" y="10332"/>
                    </a:moveTo>
                    <a:cubicBezTo>
                      <a:pt x="19736" y="5087"/>
                      <a:pt x="15757" y="385"/>
                      <a:pt x="10331" y="23"/>
                    </a:cubicBezTo>
                    <a:cubicBezTo>
                      <a:pt x="5087" y="-339"/>
                      <a:pt x="385" y="3640"/>
                      <a:pt x="23" y="9066"/>
                    </a:cubicBezTo>
                    <a:cubicBezTo>
                      <a:pt x="-339" y="14310"/>
                      <a:pt x="3640" y="19013"/>
                      <a:pt x="9066" y="19374"/>
                    </a:cubicBezTo>
                    <a:cubicBezTo>
                      <a:pt x="14491" y="19736"/>
                      <a:pt x="19193" y="15757"/>
                      <a:pt x="19374" y="10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8" name="Google Shape;838;p21"/>
              <p:cNvSpPr/>
              <p:nvPr/>
            </p:nvSpPr>
            <p:spPr>
              <a:xfrm>
                <a:off x="10388542" y="4873386"/>
                <a:ext cx="46955" cy="46956"/>
              </a:xfrm>
              <a:custGeom>
                <a:avLst/>
                <a:gdLst/>
                <a:ahLst/>
                <a:cxnLst/>
                <a:rect l="l" t="t" r="r" b="b"/>
                <a:pathLst>
                  <a:path w="46955" h="46956" extrusionOk="0">
                    <a:moveTo>
                      <a:pt x="46898" y="25015"/>
                    </a:moveTo>
                    <a:cubicBezTo>
                      <a:pt x="47803" y="11994"/>
                      <a:pt x="37856" y="961"/>
                      <a:pt x="25015" y="57"/>
                    </a:cubicBezTo>
                    <a:cubicBezTo>
                      <a:pt x="11994" y="-847"/>
                      <a:pt x="961" y="9100"/>
                      <a:pt x="57" y="21941"/>
                    </a:cubicBezTo>
                    <a:cubicBezTo>
                      <a:pt x="-847" y="34781"/>
                      <a:pt x="9100" y="45994"/>
                      <a:pt x="21940" y="46899"/>
                    </a:cubicBezTo>
                    <a:cubicBezTo>
                      <a:pt x="34962" y="47803"/>
                      <a:pt x="46175" y="38037"/>
                      <a:pt x="46898" y="250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39" name="Google Shape;839;p21"/>
              <p:cNvSpPr/>
              <p:nvPr/>
            </p:nvSpPr>
            <p:spPr>
              <a:xfrm>
                <a:off x="9565485" y="5192245"/>
                <a:ext cx="38792" cy="38792"/>
              </a:xfrm>
              <a:custGeom>
                <a:avLst/>
                <a:gdLst/>
                <a:ahLst/>
                <a:cxnLst/>
                <a:rect l="l" t="t" r="r" b="b"/>
                <a:pathLst>
                  <a:path w="38792" h="38792" extrusionOk="0">
                    <a:moveTo>
                      <a:pt x="38748" y="20662"/>
                    </a:moveTo>
                    <a:cubicBezTo>
                      <a:pt x="39471" y="9992"/>
                      <a:pt x="31332" y="768"/>
                      <a:pt x="20662" y="45"/>
                    </a:cubicBezTo>
                    <a:cubicBezTo>
                      <a:pt x="9992" y="-679"/>
                      <a:pt x="768" y="7460"/>
                      <a:pt x="45" y="18130"/>
                    </a:cubicBezTo>
                    <a:cubicBezTo>
                      <a:pt x="-679" y="28801"/>
                      <a:pt x="7460" y="38024"/>
                      <a:pt x="18130" y="38748"/>
                    </a:cubicBezTo>
                    <a:cubicBezTo>
                      <a:pt x="28801" y="39471"/>
                      <a:pt x="38024" y="31332"/>
                      <a:pt x="38748" y="206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0" name="Google Shape;840;p21"/>
              <p:cNvSpPr/>
              <p:nvPr/>
            </p:nvSpPr>
            <p:spPr>
              <a:xfrm>
                <a:off x="12645654" y="6121692"/>
                <a:ext cx="11954" cy="11954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54" extrusionOk="0">
                    <a:moveTo>
                      <a:pt x="11946" y="6339"/>
                    </a:moveTo>
                    <a:cubicBezTo>
                      <a:pt x="12127" y="3083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1" y="8871"/>
                      <a:pt x="2360" y="11765"/>
                      <a:pt x="5616" y="11945"/>
                    </a:cubicBezTo>
                    <a:cubicBezTo>
                      <a:pt x="8871" y="12126"/>
                      <a:pt x="11765" y="9594"/>
                      <a:pt x="11946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1" name="Google Shape;841;p21"/>
              <p:cNvSpPr/>
              <p:nvPr/>
            </p:nvSpPr>
            <p:spPr>
              <a:xfrm>
                <a:off x="12282991" y="6716311"/>
                <a:ext cx="45311" cy="45291"/>
              </a:xfrm>
              <a:custGeom>
                <a:avLst/>
                <a:gdLst/>
                <a:ahLst/>
                <a:cxnLst/>
                <a:rect l="l" t="t" r="r" b="b"/>
                <a:pathLst>
                  <a:path w="45311" h="45291" extrusionOk="0">
                    <a:moveTo>
                      <a:pt x="45273" y="24093"/>
                    </a:moveTo>
                    <a:cubicBezTo>
                      <a:pt x="45996" y="11614"/>
                      <a:pt x="36592" y="763"/>
                      <a:pt x="24113" y="39"/>
                    </a:cubicBezTo>
                    <a:cubicBezTo>
                      <a:pt x="11634" y="-684"/>
                      <a:pt x="783" y="8720"/>
                      <a:pt x="59" y="21199"/>
                    </a:cubicBezTo>
                    <a:cubicBezTo>
                      <a:pt x="-845" y="33678"/>
                      <a:pt x="8740" y="44530"/>
                      <a:pt x="21219" y="45253"/>
                    </a:cubicBezTo>
                    <a:cubicBezTo>
                      <a:pt x="33698" y="45976"/>
                      <a:pt x="44549" y="36572"/>
                      <a:pt x="45273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2" name="Google Shape;842;p21"/>
              <p:cNvSpPr/>
              <p:nvPr/>
            </p:nvSpPr>
            <p:spPr>
              <a:xfrm>
                <a:off x="11875528" y="5702967"/>
                <a:ext cx="48400" cy="48380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380" extrusionOk="0">
                    <a:moveTo>
                      <a:pt x="48344" y="25737"/>
                    </a:moveTo>
                    <a:cubicBezTo>
                      <a:pt x="49249" y="12354"/>
                      <a:pt x="39121" y="960"/>
                      <a:pt x="25737" y="56"/>
                    </a:cubicBezTo>
                    <a:cubicBezTo>
                      <a:pt x="12354" y="-848"/>
                      <a:pt x="960" y="9280"/>
                      <a:pt x="56" y="22663"/>
                    </a:cubicBezTo>
                    <a:cubicBezTo>
                      <a:pt x="-848" y="36046"/>
                      <a:pt x="9280" y="47440"/>
                      <a:pt x="22663" y="48344"/>
                    </a:cubicBezTo>
                    <a:cubicBezTo>
                      <a:pt x="36046" y="49068"/>
                      <a:pt x="47440" y="38940"/>
                      <a:pt x="48344" y="257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3" name="Google Shape;843;p21"/>
              <p:cNvSpPr/>
              <p:nvPr/>
            </p:nvSpPr>
            <p:spPr>
              <a:xfrm>
                <a:off x="10055412" y="3840170"/>
                <a:ext cx="52372" cy="52371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71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2"/>
                      <a:pt x="957" y="10000"/>
                      <a:pt x="53" y="24468"/>
                    </a:cubicBezTo>
                    <a:cubicBezTo>
                      <a:pt x="-852" y="38936"/>
                      <a:pt x="9999" y="51415"/>
                      <a:pt x="24468" y="52320"/>
                    </a:cubicBezTo>
                    <a:cubicBezTo>
                      <a:pt x="38936" y="53224"/>
                      <a:pt x="51415" y="42192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4" name="Google Shape;844;p21"/>
              <p:cNvSpPr/>
              <p:nvPr/>
            </p:nvSpPr>
            <p:spPr>
              <a:xfrm>
                <a:off x="9899685" y="3870723"/>
                <a:ext cx="61980" cy="61980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80" extrusionOk="0">
                    <a:moveTo>
                      <a:pt x="61916" y="32979"/>
                    </a:moveTo>
                    <a:cubicBezTo>
                      <a:pt x="63001" y="15979"/>
                      <a:pt x="50160" y="1149"/>
                      <a:pt x="32979" y="64"/>
                    </a:cubicBezTo>
                    <a:cubicBezTo>
                      <a:pt x="15979" y="-1021"/>
                      <a:pt x="1149" y="11819"/>
                      <a:pt x="64" y="29001"/>
                    </a:cubicBezTo>
                    <a:cubicBezTo>
                      <a:pt x="-1021" y="46001"/>
                      <a:pt x="11819" y="60831"/>
                      <a:pt x="29001" y="61916"/>
                    </a:cubicBezTo>
                    <a:cubicBezTo>
                      <a:pt x="46182" y="63001"/>
                      <a:pt x="60650" y="50161"/>
                      <a:pt x="61916" y="329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5" name="Google Shape;845;p21"/>
              <p:cNvSpPr/>
              <p:nvPr/>
            </p:nvSpPr>
            <p:spPr>
              <a:xfrm>
                <a:off x="10051421" y="3835998"/>
                <a:ext cx="60535" cy="60535"/>
              </a:xfrm>
              <a:custGeom>
                <a:avLst/>
                <a:gdLst/>
                <a:ahLst/>
                <a:cxnLst/>
                <a:rect l="l" t="t" r="r" b="b"/>
                <a:pathLst>
                  <a:path w="60535" h="60535" extrusionOk="0">
                    <a:moveTo>
                      <a:pt x="60470" y="32257"/>
                    </a:moveTo>
                    <a:cubicBezTo>
                      <a:pt x="61555" y="15618"/>
                      <a:pt x="48896" y="1150"/>
                      <a:pt x="32257" y="65"/>
                    </a:cubicBezTo>
                    <a:cubicBezTo>
                      <a:pt x="15618" y="-1020"/>
                      <a:pt x="1150" y="11640"/>
                      <a:pt x="65" y="28278"/>
                    </a:cubicBezTo>
                    <a:cubicBezTo>
                      <a:pt x="-1020" y="44917"/>
                      <a:pt x="11640" y="59385"/>
                      <a:pt x="28278" y="60470"/>
                    </a:cubicBezTo>
                    <a:cubicBezTo>
                      <a:pt x="44917" y="61556"/>
                      <a:pt x="59385" y="48896"/>
                      <a:pt x="60470" y="3225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6" name="Google Shape;846;p21"/>
              <p:cNvSpPr/>
              <p:nvPr/>
            </p:nvSpPr>
            <p:spPr>
              <a:xfrm>
                <a:off x="10175989" y="3504993"/>
                <a:ext cx="103480" cy="103480"/>
              </a:xfrm>
              <a:custGeom>
                <a:avLst/>
                <a:gdLst/>
                <a:ahLst/>
                <a:cxnLst/>
                <a:rect l="l" t="t" r="r" b="b"/>
                <a:pathLst>
                  <a:path w="103480" h="103480" extrusionOk="0">
                    <a:moveTo>
                      <a:pt x="103374" y="55086"/>
                    </a:moveTo>
                    <a:cubicBezTo>
                      <a:pt x="105183" y="26511"/>
                      <a:pt x="83661" y="1915"/>
                      <a:pt x="55086" y="106"/>
                    </a:cubicBezTo>
                    <a:cubicBezTo>
                      <a:pt x="26511" y="-1702"/>
                      <a:pt x="1915" y="19819"/>
                      <a:pt x="106" y="48394"/>
                    </a:cubicBezTo>
                    <a:cubicBezTo>
                      <a:pt x="-1703" y="76969"/>
                      <a:pt x="19819" y="101566"/>
                      <a:pt x="48394" y="103374"/>
                    </a:cubicBezTo>
                    <a:cubicBezTo>
                      <a:pt x="76788" y="105183"/>
                      <a:pt x="101566" y="83661"/>
                      <a:pt x="103374" y="550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7" name="Google Shape;847;p21"/>
              <p:cNvSpPr/>
              <p:nvPr/>
            </p:nvSpPr>
            <p:spPr>
              <a:xfrm>
                <a:off x="10068992" y="3853568"/>
                <a:ext cx="25575" cy="2557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75" extrusionOk="0">
                    <a:moveTo>
                      <a:pt x="25538" y="13601"/>
                    </a:moveTo>
                    <a:cubicBezTo>
                      <a:pt x="26080" y="6548"/>
                      <a:pt x="20655" y="399"/>
                      <a:pt x="13601" y="37"/>
                    </a:cubicBezTo>
                    <a:cubicBezTo>
                      <a:pt x="6548" y="-505"/>
                      <a:pt x="399" y="4921"/>
                      <a:pt x="37" y="11974"/>
                    </a:cubicBezTo>
                    <a:cubicBezTo>
                      <a:pt x="-505" y="19027"/>
                      <a:pt x="4920" y="25176"/>
                      <a:pt x="11974" y="25538"/>
                    </a:cubicBezTo>
                    <a:cubicBezTo>
                      <a:pt x="18846" y="26080"/>
                      <a:pt x="24995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8" name="Google Shape;848;p21"/>
              <p:cNvSpPr/>
              <p:nvPr/>
            </p:nvSpPr>
            <p:spPr>
              <a:xfrm>
                <a:off x="9885183" y="3856402"/>
                <a:ext cx="90802" cy="90802"/>
              </a:xfrm>
              <a:custGeom>
                <a:avLst/>
                <a:gdLst/>
                <a:ahLst/>
                <a:cxnLst/>
                <a:rect l="l" t="t" r="r" b="b"/>
                <a:pathLst>
                  <a:path w="90802" h="90802" extrusionOk="0">
                    <a:moveTo>
                      <a:pt x="90705" y="48385"/>
                    </a:moveTo>
                    <a:cubicBezTo>
                      <a:pt x="92333" y="23428"/>
                      <a:pt x="73343" y="1725"/>
                      <a:pt x="48385" y="97"/>
                    </a:cubicBezTo>
                    <a:cubicBezTo>
                      <a:pt x="23427" y="-1530"/>
                      <a:pt x="1725" y="17459"/>
                      <a:pt x="97" y="42417"/>
                    </a:cubicBezTo>
                    <a:cubicBezTo>
                      <a:pt x="-1530" y="67375"/>
                      <a:pt x="17459" y="89078"/>
                      <a:pt x="42417" y="90705"/>
                    </a:cubicBezTo>
                    <a:cubicBezTo>
                      <a:pt x="67556" y="92333"/>
                      <a:pt x="89078" y="73343"/>
                      <a:pt x="90705" y="48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49" name="Google Shape;849;p21"/>
              <p:cNvSpPr/>
              <p:nvPr/>
            </p:nvSpPr>
            <p:spPr>
              <a:xfrm>
                <a:off x="9840229" y="4570494"/>
                <a:ext cx="23368" cy="23368"/>
              </a:xfrm>
              <a:custGeom>
                <a:avLst/>
                <a:gdLst/>
                <a:ahLst/>
                <a:cxnLst/>
                <a:rect l="l" t="t" r="r" b="b"/>
                <a:pathLst>
                  <a:path w="23368" h="23368" extrusionOk="0">
                    <a:moveTo>
                      <a:pt x="23349" y="12498"/>
                    </a:moveTo>
                    <a:cubicBezTo>
                      <a:pt x="23711" y="5987"/>
                      <a:pt x="18828" y="561"/>
                      <a:pt x="12498" y="19"/>
                    </a:cubicBezTo>
                    <a:cubicBezTo>
                      <a:pt x="5987" y="-343"/>
                      <a:pt x="561" y="4540"/>
                      <a:pt x="19" y="10870"/>
                    </a:cubicBezTo>
                    <a:cubicBezTo>
                      <a:pt x="-343" y="17381"/>
                      <a:pt x="4540" y="22807"/>
                      <a:pt x="10870" y="23349"/>
                    </a:cubicBezTo>
                    <a:cubicBezTo>
                      <a:pt x="17381" y="23711"/>
                      <a:pt x="22807" y="19009"/>
                      <a:pt x="23349" y="124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0" name="Google Shape;850;p21"/>
              <p:cNvSpPr/>
              <p:nvPr/>
            </p:nvSpPr>
            <p:spPr>
              <a:xfrm>
                <a:off x="10059585" y="3844161"/>
                <a:ext cx="44208" cy="44229"/>
              </a:xfrm>
              <a:custGeom>
                <a:avLst/>
                <a:gdLst/>
                <a:ahLst/>
                <a:cxnLst/>
                <a:rect l="l" t="t" r="r" b="b"/>
                <a:pathLst>
                  <a:path w="44208" h="44229" extrusionOk="0">
                    <a:moveTo>
                      <a:pt x="44168" y="23551"/>
                    </a:moveTo>
                    <a:cubicBezTo>
                      <a:pt x="44892" y="11253"/>
                      <a:pt x="35668" y="763"/>
                      <a:pt x="23551" y="40"/>
                    </a:cubicBezTo>
                    <a:cubicBezTo>
                      <a:pt x="11253" y="-684"/>
                      <a:pt x="763" y="8540"/>
                      <a:pt x="40" y="20657"/>
                    </a:cubicBezTo>
                    <a:cubicBezTo>
                      <a:pt x="-684" y="32955"/>
                      <a:pt x="8540" y="43445"/>
                      <a:pt x="20657" y="44168"/>
                    </a:cubicBezTo>
                    <a:cubicBezTo>
                      <a:pt x="32774" y="45072"/>
                      <a:pt x="43445" y="35849"/>
                      <a:pt x="44168" y="235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1" name="Google Shape;851;p21"/>
              <p:cNvSpPr/>
              <p:nvPr/>
            </p:nvSpPr>
            <p:spPr>
              <a:xfrm rot="-3624134">
                <a:off x="11083596" y="3941901"/>
                <a:ext cx="75234" cy="75234"/>
              </a:xfrm>
              <a:custGeom>
                <a:avLst/>
                <a:gdLst/>
                <a:ahLst/>
                <a:cxnLst/>
                <a:rect l="l" t="t" r="r" b="b"/>
                <a:pathLst>
                  <a:path w="75234" h="75234" extrusionOk="0">
                    <a:moveTo>
                      <a:pt x="75234" y="37617"/>
                    </a:moveTo>
                    <a:cubicBezTo>
                      <a:pt x="75234" y="58393"/>
                      <a:pt x="58393" y="75234"/>
                      <a:pt x="37617" y="75234"/>
                    </a:cubicBezTo>
                    <a:cubicBezTo>
                      <a:pt x="16842" y="75234"/>
                      <a:pt x="0" y="58393"/>
                      <a:pt x="0" y="37617"/>
                    </a:cubicBezTo>
                    <a:cubicBezTo>
                      <a:pt x="0" y="16842"/>
                      <a:pt x="16842" y="0"/>
                      <a:pt x="37617" y="0"/>
                    </a:cubicBezTo>
                    <a:cubicBezTo>
                      <a:pt x="58393" y="0"/>
                      <a:pt x="75234" y="16842"/>
                      <a:pt x="75234" y="3761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2" name="Google Shape;852;p21"/>
              <p:cNvSpPr/>
              <p:nvPr/>
            </p:nvSpPr>
            <p:spPr>
              <a:xfrm>
                <a:off x="10182327" y="3511332"/>
                <a:ext cx="90802" cy="90802"/>
              </a:xfrm>
              <a:custGeom>
                <a:avLst/>
                <a:gdLst/>
                <a:ahLst/>
                <a:cxnLst/>
                <a:rect l="l" t="t" r="r" b="b"/>
                <a:pathLst>
                  <a:path w="90802" h="90802" extrusionOk="0">
                    <a:moveTo>
                      <a:pt x="90706" y="48385"/>
                    </a:moveTo>
                    <a:cubicBezTo>
                      <a:pt x="92333" y="23428"/>
                      <a:pt x="73343" y="1906"/>
                      <a:pt x="48385" y="97"/>
                    </a:cubicBezTo>
                    <a:cubicBezTo>
                      <a:pt x="23428" y="-1530"/>
                      <a:pt x="1906" y="17459"/>
                      <a:pt x="97" y="42417"/>
                    </a:cubicBezTo>
                    <a:cubicBezTo>
                      <a:pt x="-1530" y="67375"/>
                      <a:pt x="17459" y="88897"/>
                      <a:pt x="42417" y="90706"/>
                    </a:cubicBezTo>
                    <a:cubicBezTo>
                      <a:pt x="67375" y="92333"/>
                      <a:pt x="89078" y="73343"/>
                      <a:pt x="90706" y="48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3" name="Google Shape;853;p21"/>
              <p:cNvSpPr/>
              <p:nvPr/>
            </p:nvSpPr>
            <p:spPr>
              <a:xfrm>
                <a:off x="10160880" y="2713295"/>
                <a:ext cx="19396" cy="19380"/>
              </a:xfrm>
              <a:custGeom>
                <a:avLst/>
                <a:gdLst/>
                <a:ahLst/>
                <a:cxnLst/>
                <a:rect l="l" t="t" r="r" b="b"/>
                <a:pathLst>
                  <a:path w="19396" h="19380" extrusionOk="0">
                    <a:moveTo>
                      <a:pt x="19374" y="10332"/>
                    </a:moveTo>
                    <a:cubicBezTo>
                      <a:pt x="19736" y="5087"/>
                      <a:pt x="15757" y="385"/>
                      <a:pt x="10331" y="23"/>
                    </a:cubicBezTo>
                    <a:cubicBezTo>
                      <a:pt x="5087" y="-339"/>
                      <a:pt x="384" y="3640"/>
                      <a:pt x="23" y="9066"/>
                    </a:cubicBezTo>
                    <a:cubicBezTo>
                      <a:pt x="-339" y="14310"/>
                      <a:pt x="3640" y="19013"/>
                      <a:pt x="9066" y="19374"/>
                    </a:cubicBezTo>
                    <a:cubicBezTo>
                      <a:pt x="14491" y="19555"/>
                      <a:pt x="19012" y="15576"/>
                      <a:pt x="19374" y="10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4" name="Google Shape;854;p21"/>
              <p:cNvSpPr/>
              <p:nvPr/>
            </p:nvSpPr>
            <p:spPr>
              <a:xfrm>
                <a:off x="10685314" y="3173706"/>
                <a:ext cx="57827" cy="57808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08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099" y="56675"/>
                      <a:pt x="27015" y="57760"/>
                    </a:cubicBezTo>
                    <a:cubicBezTo>
                      <a:pt x="42930" y="58664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5" name="Google Shape;855;p21"/>
              <p:cNvSpPr/>
              <p:nvPr/>
            </p:nvSpPr>
            <p:spPr>
              <a:xfrm>
                <a:off x="10210046" y="3539051"/>
                <a:ext cx="35364" cy="35344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4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6"/>
                    </a:cubicBezTo>
                    <a:cubicBezTo>
                      <a:pt x="-675" y="26273"/>
                      <a:pt x="6741" y="34592"/>
                      <a:pt x="16507" y="35315"/>
                    </a:cubicBezTo>
                    <a:cubicBezTo>
                      <a:pt x="26273" y="35858"/>
                      <a:pt x="34592" y="28624"/>
                      <a:pt x="35316" y="1885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6" name="Google Shape;856;p21"/>
              <p:cNvSpPr/>
              <p:nvPr/>
            </p:nvSpPr>
            <p:spPr>
              <a:xfrm>
                <a:off x="10682967" y="3171179"/>
                <a:ext cx="62521" cy="62543"/>
              </a:xfrm>
              <a:custGeom>
                <a:avLst/>
                <a:gdLst/>
                <a:ahLst/>
                <a:cxnLst/>
                <a:rect l="l" t="t" r="r" b="b"/>
                <a:pathLst>
                  <a:path w="62521" h="62543" extrusionOk="0">
                    <a:moveTo>
                      <a:pt x="62458" y="33340"/>
                    </a:moveTo>
                    <a:cubicBezTo>
                      <a:pt x="63543" y="16159"/>
                      <a:pt x="50521" y="1329"/>
                      <a:pt x="33340" y="63"/>
                    </a:cubicBezTo>
                    <a:cubicBezTo>
                      <a:pt x="16159" y="-1022"/>
                      <a:pt x="1329" y="12000"/>
                      <a:pt x="63" y="29181"/>
                    </a:cubicBezTo>
                    <a:cubicBezTo>
                      <a:pt x="-1022" y="46362"/>
                      <a:pt x="12000" y="61192"/>
                      <a:pt x="29181" y="62458"/>
                    </a:cubicBezTo>
                    <a:cubicBezTo>
                      <a:pt x="46543" y="63724"/>
                      <a:pt x="61373" y="50702"/>
                      <a:pt x="62458" y="333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7" name="Google Shape;857;p21"/>
              <p:cNvSpPr/>
              <p:nvPr/>
            </p:nvSpPr>
            <p:spPr>
              <a:xfrm>
                <a:off x="10146739" y="2699155"/>
                <a:ext cx="47678" cy="4765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58" extrusionOk="0">
                    <a:moveTo>
                      <a:pt x="47622" y="25377"/>
                    </a:moveTo>
                    <a:cubicBezTo>
                      <a:pt x="48526" y="12174"/>
                      <a:pt x="38579" y="961"/>
                      <a:pt x="25377" y="57"/>
                    </a:cubicBezTo>
                    <a:cubicBezTo>
                      <a:pt x="12175" y="-847"/>
                      <a:pt x="961" y="9100"/>
                      <a:pt x="57" y="22302"/>
                    </a:cubicBezTo>
                    <a:cubicBezTo>
                      <a:pt x="-847" y="35505"/>
                      <a:pt x="9100" y="46718"/>
                      <a:pt x="22302" y="47622"/>
                    </a:cubicBezTo>
                    <a:cubicBezTo>
                      <a:pt x="35505" y="48345"/>
                      <a:pt x="46718" y="38398"/>
                      <a:pt x="47622" y="253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8" name="Google Shape;858;p21"/>
              <p:cNvSpPr/>
              <p:nvPr/>
            </p:nvSpPr>
            <p:spPr>
              <a:xfrm>
                <a:off x="11091543" y="3042798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900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59" name="Google Shape;859;p21"/>
              <p:cNvSpPr/>
              <p:nvPr/>
            </p:nvSpPr>
            <p:spPr>
              <a:xfrm>
                <a:off x="10705070" y="3193463"/>
                <a:ext cx="18494" cy="18477"/>
              </a:xfrm>
              <a:custGeom>
                <a:avLst/>
                <a:gdLst/>
                <a:ahLst/>
                <a:cxnLst/>
                <a:rect l="l" t="t" r="r" b="b"/>
                <a:pathLst>
                  <a:path w="18494" h="18477" extrusionOk="0">
                    <a:moveTo>
                      <a:pt x="18471" y="9790"/>
                    </a:moveTo>
                    <a:cubicBezTo>
                      <a:pt x="18833" y="4726"/>
                      <a:pt x="15035" y="385"/>
                      <a:pt x="9790" y="24"/>
                    </a:cubicBezTo>
                    <a:cubicBezTo>
                      <a:pt x="4726" y="-338"/>
                      <a:pt x="385" y="3460"/>
                      <a:pt x="24" y="8705"/>
                    </a:cubicBezTo>
                    <a:cubicBezTo>
                      <a:pt x="-338" y="13769"/>
                      <a:pt x="3460" y="18109"/>
                      <a:pt x="8705" y="18471"/>
                    </a:cubicBezTo>
                    <a:cubicBezTo>
                      <a:pt x="13769" y="18652"/>
                      <a:pt x="18109" y="14854"/>
                      <a:pt x="18471" y="979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0" name="Google Shape;860;p21"/>
              <p:cNvSpPr/>
              <p:nvPr/>
            </p:nvSpPr>
            <p:spPr>
              <a:xfrm>
                <a:off x="11048599" y="2999653"/>
                <a:ext cx="111462" cy="111504"/>
              </a:xfrm>
              <a:custGeom>
                <a:avLst/>
                <a:gdLst/>
                <a:ahLst/>
                <a:cxnLst/>
                <a:rect l="l" t="t" r="r" b="b"/>
                <a:pathLst>
                  <a:path w="111462" h="111504" extrusionOk="0">
                    <a:moveTo>
                      <a:pt x="111344" y="59459"/>
                    </a:moveTo>
                    <a:cubicBezTo>
                      <a:pt x="113333" y="28714"/>
                      <a:pt x="90003" y="2309"/>
                      <a:pt x="59439" y="139"/>
                    </a:cubicBezTo>
                    <a:cubicBezTo>
                      <a:pt x="28874" y="-2031"/>
                      <a:pt x="2289" y="21480"/>
                      <a:pt x="118" y="52044"/>
                    </a:cubicBezTo>
                    <a:cubicBezTo>
                      <a:pt x="-1871" y="82789"/>
                      <a:pt x="21459" y="109194"/>
                      <a:pt x="52024" y="111364"/>
                    </a:cubicBezTo>
                    <a:cubicBezTo>
                      <a:pt x="82588" y="113535"/>
                      <a:pt x="109354" y="90204"/>
                      <a:pt x="111344" y="594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1" name="Google Shape;861;p21"/>
              <p:cNvSpPr/>
              <p:nvPr/>
            </p:nvSpPr>
            <p:spPr>
              <a:xfrm>
                <a:off x="12448300" y="5157154"/>
                <a:ext cx="55080" cy="5510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100" extrusionOk="0">
                    <a:moveTo>
                      <a:pt x="55030" y="29349"/>
                    </a:moveTo>
                    <a:cubicBezTo>
                      <a:pt x="55935" y="14157"/>
                      <a:pt x="44541" y="955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4"/>
                      <a:pt x="10540" y="54126"/>
                      <a:pt x="25732" y="55030"/>
                    </a:cubicBezTo>
                    <a:cubicBezTo>
                      <a:pt x="40924" y="56115"/>
                      <a:pt x="54126" y="44541"/>
                      <a:pt x="55030" y="293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2" name="Google Shape;862;p21"/>
              <p:cNvSpPr/>
              <p:nvPr/>
            </p:nvSpPr>
            <p:spPr>
              <a:xfrm>
                <a:off x="12404403" y="5113257"/>
                <a:ext cx="142875" cy="142874"/>
              </a:xfrm>
              <a:custGeom>
                <a:avLst/>
                <a:gdLst/>
                <a:ahLst/>
                <a:cxnLst/>
                <a:rect l="l" t="t" r="r" b="b"/>
                <a:pathLst>
                  <a:path w="142875" h="142874" extrusionOk="0">
                    <a:moveTo>
                      <a:pt x="142875" y="71438"/>
                    </a:moveTo>
                    <a:cubicBezTo>
                      <a:pt x="142875" y="110891"/>
                      <a:pt x="110891" y="142875"/>
                      <a:pt x="71437" y="142875"/>
                    </a:cubicBezTo>
                    <a:cubicBezTo>
                      <a:pt x="31983" y="142875"/>
                      <a:pt x="-1" y="110891"/>
                      <a:pt x="-1" y="71438"/>
                    </a:cubicBezTo>
                    <a:cubicBezTo>
                      <a:pt x="-1" y="31984"/>
                      <a:pt x="31983" y="0"/>
                      <a:pt x="71437" y="0"/>
                    </a:cubicBezTo>
                    <a:cubicBezTo>
                      <a:pt x="110891" y="0"/>
                      <a:pt x="142875" y="31984"/>
                      <a:pt x="142875" y="71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3" name="Google Shape;863;p21"/>
              <p:cNvSpPr/>
              <p:nvPr/>
            </p:nvSpPr>
            <p:spPr>
              <a:xfrm>
                <a:off x="12727568" y="5681299"/>
                <a:ext cx="19756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6" h="19756" extrusionOk="0">
                    <a:moveTo>
                      <a:pt x="19735" y="10511"/>
                    </a:moveTo>
                    <a:cubicBezTo>
                      <a:pt x="20097" y="5086"/>
                      <a:pt x="15937" y="383"/>
                      <a:pt x="10512" y="22"/>
                    </a:cubicBezTo>
                    <a:cubicBezTo>
                      <a:pt x="5086" y="-340"/>
                      <a:pt x="384" y="3820"/>
                      <a:pt x="22" y="9245"/>
                    </a:cubicBezTo>
                    <a:cubicBezTo>
                      <a:pt x="-340" y="14671"/>
                      <a:pt x="3820" y="19373"/>
                      <a:pt x="9246" y="19735"/>
                    </a:cubicBezTo>
                    <a:cubicBezTo>
                      <a:pt x="14671" y="20097"/>
                      <a:pt x="19373" y="15937"/>
                      <a:pt x="19735" y="1051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4" name="Google Shape;864;p21"/>
              <p:cNvSpPr/>
              <p:nvPr/>
            </p:nvSpPr>
            <p:spPr>
              <a:xfrm>
                <a:off x="12599259" y="6075116"/>
                <a:ext cx="104744" cy="104764"/>
              </a:xfrm>
              <a:custGeom>
                <a:avLst/>
                <a:gdLst/>
                <a:ahLst/>
                <a:cxnLst/>
                <a:rect l="l" t="t" r="r" b="b"/>
                <a:pathLst>
                  <a:path w="104744" h="104764" extrusionOk="0">
                    <a:moveTo>
                      <a:pt x="104639" y="55808"/>
                    </a:moveTo>
                    <a:cubicBezTo>
                      <a:pt x="106448" y="26871"/>
                      <a:pt x="84745" y="2094"/>
                      <a:pt x="55809" y="105"/>
                    </a:cubicBezTo>
                    <a:cubicBezTo>
                      <a:pt x="26872" y="-1703"/>
                      <a:pt x="2095" y="19999"/>
                      <a:pt x="105" y="48936"/>
                    </a:cubicBezTo>
                    <a:cubicBezTo>
                      <a:pt x="-1703" y="77872"/>
                      <a:pt x="19999" y="102649"/>
                      <a:pt x="48936" y="104639"/>
                    </a:cubicBezTo>
                    <a:cubicBezTo>
                      <a:pt x="77873" y="106628"/>
                      <a:pt x="102831" y="84745"/>
                      <a:pt x="104639" y="5580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5" name="Google Shape;865;p21"/>
              <p:cNvSpPr/>
              <p:nvPr/>
            </p:nvSpPr>
            <p:spPr>
              <a:xfrm>
                <a:off x="12475060" y="5734073"/>
                <a:ext cx="46955" cy="46955"/>
              </a:xfrm>
              <a:custGeom>
                <a:avLst/>
                <a:gdLst/>
                <a:ahLst/>
                <a:cxnLst/>
                <a:rect l="l" t="t" r="r" b="b"/>
                <a:pathLst>
                  <a:path w="46955" h="46955" extrusionOk="0">
                    <a:moveTo>
                      <a:pt x="46898" y="25015"/>
                    </a:moveTo>
                    <a:cubicBezTo>
                      <a:pt x="47803" y="11993"/>
                      <a:pt x="37856" y="961"/>
                      <a:pt x="25015" y="57"/>
                    </a:cubicBezTo>
                    <a:cubicBezTo>
                      <a:pt x="11994" y="-847"/>
                      <a:pt x="961" y="9100"/>
                      <a:pt x="57" y="21940"/>
                    </a:cubicBezTo>
                    <a:cubicBezTo>
                      <a:pt x="-847" y="34962"/>
                      <a:pt x="9100" y="45994"/>
                      <a:pt x="21940" y="46898"/>
                    </a:cubicBezTo>
                    <a:cubicBezTo>
                      <a:pt x="34781" y="47803"/>
                      <a:pt x="45994" y="37856"/>
                      <a:pt x="46898" y="250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6" name="Google Shape;866;p21"/>
              <p:cNvSpPr/>
              <p:nvPr/>
            </p:nvSpPr>
            <p:spPr>
              <a:xfrm>
                <a:off x="12514674" y="5670037"/>
                <a:ext cx="55462" cy="55482"/>
              </a:xfrm>
              <a:custGeom>
                <a:avLst/>
                <a:gdLst/>
                <a:ahLst/>
                <a:cxnLst/>
                <a:rect l="l" t="t" r="r" b="b"/>
                <a:pathLst>
                  <a:path w="55462" h="55482" extrusionOk="0">
                    <a:moveTo>
                      <a:pt x="55392" y="29550"/>
                    </a:moveTo>
                    <a:cubicBezTo>
                      <a:pt x="56477" y="14358"/>
                      <a:pt x="44902" y="1156"/>
                      <a:pt x="29530" y="70"/>
                    </a:cubicBezTo>
                    <a:cubicBezTo>
                      <a:pt x="14338" y="-1015"/>
                      <a:pt x="1135" y="10560"/>
                      <a:pt x="50" y="25933"/>
                    </a:cubicBezTo>
                    <a:cubicBezTo>
                      <a:pt x="-854" y="41125"/>
                      <a:pt x="10540" y="54327"/>
                      <a:pt x="25912" y="55412"/>
                    </a:cubicBezTo>
                    <a:cubicBezTo>
                      <a:pt x="41104" y="56497"/>
                      <a:pt x="54307" y="44922"/>
                      <a:pt x="55392" y="2955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7" name="Google Shape;867;p21"/>
              <p:cNvSpPr/>
              <p:nvPr/>
            </p:nvSpPr>
            <p:spPr>
              <a:xfrm>
                <a:off x="12518843" y="5665545"/>
                <a:ext cx="42764" cy="42764"/>
              </a:xfrm>
              <a:custGeom>
                <a:avLst/>
                <a:gdLst/>
                <a:ahLst/>
                <a:cxnLst/>
                <a:rect l="l" t="t" r="r" b="b"/>
                <a:pathLst>
                  <a:path w="42764" h="42764" extrusionOk="0">
                    <a:moveTo>
                      <a:pt x="42723" y="22829"/>
                    </a:moveTo>
                    <a:cubicBezTo>
                      <a:pt x="43446" y="11073"/>
                      <a:pt x="34584" y="946"/>
                      <a:pt x="22829" y="41"/>
                    </a:cubicBezTo>
                    <a:cubicBezTo>
                      <a:pt x="11073" y="-682"/>
                      <a:pt x="945" y="8180"/>
                      <a:pt x="41" y="19935"/>
                    </a:cubicBezTo>
                    <a:cubicBezTo>
                      <a:pt x="-682" y="31691"/>
                      <a:pt x="8179" y="41819"/>
                      <a:pt x="19935" y="42723"/>
                    </a:cubicBezTo>
                    <a:cubicBezTo>
                      <a:pt x="31871" y="43447"/>
                      <a:pt x="41999" y="34585"/>
                      <a:pt x="42723" y="2282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8" name="Google Shape;868;p21"/>
              <p:cNvSpPr/>
              <p:nvPr/>
            </p:nvSpPr>
            <p:spPr>
              <a:xfrm>
                <a:off x="12479953" y="5738966"/>
                <a:ext cx="36987" cy="36987"/>
              </a:xfrm>
              <a:custGeom>
                <a:avLst/>
                <a:gdLst/>
                <a:ahLst/>
                <a:cxnLst/>
                <a:rect l="l" t="t" r="r" b="b"/>
                <a:pathLst>
                  <a:path w="36987" h="36987" extrusionOk="0">
                    <a:moveTo>
                      <a:pt x="36941" y="19760"/>
                    </a:moveTo>
                    <a:cubicBezTo>
                      <a:pt x="37665" y="9632"/>
                      <a:pt x="29888" y="770"/>
                      <a:pt x="19760" y="47"/>
                    </a:cubicBezTo>
                    <a:cubicBezTo>
                      <a:pt x="9632" y="-677"/>
                      <a:pt x="770" y="7100"/>
                      <a:pt x="47" y="17228"/>
                    </a:cubicBezTo>
                    <a:cubicBezTo>
                      <a:pt x="-676" y="27356"/>
                      <a:pt x="7100" y="36218"/>
                      <a:pt x="17228" y="36941"/>
                    </a:cubicBezTo>
                    <a:cubicBezTo>
                      <a:pt x="27537" y="37664"/>
                      <a:pt x="36218" y="29888"/>
                      <a:pt x="36941" y="197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69" name="Google Shape;869;p21"/>
              <p:cNvSpPr/>
              <p:nvPr/>
            </p:nvSpPr>
            <p:spPr>
              <a:xfrm>
                <a:off x="12530079" y="5685643"/>
                <a:ext cx="24451" cy="24451"/>
              </a:xfrm>
              <a:custGeom>
                <a:avLst/>
                <a:gdLst/>
                <a:ahLst/>
                <a:cxnLst/>
                <a:rect l="l" t="t" r="r" b="b"/>
                <a:pathLst>
                  <a:path w="24451" h="24451" extrusionOk="0">
                    <a:moveTo>
                      <a:pt x="24434" y="13040"/>
                    </a:moveTo>
                    <a:cubicBezTo>
                      <a:pt x="24795" y="6348"/>
                      <a:pt x="19731" y="561"/>
                      <a:pt x="13040" y="18"/>
                    </a:cubicBezTo>
                    <a:cubicBezTo>
                      <a:pt x="6348" y="-344"/>
                      <a:pt x="561" y="4721"/>
                      <a:pt x="18" y="11412"/>
                    </a:cubicBezTo>
                    <a:cubicBezTo>
                      <a:pt x="-344" y="18104"/>
                      <a:pt x="4720" y="23891"/>
                      <a:pt x="11412" y="24434"/>
                    </a:cubicBezTo>
                    <a:cubicBezTo>
                      <a:pt x="18284" y="24795"/>
                      <a:pt x="24072" y="19731"/>
                      <a:pt x="24434" y="130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0" name="Google Shape;870;p21"/>
              <p:cNvSpPr/>
              <p:nvPr/>
            </p:nvSpPr>
            <p:spPr>
              <a:xfrm>
                <a:off x="12476704" y="5735696"/>
                <a:ext cx="43486" cy="43527"/>
              </a:xfrm>
              <a:custGeom>
                <a:avLst/>
                <a:gdLst/>
                <a:ahLst/>
                <a:cxnLst/>
                <a:rect l="l" t="t" r="r" b="b"/>
                <a:pathLst>
                  <a:path w="43486" h="43527" extrusionOk="0">
                    <a:moveTo>
                      <a:pt x="43446" y="23211"/>
                    </a:moveTo>
                    <a:cubicBezTo>
                      <a:pt x="44169" y="11274"/>
                      <a:pt x="35126" y="966"/>
                      <a:pt x="23190" y="61"/>
                    </a:cubicBezTo>
                    <a:cubicBezTo>
                      <a:pt x="11253" y="-843"/>
                      <a:pt x="945" y="8380"/>
                      <a:pt x="41" y="20317"/>
                    </a:cubicBezTo>
                    <a:cubicBezTo>
                      <a:pt x="-683" y="32253"/>
                      <a:pt x="8360" y="42562"/>
                      <a:pt x="20296" y="43466"/>
                    </a:cubicBezTo>
                    <a:cubicBezTo>
                      <a:pt x="32414" y="44371"/>
                      <a:pt x="42723" y="35147"/>
                      <a:pt x="43446" y="2321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1" name="Google Shape;871;p21"/>
              <p:cNvSpPr/>
              <p:nvPr/>
            </p:nvSpPr>
            <p:spPr>
              <a:xfrm>
                <a:off x="12722674" y="5676585"/>
                <a:ext cx="29364" cy="29347"/>
              </a:xfrm>
              <a:custGeom>
                <a:avLst/>
                <a:gdLst/>
                <a:ahLst/>
                <a:cxnLst/>
                <a:rect l="l" t="t" r="r" b="b"/>
                <a:pathLst>
                  <a:path w="29364" h="29347" extrusionOk="0">
                    <a:moveTo>
                      <a:pt x="29332" y="15587"/>
                    </a:moveTo>
                    <a:cubicBezTo>
                      <a:pt x="29874" y="7448"/>
                      <a:pt x="23725" y="576"/>
                      <a:pt x="15587" y="33"/>
                    </a:cubicBezTo>
                    <a:cubicBezTo>
                      <a:pt x="7448" y="-509"/>
                      <a:pt x="576" y="5640"/>
                      <a:pt x="33" y="13778"/>
                    </a:cubicBezTo>
                    <a:cubicBezTo>
                      <a:pt x="-509" y="21917"/>
                      <a:pt x="5640" y="28789"/>
                      <a:pt x="13778" y="29332"/>
                    </a:cubicBezTo>
                    <a:cubicBezTo>
                      <a:pt x="21736" y="29693"/>
                      <a:pt x="28789" y="23725"/>
                      <a:pt x="29332" y="155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2" name="Google Shape;872;p21"/>
              <p:cNvSpPr/>
              <p:nvPr/>
            </p:nvSpPr>
            <p:spPr>
              <a:xfrm>
                <a:off x="12638392" y="6114250"/>
                <a:ext cx="26658" cy="26658"/>
              </a:xfrm>
              <a:custGeom>
                <a:avLst/>
                <a:gdLst/>
                <a:ahLst/>
                <a:cxnLst/>
                <a:rect l="l" t="t" r="r" b="b"/>
                <a:pathLst>
                  <a:path w="26658" h="26658" extrusionOk="0">
                    <a:moveTo>
                      <a:pt x="26622" y="14143"/>
                    </a:moveTo>
                    <a:cubicBezTo>
                      <a:pt x="27164" y="6728"/>
                      <a:pt x="21558" y="398"/>
                      <a:pt x="14143" y="36"/>
                    </a:cubicBezTo>
                    <a:cubicBezTo>
                      <a:pt x="6728" y="-506"/>
                      <a:pt x="398" y="5100"/>
                      <a:pt x="36" y="12515"/>
                    </a:cubicBezTo>
                    <a:cubicBezTo>
                      <a:pt x="-506" y="19930"/>
                      <a:pt x="5100" y="26260"/>
                      <a:pt x="12515" y="26622"/>
                    </a:cubicBezTo>
                    <a:cubicBezTo>
                      <a:pt x="19749" y="27164"/>
                      <a:pt x="26079" y="21558"/>
                      <a:pt x="26622" y="141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3" name="Google Shape;873;p21"/>
              <p:cNvSpPr/>
              <p:nvPr/>
            </p:nvSpPr>
            <p:spPr>
              <a:xfrm>
                <a:off x="10822437" y="4443159"/>
                <a:ext cx="31531" cy="31553"/>
              </a:xfrm>
              <a:custGeom>
                <a:avLst/>
                <a:gdLst/>
                <a:ahLst/>
                <a:cxnLst/>
                <a:rect l="l" t="t" r="r" b="b"/>
                <a:pathLst>
                  <a:path w="31531" h="31553" extrusionOk="0">
                    <a:moveTo>
                      <a:pt x="31500" y="16851"/>
                    </a:moveTo>
                    <a:cubicBezTo>
                      <a:pt x="32043" y="8170"/>
                      <a:pt x="25532" y="755"/>
                      <a:pt x="16851" y="32"/>
                    </a:cubicBezTo>
                    <a:cubicBezTo>
                      <a:pt x="8170" y="-511"/>
                      <a:pt x="755" y="6000"/>
                      <a:pt x="32" y="14681"/>
                    </a:cubicBezTo>
                    <a:cubicBezTo>
                      <a:pt x="-511" y="23362"/>
                      <a:pt x="6000" y="30777"/>
                      <a:pt x="14681" y="31500"/>
                    </a:cubicBezTo>
                    <a:cubicBezTo>
                      <a:pt x="23362" y="32224"/>
                      <a:pt x="30958" y="25532"/>
                      <a:pt x="31500" y="168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4" name="Google Shape;874;p21"/>
              <p:cNvSpPr/>
              <p:nvPr/>
            </p:nvSpPr>
            <p:spPr>
              <a:xfrm>
                <a:off x="10071539" y="3856296"/>
                <a:ext cx="20118" cy="20102"/>
              </a:xfrm>
              <a:custGeom>
                <a:avLst/>
                <a:gdLst/>
                <a:ahLst/>
                <a:cxnLst/>
                <a:rect l="l" t="t" r="r" b="b"/>
                <a:pathLst>
                  <a:path w="20118" h="20102" extrusionOk="0">
                    <a:moveTo>
                      <a:pt x="20097" y="10692"/>
                    </a:moveTo>
                    <a:cubicBezTo>
                      <a:pt x="20458" y="5267"/>
                      <a:pt x="16299" y="383"/>
                      <a:pt x="10692" y="22"/>
                    </a:cubicBezTo>
                    <a:cubicBezTo>
                      <a:pt x="5267" y="-340"/>
                      <a:pt x="383" y="3820"/>
                      <a:pt x="22" y="9426"/>
                    </a:cubicBezTo>
                    <a:cubicBezTo>
                      <a:pt x="-340" y="14852"/>
                      <a:pt x="3820" y="19735"/>
                      <a:pt x="9426" y="20097"/>
                    </a:cubicBezTo>
                    <a:cubicBezTo>
                      <a:pt x="15033" y="20278"/>
                      <a:pt x="19735" y="16118"/>
                      <a:pt x="20097" y="106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5" name="Google Shape;875;p21"/>
              <p:cNvSpPr/>
              <p:nvPr/>
            </p:nvSpPr>
            <p:spPr>
              <a:xfrm>
                <a:off x="9825366" y="4555631"/>
                <a:ext cx="53093" cy="53114"/>
              </a:xfrm>
              <a:custGeom>
                <a:avLst/>
                <a:gdLst/>
                <a:ahLst/>
                <a:cxnLst/>
                <a:rect l="l" t="t" r="r" b="b"/>
                <a:pathLst>
                  <a:path w="53093" h="53114" extrusionOk="0">
                    <a:moveTo>
                      <a:pt x="53042" y="28265"/>
                    </a:moveTo>
                    <a:cubicBezTo>
                      <a:pt x="53946" y="13616"/>
                      <a:pt x="42914" y="956"/>
                      <a:pt x="28265" y="52"/>
                    </a:cubicBezTo>
                    <a:cubicBezTo>
                      <a:pt x="13616" y="-852"/>
                      <a:pt x="956" y="10180"/>
                      <a:pt x="52" y="24829"/>
                    </a:cubicBezTo>
                    <a:cubicBezTo>
                      <a:pt x="-852" y="39478"/>
                      <a:pt x="10180" y="52138"/>
                      <a:pt x="24829" y="53042"/>
                    </a:cubicBezTo>
                    <a:cubicBezTo>
                      <a:pt x="39478" y="54127"/>
                      <a:pt x="52138" y="42914"/>
                      <a:pt x="53042" y="282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6" name="Google Shape;876;p21"/>
              <p:cNvSpPr/>
              <p:nvPr/>
            </p:nvSpPr>
            <p:spPr>
              <a:xfrm>
                <a:off x="10801958" y="4422861"/>
                <a:ext cx="72490" cy="72471"/>
              </a:xfrm>
              <a:custGeom>
                <a:avLst/>
                <a:gdLst/>
                <a:ahLst/>
                <a:cxnLst/>
                <a:rect l="l" t="t" r="r" b="b"/>
                <a:pathLst>
                  <a:path w="72490" h="72471" extrusionOk="0">
                    <a:moveTo>
                      <a:pt x="72416" y="38596"/>
                    </a:moveTo>
                    <a:cubicBezTo>
                      <a:pt x="73682" y="18703"/>
                      <a:pt x="58671" y="1521"/>
                      <a:pt x="38596" y="75"/>
                    </a:cubicBezTo>
                    <a:cubicBezTo>
                      <a:pt x="18703" y="-1192"/>
                      <a:pt x="1521" y="13819"/>
                      <a:pt x="75" y="33894"/>
                    </a:cubicBezTo>
                    <a:cubicBezTo>
                      <a:pt x="-1192" y="53788"/>
                      <a:pt x="13819" y="70969"/>
                      <a:pt x="33894" y="72416"/>
                    </a:cubicBezTo>
                    <a:cubicBezTo>
                      <a:pt x="53788" y="73501"/>
                      <a:pt x="71150" y="58490"/>
                      <a:pt x="72416" y="385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7" name="Google Shape;877;p21"/>
              <p:cNvSpPr/>
              <p:nvPr/>
            </p:nvSpPr>
            <p:spPr>
              <a:xfrm>
                <a:off x="10387458" y="4872303"/>
                <a:ext cx="49302" cy="49302"/>
              </a:xfrm>
              <a:custGeom>
                <a:avLst/>
                <a:gdLst/>
                <a:ahLst/>
                <a:cxnLst/>
                <a:rect l="l" t="t" r="r" b="b"/>
                <a:pathLst>
                  <a:path w="49302" h="49302" extrusionOk="0">
                    <a:moveTo>
                      <a:pt x="49248" y="26279"/>
                    </a:moveTo>
                    <a:cubicBezTo>
                      <a:pt x="50152" y="12715"/>
                      <a:pt x="39843" y="960"/>
                      <a:pt x="26279" y="55"/>
                    </a:cubicBezTo>
                    <a:cubicBezTo>
                      <a:pt x="12715" y="-849"/>
                      <a:pt x="959" y="9460"/>
                      <a:pt x="55" y="23024"/>
                    </a:cubicBezTo>
                    <a:cubicBezTo>
                      <a:pt x="-849" y="36588"/>
                      <a:pt x="9459" y="48343"/>
                      <a:pt x="23024" y="49248"/>
                    </a:cubicBezTo>
                    <a:cubicBezTo>
                      <a:pt x="36588" y="50152"/>
                      <a:pt x="48343" y="39843"/>
                      <a:pt x="4924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8" name="Google Shape;878;p21"/>
              <p:cNvSpPr/>
              <p:nvPr/>
            </p:nvSpPr>
            <p:spPr>
              <a:xfrm>
                <a:off x="9837140" y="4567586"/>
                <a:ext cx="29364" cy="29364"/>
              </a:xfrm>
              <a:custGeom>
                <a:avLst/>
                <a:gdLst/>
                <a:ahLst/>
                <a:cxnLst/>
                <a:rect l="l" t="t" r="r" b="b"/>
                <a:pathLst>
                  <a:path w="29364" h="29364" extrusionOk="0">
                    <a:moveTo>
                      <a:pt x="29332" y="15587"/>
                    </a:moveTo>
                    <a:cubicBezTo>
                      <a:pt x="29874" y="7448"/>
                      <a:pt x="23725" y="576"/>
                      <a:pt x="15587" y="33"/>
                    </a:cubicBezTo>
                    <a:cubicBezTo>
                      <a:pt x="7448" y="-509"/>
                      <a:pt x="576" y="5640"/>
                      <a:pt x="33" y="13778"/>
                    </a:cubicBezTo>
                    <a:cubicBezTo>
                      <a:pt x="-509" y="21917"/>
                      <a:pt x="5640" y="28789"/>
                      <a:pt x="13778" y="29332"/>
                    </a:cubicBezTo>
                    <a:cubicBezTo>
                      <a:pt x="21917" y="29874"/>
                      <a:pt x="28789" y="23725"/>
                      <a:pt x="29332" y="155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79" name="Google Shape;879;p21"/>
              <p:cNvSpPr/>
              <p:nvPr/>
            </p:nvSpPr>
            <p:spPr>
              <a:xfrm>
                <a:off x="10813372" y="4434275"/>
                <a:ext cx="49843" cy="49824"/>
              </a:xfrm>
              <a:custGeom>
                <a:avLst/>
                <a:gdLst/>
                <a:ahLst/>
                <a:cxnLst/>
                <a:rect l="l" t="t" r="r" b="b"/>
                <a:pathLst>
                  <a:path w="49843" h="49824" extrusionOk="0">
                    <a:moveTo>
                      <a:pt x="49789" y="26459"/>
                    </a:moveTo>
                    <a:cubicBezTo>
                      <a:pt x="50694" y="12714"/>
                      <a:pt x="40204" y="959"/>
                      <a:pt x="26459" y="54"/>
                    </a:cubicBezTo>
                    <a:cubicBezTo>
                      <a:pt x="12714" y="-850"/>
                      <a:pt x="959" y="9640"/>
                      <a:pt x="54" y="23385"/>
                    </a:cubicBezTo>
                    <a:cubicBezTo>
                      <a:pt x="-850" y="37130"/>
                      <a:pt x="9640" y="48885"/>
                      <a:pt x="23385" y="49789"/>
                    </a:cubicBezTo>
                    <a:cubicBezTo>
                      <a:pt x="36949" y="50513"/>
                      <a:pt x="48885" y="40023"/>
                      <a:pt x="49789" y="264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0" name="Google Shape;880;p21"/>
              <p:cNvSpPr/>
              <p:nvPr/>
            </p:nvSpPr>
            <p:spPr>
              <a:xfrm>
                <a:off x="11112715" y="3970955"/>
                <a:ext cx="17050" cy="17050"/>
              </a:xfrm>
              <a:custGeom>
                <a:avLst/>
                <a:gdLst/>
                <a:ahLst/>
                <a:cxnLst/>
                <a:rect l="l" t="t" r="r" b="b"/>
                <a:pathLst>
                  <a:path w="17050" h="17050" extrusionOk="0">
                    <a:moveTo>
                      <a:pt x="17025" y="9068"/>
                    </a:moveTo>
                    <a:cubicBezTo>
                      <a:pt x="17387" y="4366"/>
                      <a:pt x="13770" y="206"/>
                      <a:pt x="9068" y="25"/>
                    </a:cubicBezTo>
                    <a:cubicBezTo>
                      <a:pt x="4366" y="-337"/>
                      <a:pt x="206" y="3280"/>
                      <a:pt x="25" y="7983"/>
                    </a:cubicBezTo>
                    <a:cubicBezTo>
                      <a:pt x="-337" y="12685"/>
                      <a:pt x="3280" y="16844"/>
                      <a:pt x="7983" y="17025"/>
                    </a:cubicBezTo>
                    <a:cubicBezTo>
                      <a:pt x="12685" y="17387"/>
                      <a:pt x="16845" y="13770"/>
                      <a:pt x="17025" y="90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1" name="Google Shape;881;p21"/>
              <p:cNvSpPr/>
              <p:nvPr/>
            </p:nvSpPr>
            <p:spPr>
              <a:xfrm>
                <a:off x="10061390" y="3846148"/>
                <a:ext cx="40416" cy="40416"/>
              </a:xfrm>
              <a:custGeom>
                <a:avLst/>
                <a:gdLst/>
                <a:ahLst/>
                <a:cxnLst/>
                <a:rect l="l" t="t" r="r" b="b"/>
                <a:pathLst>
                  <a:path w="40416" h="40416" extrusionOk="0">
                    <a:moveTo>
                      <a:pt x="40373" y="21564"/>
                    </a:moveTo>
                    <a:cubicBezTo>
                      <a:pt x="41097" y="10352"/>
                      <a:pt x="32597" y="766"/>
                      <a:pt x="21564" y="43"/>
                    </a:cubicBezTo>
                    <a:cubicBezTo>
                      <a:pt x="10352" y="-681"/>
                      <a:pt x="766" y="7820"/>
                      <a:pt x="43" y="18852"/>
                    </a:cubicBezTo>
                    <a:cubicBezTo>
                      <a:pt x="-681" y="30065"/>
                      <a:pt x="7820" y="39650"/>
                      <a:pt x="18852" y="40373"/>
                    </a:cubicBezTo>
                    <a:cubicBezTo>
                      <a:pt x="30065" y="41097"/>
                      <a:pt x="39650" y="32597"/>
                      <a:pt x="40373" y="215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2" name="Google Shape;882;p21"/>
              <p:cNvSpPr/>
              <p:nvPr/>
            </p:nvSpPr>
            <p:spPr>
              <a:xfrm>
                <a:off x="10807394" y="4428116"/>
                <a:ext cx="61799" cy="61799"/>
              </a:xfrm>
              <a:custGeom>
                <a:avLst/>
                <a:gdLst/>
                <a:ahLst/>
                <a:cxnLst/>
                <a:rect l="l" t="t" r="r" b="b"/>
                <a:pathLst>
                  <a:path w="61799" h="61799" extrusionOk="0">
                    <a:moveTo>
                      <a:pt x="61735" y="32980"/>
                    </a:moveTo>
                    <a:cubicBezTo>
                      <a:pt x="62820" y="15979"/>
                      <a:pt x="49980" y="1330"/>
                      <a:pt x="32979" y="64"/>
                    </a:cubicBezTo>
                    <a:cubicBezTo>
                      <a:pt x="15979" y="-1021"/>
                      <a:pt x="1330" y="11819"/>
                      <a:pt x="64" y="28820"/>
                    </a:cubicBezTo>
                    <a:cubicBezTo>
                      <a:pt x="-1021" y="45820"/>
                      <a:pt x="11819" y="60469"/>
                      <a:pt x="28820" y="61735"/>
                    </a:cubicBezTo>
                    <a:cubicBezTo>
                      <a:pt x="45820" y="62821"/>
                      <a:pt x="60650" y="49980"/>
                      <a:pt x="61735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3" name="Google Shape;883;p21"/>
              <p:cNvSpPr/>
              <p:nvPr/>
            </p:nvSpPr>
            <p:spPr>
              <a:xfrm>
                <a:off x="10643884" y="4976450"/>
                <a:ext cx="65249" cy="65249"/>
              </a:xfrm>
              <a:custGeom>
                <a:avLst/>
                <a:gdLst/>
                <a:ahLst/>
                <a:cxnLst/>
                <a:rect l="l" t="t" r="r" b="b"/>
                <a:pathLst>
                  <a:path w="65249" h="65249" extrusionOk="0">
                    <a:moveTo>
                      <a:pt x="65189" y="34805"/>
                    </a:moveTo>
                    <a:cubicBezTo>
                      <a:pt x="66274" y="16900"/>
                      <a:pt x="52710" y="1347"/>
                      <a:pt x="34805" y="81"/>
                    </a:cubicBezTo>
                    <a:cubicBezTo>
                      <a:pt x="16901" y="-1185"/>
                      <a:pt x="1347" y="12560"/>
                      <a:pt x="81" y="30464"/>
                    </a:cubicBezTo>
                    <a:cubicBezTo>
                      <a:pt x="-1185" y="48369"/>
                      <a:pt x="12560" y="63923"/>
                      <a:pt x="30465" y="65188"/>
                    </a:cubicBezTo>
                    <a:cubicBezTo>
                      <a:pt x="48550" y="66273"/>
                      <a:pt x="63923" y="52709"/>
                      <a:pt x="65189" y="348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4" name="Google Shape;884;p21"/>
              <p:cNvSpPr/>
              <p:nvPr/>
            </p:nvSpPr>
            <p:spPr>
              <a:xfrm>
                <a:off x="10388721" y="4873566"/>
                <a:ext cx="46595" cy="46595"/>
              </a:xfrm>
              <a:custGeom>
                <a:avLst/>
                <a:gdLst/>
                <a:ahLst/>
                <a:cxnLst/>
                <a:rect l="l" t="t" r="r" b="b"/>
                <a:pathLst>
                  <a:path w="46595" h="46595" extrusionOk="0">
                    <a:moveTo>
                      <a:pt x="46538" y="24835"/>
                    </a:moveTo>
                    <a:cubicBezTo>
                      <a:pt x="47442" y="11995"/>
                      <a:pt x="37676" y="962"/>
                      <a:pt x="24835" y="58"/>
                    </a:cubicBezTo>
                    <a:cubicBezTo>
                      <a:pt x="11995" y="-846"/>
                      <a:pt x="962" y="8920"/>
                      <a:pt x="58" y="21761"/>
                    </a:cubicBezTo>
                    <a:cubicBezTo>
                      <a:pt x="-846" y="34601"/>
                      <a:pt x="8920" y="45633"/>
                      <a:pt x="21761" y="46538"/>
                    </a:cubicBezTo>
                    <a:cubicBezTo>
                      <a:pt x="34601" y="47442"/>
                      <a:pt x="45633" y="37676"/>
                      <a:pt x="46538" y="248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5" name="Google Shape;885;p21"/>
              <p:cNvSpPr/>
              <p:nvPr/>
            </p:nvSpPr>
            <p:spPr>
              <a:xfrm>
                <a:off x="10792711" y="4413434"/>
                <a:ext cx="91164" cy="91164"/>
              </a:xfrm>
              <a:custGeom>
                <a:avLst/>
                <a:gdLst/>
                <a:ahLst/>
                <a:cxnLst/>
                <a:rect l="l" t="t" r="r" b="b"/>
                <a:pathLst>
                  <a:path w="91164" h="91164" extrusionOk="0">
                    <a:moveTo>
                      <a:pt x="91067" y="48566"/>
                    </a:moveTo>
                    <a:cubicBezTo>
                      <a:pt x="92695" y="23427"/>
                      <a:pt x="73705" y="1725"/>
                      <a:pt x="48566" y="97"/>
                    </a:cubicBezTo>
                    <a:cubicBezTo>
                      <a:pt x="23428" y="-1530"/>
                      <a:pt x="1725" y="17459"/>
                      <a:pt x="97" y="42598"/>
                    </a:cubicBezTo>
                    <a:cubicBezTo>
                      <a:pt x="-1530" y="67737"/>
                      <a:pt x="17459" y="89439"/>
                      <a:pt x="42598" y="91067"/>
                    </a:cubicBezTo>
                    <a:cubicBezTo>
                      <a:pt x="67737" y="92695"/>
                      <a:pt x="89439" y="73705"/>
                      <a:pt x="91067" y="485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6" name="Google Shape;886;p21"/>
              <p:cNvSpPr/>
              <p:nvPr/>
            </p:nvSpPr>
            <p:spPr>
              <a:xfrm>
                <a:off x="11275042" y="4939169"/>
                <a:ext cx="103840" cy="103861"/>
              </a:xfrm>
              <a:custGeom>
                <a:avLst/>
                <a:gdLst/>
                <a:ahLst/>
                <a:cxnLst/>
                <a:rect l="l" t="t" r="r" b="b"/>
                <a:pathLst>
                  <a:path w="103840" h="103861" extrusionOk="0">
                    <a:moveTo>
                      <a:pt x="103735" y="55266"/>
                    </a:moveTo>
                    <a:cubicBezTo>
                      <a:pt x="105543" y="26691"/>
                      <a:pt x="83841" y="1914"/>
                      <a:pt x="55266" y="105"/>
                    </a:cubicBezTo>
                    <a:cubicBezTo>
                      <a:pt x="26691" y="-1703"/>
                      <a:pt x="1914" y="19999"/>
                      <a:pt x="105" y="48574"/>
                    </a:cubicBezTo>
                    <a:cubicBezTo>
                      <a:pt x="-1703" y="77149"/>
                      <a:pt x="19999" y="101926"/>
                      <a:pt x="48574" y="103735"/>
                    </a:cubicBezTo>
                    <a:cubicBezTo>
                      <a:pt x="77149" y="105724"/>
                      <a:pt x="101926" y="84022"/>
                      <a:pt x="103735" y="552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7" name="Google Shape;887;p21"/>
              <p:cNvSpPr/>
              <p:nvPr/>
            </p:nvSpPr>
            <p:spPr>
              <a:xfrm>
                <a:off x="10652229" y="4984794"/>
                <a:ext cx="48581" cy="48581"/>
              </a:xfrm>
              <a:custGeom>
                <a:avLst/>
                <a:gdLst/>
                <a:ahLst/>
                <a:cxnLst/>
                <a:rect l="l" t="t" r="r" b="b"/>
                <a:pathLst>
                  <a:path w="48581" h="48581" extrusionOk="0">
                    <a:moveTo>
                      <a:pt x="48525" y="25918"/>
                    </a:moveTo>
                    <a:cubicBezTo>
                      <a:pt x="49429" y="12535"/>
                      <a:pt x="39302" y="960"/>
                      <a:pt x="25918" y="56"/>
                    </a:cubicBezTo>
                    <a:cubicBezTo>
                      <a:pt x="12535" y="-848"/>
                      <a:pt x="960" y="9280"/>
                      <a:pt x="56" y="22663"/>
                    </a:cubicBezTo>
                    <a:cubicBezTo>
                      <a:pt x="-848" y="36046"/>
                      <a:pt x="9280" y="47621"/>
                      <a:pt x="22663" y="48525"/>
                    </a:cubicBezTo>
                    <a:cubicBezTo>
                      <a:pt x="36046" y="49429"/>
                      <a:pt x="47621" y="39302"/>
                      <a:pt x="48525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8" name="Google Shape;888;p21"/>
              <p:cNvSpPr/>
              <p:nvPr/>
            </p:nvSpPr>
            <p:spPr>
              <a:xfrm>
                <a:off x="10812107" y="4432830"/>
                <a:ext cx="52372" cy="52372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72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1"/>
                      <a:pt x="957" y="10000"/>
                      <a:pt x="53" y="24468"/>
                    </a:cubicBezTo>
                    <a:cubicBezTo>
                      <a:pt x="-852" y="38936"/>
                      <a:pt x="10000" y="51415"/>
                      <a:pt x="24468" y="52320"/>
                    </a:cubicBezTo>
                    <a:cubicBezTo>
                      <a:pt x="38936" y="53224"/>
                      <a:pt x="51415" y="42373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89" name="Google Shape;889;p21"/>
              <p:cNvSpPr/>
              <p:nvPr/>
            </p:nvSpPr>
            <p:spPr>
              <a:xfrm>
                <a:off x="11381650" y="4204623"/>
                <a:ext cx="20478" cy="20478"/>
              </a:xfrm>
              <a:custGeom>
                <a:avLst/>
                <a:gdLst/>
                <a:ahLst/>
                <a:cxnLst/>
                <a:rect l="l" t="t" r="r" b="b"/>
                <a:pathLst>
                  <a:path w="20478" h="20478" extrusionOk="0">
                    <a:moveTo>
                      <a:pt x="20457" y="10872"/>
                    </a:moveTo>
                    <a:cubicBezTo>
                      <a:pt x="20819" y="5266"/>
                      <a:pt x="16479" y="383"/>
                      <a:pt x="10872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1" y="15213"/>
                      <a:pt x="4000" y="20096"/>
                      <a:pt x="9606" y="20458"/>
                    </a:cubicBezTo>
                    <a:cubicBezTo>
                      <a:pt x="15213" y="20820"/>
                      <a:pt x="20096" y="16479"/>
                      <a:pt x="20457" y="108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0" name="Google Shape;890;p21"/>
              <p:cNvSpPr/>
              <p:nvPr/>
            </p:nvSpPr>
            <p:spPr>
              <a:xfrm>
                <a:off x="11067765" y="3925824"/>
                <a:ext cx="107130" cy="107130"/>
              </a:xfrm>
              <a:custGeom>
                <a:avLst/>
                <a:gdLst/>
                <a:ahLst/>
                <a:cxnLst/>
                <a:rect l="l" t="t" r="r" b="b"/>
                <a:pathLst>
                  <a:path w="107130" h="107130" extrusionOk="0">
                    <a:moveTo>
                      <a:pt x="107008" y="57092"/>
                    </a:moveTo>
                    <a:cubicBezTo>
                      <a:pt x="108997" y="27613"/>
                      <a:pt x="86571" y="2112"/>
                      <a:pt x="57092" y="123"/>
                    </a:cubicBezTo>
                    <a:cubicBezTo>
                      <a:pt x="27613" y="-1867"/>
                      <a:pt x="2112" y="20559"/>
                      <a:pt x="123" y="50039"/>
                    </a:cubicBezTo>
                    <a:cubicBezTo>
                      <a:pt x="-1867" y="79518"/>
                      <a:pt x="20559" y="105018"/>
                      <a:pt x="50039" y="107008"/>
                    </a:cubicBezTo>
                    <a:cubicBezTo>
                      <a:pt x="79518" y="108997"/>
                      <a:pt x="105018" y="86571"/>
                      <a:pt x="107008" y="570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1" name="Google Shape;891;p21"/>
              <p:cNvSpPr/>
              <p:nvPr/>
            </p:nvSpPr>
            <p:spPr>
              <a:xfrm>
                <a:off x="10797425" y="4418147"/>
                <a:ext cx="81737" cy="81737"/>
              </a:xfrm>
              <a:custGeom>
                <a:avLst/>
                <a:gdLst/>
                <a:ahLst/>
                <a:cxnLst/>
                <a:rect l="l" t="t" r="r" b="b"/>
                <a:pathLst>
                  <a:path w="81737" h="81737" extrusionOk="0">
                    <a:moveTo>
                      <a:pt x="81651" y="43491"/>
                    </a:moveTo>
                    <a:cubicBezTo>
                      <a:pt x="83098" y="20884"/>
                      <a:pt x="66098" y="1533"/>
                      <a:pt x="43491" y="86"/>
                    </a:cubicBezTo>
                    <a:cubicBezTo>
                      <a:pt x="20884" y="-1361"/>
                      <a:pt x="1533" y="15639"/>
                      <a:pt x="86" y="38246"/>
                    </a:cubicBezTo>
                    <a:cubicBezTo>
                      <a:pt x="-1361" y="60853"/>
                      <a:pt x="15639" y="80205"/>
                      <a:pt x="38246" y="81651"/>
                    </a:cubicBezTo>
                    <a:cubicBezTo>
                      <a:pt x="60672" y="83098"/>
                      <a:pt x="80204" y="66098"/>
                      <a:pt x="81651" y="434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2" name="Google Shape;892;p21"/>
              <p:cNvSpPr/>
              <p:nvPr/>
            </p:nvSpPr>
            <p:spPr>
              <a:xfrm>
                <a:off x="11562461" y="4251060"/>
                <a:ext cx="61980" cy="61961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61" extrusionOk="0">
                    <a:moveTo>
                      <a:pt x="61916" y="32979"/>
                    </a:moveTo>
                    <a:cubicBezTo>
                      <a:pt x="63001" y="15979"/>
                      <a:pt x="50161" y="1149"/>
                      <a:pt x="32979" y="64"/>
                    </a:cubicBezTo>
                    <a:cubicBezTo>
                      <a:pt x="15798" y="-1021"/>
                      <a:pt x="1149" y="11819"/>
                      <a:pt x="64" y="29001"/>
                    </a:cubicBezTo>
                    <a:cubicBezTo>
                      <a:pt x="-1021" y="46001"/>
                      <a:pt x="11819" y="60831"/>
                      <a:pt x="29001" y="61916"/>
                    </a:cubicBezTo>
                    <a:cubicBezTo>
                      <a:pt x="46182" y="62821"/>
                      <a:pt x="60831" y="49980"/>
                      <a:pt x="61916" y="329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3" name="Google Shape;893;p21"/>
              <p:cNvSpPr/>
              <p:nvPr/>
            </p:nvSpPr>
            <p:spPr>
              <a:xfrm>
                <a:off x="11320714" y="4984841"/>
                <a:ext cx="12497" cy="12497"/>
              </a:xfrm>
              <a:custGeom>
                <a:avLst/>
                <a:gdLst/>
                <a:ahLst/>
                <a:cxnLst/>
                <a:rect l="l" t="t" r="r" b="b"/>
                <a:pathLst>
                  <a:path w="12497" h="12497" extrusionOk="0">
                    <a:moveTo>
                      <a:pt x="12488" y="6701"/>
                    </a:moveTo>
                    <a:cubicBezTo>
                      <a:pt x="12669" y="3265"/>
                      <a:pt x="10137" y="371"/>
                      <a:pt x="6701" y="9"/>
                    </a:cubicBezTo>
                    <a:cubicBezTo>
                      <a:pt x="3265" y="-172"/>
                      <a:pt x="371" y="2360"/>
                      <a:pt x="9" y="5797"/>
                    </a:cubicBezTo>
                    <a:cubicBezTo>
                      <a:pt x="-172" y="9233"/>
                      <a:pt x="2360" y="12126"/>
                      <a:pt x="5797" y="12488"/>
                    </a:cubicBezTo>
                    <a:cubicBezTo>
                      <a:pt x="9233" y="12669"/>
                      <a:pt x="12307" y="10137"/>
                      <a:pt x="12488" y="67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4" name="Google Shape;894;p21"/>
              <p:cNvSpPr/>
              <p:nvPr/>
            </p:nvSpPr>
            <p:spPr>
              <a:xfrm>
                <a:off x="10815738" y="4436460"/>
                <a:ext cx="45111" cy="45130"/>
              </a:xfrm>
              <a:custGeom>
                <a:avLst/>
                <a:gdLst/>
                <a:ahLst/>
                <a:cxnLst/>
                <a:rect l="l" t="t" r="r" b="b"/>
                <a:pathLst>
                  <a:path w="45111" h="45130" extrusionOk="0">
                    <a:moveTo>
                      <a:pt x="45072" y="24093"/>
                    </a:moveTo>
                    <a:cubicBezTo>
                      <a:pt x="45795" y="11614"/>
                      <a:pt x="36391" y="943"/>
                      <a:pt x="24093" y="39"/>
                    </a:cubicBezTo>
                    <a:cubicBezTo>
                      <a:pt x="11614" y="-684"/>
                      <a:pt x="943" y="8720"/>
                      <a:pt x="39" y="21018"/>
                    </a:cubicBezTo>
                    <a:cubicBezTo>
                      <a:pt x="-684" y="33497"/>
                      <a:pt x="8720" y="44167"/>
                      <a:pt x="21018" y="45072"/>
                    </a:cubicBezTo>
                    <a:cubicBezTo>
                      <a:pt x="33497" y="45976"/>
                      <a:pt x="44168" y="36391"/>
                      <a:pt x="45072" y="240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5" name="Google Shape;895;p21"/>
              <p:cNvSpPr/>
              <p:nvPr/>
            </p:nvSpPr>
            <p:spPr>
              <a:xfrm>
                <a:off x="11570063" y="4258480"/>
                <a:ext cx="46957" cy="46937"/>
              </a:xfrm>
              <a:custGeom>
                <a:avLst/>
                <a:gdLst/>
                <a:ahLst/>
                <a:cxnLst/>
                <a:rect l="l" t="t" r="r" b="b"/>
                <a:pathLst>
                  <a:path w="46957" h="46937" extrusionOk="0">
                    <a:moveTo>
                      <a:pt x="46899" y="25016"/>
                    </a:moveTo>
                    <a:cubicBezTo>
                      <a:pt x="47804" y="12176"/>
                      <a:pt x="38037" y="962"/>
                      <a:pt x="25016" y="58"/>
                    </a:cubicBezTo>
                    <a:cubicBezTo>
                      <a:pt x="12175" y="-846"/>
                      <a:pt x="962" y="8920"/>
                      <a:pt x="58" y="21942"/>
                    </a:cubicBezTo>
                    <a:cubicBezTo>
                      <a:pt x="-846" y="34782"/>
                      <a:pt x="8920" y="45995"/>
                      <a:pt x="21941" y="46900"/>
                    </a:cubicBezTo>
                    <a:cubicBezTo>
                      <a:pt x="34782" y="47623"/>
                      <a:pt x="45995" y="37857"/>
                      <a:pt x="46899" y="2501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6" name="Google Shape;896;p21"/>
              <p:cNvSpPr/>
              <p:nvPr/>
            </p:nvSpPr>
            <p:spPr>
              <a:xfrm>
                <a:off x="11350299" y="4173272"/>
                <a:ext cx="83361" cy="83360"/>
              </a:xfrm>
              <a:custGeom>
                <a:avLst/>
                <a:gdLst/>
                <a:ahLst/>
                <a:cxnLst/>
                <a:rect l="l" t="t" r="r" b="b"/>
                <a:pathLst>
                  <a:path w="83361" h="83360" extrusionOk="0">
                    <a:moveTo>
                      <a:pt x="83277" y="44394"/>
                    </a:moveTo>
                    <a:cubicBezTo>
                      <a:pt x="84724" y="21425"/>
                      <a:pt x="67362" y="1712"/>
                      <a:pt x="44394" y="84"/>
                    </a:cubicBezTo>
                    <a:cubicBezTo>
                      <a:pt x="21425" y="-1363"/>
                      <a:pt x="1712" y="16000"/>
                      <a:pt x="84" y="38968"/>
                    </a:cubicBezTo>
                    <a:cubicBezTo>
                      <a:pt x="-1363" y="61936"/>
                      <a:pt x="16000" y="81649"/>
                      <a:pt x="38968" y="83277"/>
                    </a:cubicBezTo>
                    <a:cubicBezTo>
                      <a:pt x="61936" y="84724"/>
                      <a:pt x="81650" y="67181"/>
                      <a:pt x="83277" y="443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7" name="Google Shape;897;p21"/>
              <p:cNvSpPr/>
              <p:nvPr/>
            </p:nvSpPr>
            <p:spPr>
              <a:xfrm>
                <a:off x="12350596" y="5755197"/>
                <a:ext cx="95315" cy="95315"/>
              </a:xfrm>
              <a:custGeom>
                <a:avLst/>
                <a:gdLst/>
                <a:ahLst/>
                <a:cxnLst/>
                <a:rect l="l" t="t" r="r" b="b"/>
                <a:pathLst>
                  <a:path w="95315" h="95315" extrusionOk="0">
                    <a:moveTo>
                      <a:pt x="95223" y="50732"/>
                    </a:moveTo>
                    <a:cubicBezTo>
                      <a:pt x="96850" y="24508"/>
                      <a:pt x="76956" y="1721"/>
                      <a:pt x="50733" y="93"/>
                    </a:cubicBezTo>
                    <a:cubicBezTo>
                      <a:pt x="24509" y="-1534"/>
                      <a:pt x="1721" y="18359"/>
                      <a:pt x="93" y="44583"/>
                    </a:cubicBezTo>
                    <a:cubicBezTo>
                      <a:pt x="-1534" y="70807"/>
                      <a:pt x="18360" y="93595"/>
                      <a:pt x="44583" y="95222"/>
                    </a:cubicBezTo>
                    <a:cubicBezTo>
                      <a:pt x="70807" y="96850"/>
                      <a:pt x="93414" y="76956"/>
                      <a:pt x="95223" y="50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8" name="Google Shape;898;p21"/>
              <p:cNvSpPr/>
              <p:nvPr/>
            </p:nvSpPr>
            <p:spPr>
              <a:xfrm>
                <a:off x="12534428" y="5680950"/>
                <a:ext cx="11954" cy="11979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79" extrusionOk="0">
                    <a:moveTo>
                      <a:pt x="11946" y="6339"/>
                    </a:moveTo>
                    <a:cubicBezTo>
                      <a:pt x="12127" y="3084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2" y="8871"/>
                      <a:pt x="2360" y="11765"/>
                      <a:pt x="5616" y="11946"/>
                    </a:cubicBezTo>
                    <a:cubicBezTo>
                      <a:pt x="8690" y="12307"/>
                      <a:pt x="11584" y="9775"/>
                      <a:pt x="11946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899" name="Google Shape;899;p21"/>
              <p:cNvSpPr/>
              <p:nvPr/>
            </p:nvSpPr>
            <p:spPr>
              <a:xfrm>
                <a:off x="11888947" y="5716205"/>
                <a:ext cx="21743" cy="21743"/>
              </a:xfrm>
              <a:custGeom>
                <a:avLst/>
                <a:gdLst/>
                <a:ahLst/>
                <a:cxnLst/>
                <a:rect l="l" t="t" r="r" b="b"/>
                <a:pathLst>
                  <a:path w="21743" h="21743" extrusionOk="0">
                    <a:moveTo>
                      <a:pt x="21723" y="11595"/>
                    </a:moveTo>
                    <a:cubicBezTo>
                      <a:pt x="22085" y="5627"/>
                      <a:pt x="17563" y="382"/>
                      <a:pt x="11595" y="20"/>
                    </a:cubicBezTo>
                    <a:cubicBezTo>
                      <a:pt x="5627" y="-342"/>
                      <a:pt x="382" y="4180"/>
                      <a:pt x="20" y="10148"/>
                    </a:cubicBezTo>
                    <a:cubicBezTo>
                      <a:pt x="-341" y="16116"/>
                      <a:pt x="4180" y="21361"/>
                      <a:pt x="10148" y="21723"/>
                    </a:cubicBezTo>
                    <a:cubicBezTo>
                      <a:pt x="16116" y="22085"/>
                      <a:pt x="21361" y="17563"/>
                      <a:pt x="21723" y="1159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0" name="Google Shape;900;p21"/>
              <p:cNvSpPr/>
              <p:nvPr/>
            </p:nvSpPr>
            <p:spPr>
              <a:xfrm>
                <a:off x="12378858" y="5783278"/>
                <a:ext cx="38792" cy="38792"/>
              </a:xfrm>
              <a:custGeom>
                <a:avLst/>
                <a:gdLst/>
                <a:ahLst/>
                <a:cxnLst/>
                <a:rect l="l" t="t" r="r" b="b"/>
                <a:pathLst>
                  <a:path w="38792" h="38792" extrusionOk="0">
                    <a:moveTo>
                      <a:pt x="38748" y="20662"/>
                    </a:moveTo>
                    <a:cubicBezTo>
                      <a:pt x="39471" y="9992"/>
                      <a:pt x="31333" y="768"/>
                      <a:pt x="20662" y="45"/>
                    </a:cubicBezTo>
                    <a:cubicBezTo>
                      <a:pt x="9992" y="-679"/>
                      <a:pt x="768" y="7460"/>
                      <a:pt x="45" y="18130"/>
                    </a:cubicBezTo>
                    <a:cubicBezTo>
                      <a:pt x="-678" y="28801"/>
                      <a:pt x="7460" y="38024"/>
                      <a:pt x="18130" y="38748"/>
                    </a:cubicBezTo>
                    <a:cubicBezTo>
                      <a:pt x="28800" y="39471"/>
                      <a:pt x="38024" y="31332"/>
                      <a:pt x="38748" y="206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1" name="Google Shape;901;p21"/>
              <p:cNvSpPr/>
              <p:nvPr/>
            </p:nvSpPr>
            <p:spPr>
              <a:xfrm>
                <a:off x="12625896" y="6101754"/>
                <a:ext cx="51650" cy="51650"/>
              </a:xfrm>
              <a:custGeom>
                <a:avLst/>
                <a:gdLst/>
                <a:ahLst/>
                <a:cxnLst/>
                <a:rect l="l" t="t" r="r" b="b"/>
                <a:pathLst>
                  <a:path w="51650" h="51650" extrusionOk="0">
                    <a:moveTo>
                      <a:pt x="51597" y="27543"/>
                    </a:moveTo>
                    <a:cubicBezTo>
                      <a:pt x="52501" y="13256"/>
                      <a:pt x="41831" y="958"/>
                      <a:pt x="27544" y="54"/>
                    </a:cubicBezTo>
                    <a:cubicBezTo>
                      <a:pt x="13256" y="-851"/>
                      <a:pt x="958" y="9819"/>
                      <a:pt x="53" y="24107"/>
                    </a:cubicBezTo>
                    <a:cubicBezTo>
                      <a:pt x="-851" y="38395"/>
                      <a:pt x="9820" y="50693"/>
                      <a:pt x="24107" y="51597"/>
                    </a:cubicBezTo>
                    <a:cubicBezTo>
                      <a:pt x="38395" y="52501"/>
                      <a:pt x="50693" y="41831"/>
                      <a:pt x="51597" y="275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2" name="Google Shape;902;p21"/>
              <p:cNvSpPr/>
              <p:nvPr/>
            </p:nvSpPr>
            <p:spPr>
              <a:xfrm>
                <a:off x="11882970" y="5710228"/>
                <a:ext cx="33697" cy="33697"/>
              </a:xfrm>
              <a:custGeom>
                <a:avLst/>
                <a:gdLst/>
                <a:ahLst/>
                <a:cxnLst/>
                <a:rect l="l" t="t" r="r" b="b"/>
                <a:pathLst>
                  <a:path w="33697" h="33697" extrusionOk="0">
                    <a:moveTo>
                      <a:pt x="33668" y="17934"/>
                    </a:moveTo>
                    <a:cubicBezTo>
                      <a:pt x="34211" y="8710"/>
                      <a:pt x="27157" y="572"/>
                      <a:pt x="17934" y="29"/>
                    </a:cubicBezTo>
                    <a:cubicBezTo>
                      <a:pt x="8711" y="-513"/>
                      <a:pt x="572" y="6540"/>
                      <a:pt x="29" y="15764"/>
                    </a:cubicBezTo>
                    <a:cubicBezTo>
                      <a:pt x="-513" y="24987"/>
                      <a:pt x="6540" y="33126"/>
                      <a:pt x="15764" y="33668"/>
                    </a:cubicBezTo>
                    <a:cubicBezTo>
                      <a:pt x="24987" y="34211"/>
                      <a:pt x="32945" y="27157"/>
                      <a:pt x="33668" y="179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3" name="Google Shape;903;p21"/>
              <p:cNvSpPr/>
              <p:nvPr/>
            </p:nvSpPr>
            <p:spPr>
              <a:xfrm>
                <a:off x="12339524" y="5743943"/>
                <a:ext cx="117640" cy="117641"/>
              </a:xfrm>
              <a:custGeom>
                <a:avLst/>
                <a:gdLst/>
                <a:ahLst/>
                <a:cxnLst/>
                <a:rect l="l" t="t" r="r" b="b"/>
                <a:pathLst>
                  <a:path w="117640" h="117641" extrusionOk="0">
                    <a:moveTo>
                      <a:pt x="117508" y="62709"/>
                    </a:moveTo>
                    <a:cubicBezTo>
                      <a:pt x="119678" y="30336"/>
                      <a:pt x="95082" y="2304"/>
                      <a:pt x="62709" y="133"/>
                    </a:cubicBezTo>
                    <a:cubicBezTo>
                      <a:pt x="30336" y="-2037"/>
                      <a:pt x="2303" y="22559"/>
                      <a:pt x="133" y="54932"/>
                    </a:cubicBezTo>
                    <a:cubicBezTo>
                      <a:pt x="-2037" y="87305"/>
                      <a:pt x="22559" y="115338"/>
                      <a:pt x="54932" y="117508"/>
                    </a:cubicBezTo>
                    <a:cubicBezTo>
                      <a:pt x="87305" y="119678"/>
                      <a:pt x="115337" y="95082"/>
                      <a:pt x="117508" y="627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4" name="Google Shape;904;p21"/>
              <p:cNvSpPr/>
              <p:nvPr/>
            </p:nvSpPr>
            <p:spPr>
              <a:xfrm>
                <a:off x="12508937" y="5655639"/>
                <a:ext cx="62575" cy="62575"/>
              </a:xfrm>
              <a:custGeom>
                <a:avLst/>
                <a:gdLst/>
                <a:ahLst/>
                <a:cxnLst/>
                <a:rect l="l" t="t" r="r" b="b"/>
                <a:pathLst>
                  <a:path w="62575" h="62575" extrusionOk="0">
                    <a:moveTo>
                      <a:pt x="62575" y="31288"/>
                    </a:moveTo>
                    <a:cubicBezTo>
                      <a:pt x="62575" y="48568"/>
                      <a:pt x="48568" y="62576"/>
                      <a:pt x="31287" y="62576"/>
                    </a:cubicBezTo>
                    <a:cubicBezTo>
                      <a:pt x="14008" y="62576"/>
                      <a:pt x="-1" y="48568"/>
                      <a:pt x="-1" y="31288"/>
                    </a:cubicBezTo>
                    <a:cubicBezTo>
                      <a:pt x="-1" y="14008"/>
                      <a:pt x="14007" y="0"/>
                      <a:pt x="31287" y="0"/>
                    </a:cubicBezTo>
                    <a:cubicBezTo>
                      <a:pt x="48567" y="0"/>
                      <a:pt x="62575" y="14008"/>
                      <a:pt x="62575" y="3128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5" name="Google Shape;905;p21"/>
              <p:cNvSpPr/>
              <p:nvPr/>
            </p:nvSpPr>
            <p:spPr>
              <a:xfrm>
                <a:off x="12474337" y="5733350"/>
                <a:ext cx="48400" cy="48400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400" extrusionOk="0">
                    <a:moveTo>
                      <a:pt x="48345" y="25737"/>
                    </a:moveTo>
                    <a:cubicBezTo>
                      <a:pt x="49249" y="12354"/>
                      <a:pt x="39121" y="960"/>
                      <a:pt x="25738" y="56"/>
                    </a:cubicBezTo>
                    <a:cubicBezTo>
                      <a:pt x="12355" y="-848"/>
                      <a:pt x="961" y="9280"/>
                      <a:pt x="56" y="22663"/>
                    </a:cubicBezTo>
                    <a:cubicBezTo>
                      <a:pt x="-848" y="36046"/>
                      <a:pt x="9280" y="47440"/>
                      <a:pt x="22663" y="48344"/>
                    </a:cubicBezTo>
                    <a:cubicBezTo>
                      <a:pt x="35866" y="49249"/>
                      <a:pt x="47440" y="39121"/>
                      <a:pt x="48345" y="257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6" name="Google Shape;906;p21"/>
              <p:cNvSpPr/>
              <p:nvPr/>
            </p:nvSpPr>
            <p:spPr>
              <a:xfrm>
                <a:off x="12368166" y="5772586"/>
                <a:ext cx="60175" cy="60175"/>
              </a:xfrm>
              <a:custGeom>
                <a:avLst/>
                <a:gdLst/>
                <a:ahLst/>
                <a:cxnLst/>
                <a:rect l="l" t="t" r="r" b="b"/>
                <a:pathLst>
                  <a:path w="60175" h="60175" extrusionOk="0">
                    <a:moveTo>
                      <a:pt x="60110" y="32077"/>
                    </a:moveTo>
                    <a:cubicBezTo>
                      <a:pt x="61195" y="15438"/>
                      <a:pt x="48716" y="1151"/>
                      <a:pt x="32077" y="66"/>
                    </a:cubicBezTo>
                    <a:cubicBezTo>
                      <a:pt x="15438" y="-1019"/>
                      <a:pt x="1151" y="11460"/>
                      <a:pt x="66" y="28098"/>
                    </a:cubicBezTo>
                    <a:cubicBezTo>
                      <a:pt x="-1019" y="44737"/>
                      <a:pt x="11460" y="59024"/>
                      <a:pt x="28098" y="60110"/>
                    </a:cubicBezTo>
                    <a:cubicBezTo>
                      <a:pt x="44737" y="61195"/>
                      <a:pt x="59024" y="48716"/>
                      <a:pt x="60110" y="320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7" name="Google Shape;907;p21"/>
              <p:cNvSpPr/>
              <p:nvPr/>
            </p:nvSpPr>
            <p:spPr>
              <a:xfrm>
                <a:off x="12635324" y="6111181"/>
                <a:ext cx="32615" cy="32637"/>
              </a:xfrm>
              <a:custGeom>
                <a:avLst/>
                <a:gdLst/>
                <a:ahLst/>
                <a:cxnLst/>
                <a:rect l="l" t="t" r="r" b="b"/>
                <a:pathLst>
                  <a:path w="32615" h="32637" extrusionOk="0">
                    <a:moveTo>
                      <a:pt x="32584" y="17393"/>
                    </a:moveTo>
                    <a:cubicBezTo>
                      <a:pt x="33127" y="8350"/>
                      <a:pt x="26435" y="573"/>
                      <a:pt x="17393" y="31"/>
                    </a:cubicBezTo>
                    <a:cubicBezTo>
                      <a:pt x="8350" y="-512"/>
                      <a:pt x="573" y="6180"/>
                      <a:pt x="31" y="15222"/>
                    </a:cubicBezTo>
                    <a:cubicBezTo>
                      <a:pt x="-512" y="24265"/>
                      <a:pt x="6180" y="32042"/>
                      <a:pt x="15223" y="32585"/>
                    </a:cubicBezTo>
                    <a:cubicBezTo>
                      <a:pt x="24265" y="33308"/>
                      <a:pt x="32042" y="26435"/>
                      <a:pt x="32584" y="1739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8" name="Google Shape;908;p21"/>
              <p:cNvSpPr/>
              <p:nvPr/>
            </p:nvSpPr>
            <p:spPr>
              <a:xfrm>
                <a:off x="12438634" y="5697647"/>
                <a:ext cx="119808" cy="119807"/>
              </a:xfrm>
              <a:custGeom>
                <a:avLst/>
                <a:gdLst/>
                <a:ahLst/>
                <a:cxnLst/>
                <a:rect l="l" t="t" r="r" b="b"/>
                <a:pathLst>
                  <a:path w="119808" h="119807" extrusionOk="0">
                    <a:moveTo>
                      <a:pt x="119677" y="63792"/>
                    </a:moveTo>
                    <a:cubicBezTo>
                      <a:pt x="121847" y="30696"/>
                      <a:pt x="96889" y="2302"/>
                      <a:pt x="63793" y="131"/>
                    </a:cubicBezTo>
                    <a:cubicBezTo>
                      <a:pt x="30696" y="-2039"/>
                      <a:pt x="2302" y="22919"/>
                      <a:pt x="131" y="56016"/>
                    </a:cubicBezTo>
                    <a:cubicBezTo>
                      <a:pt x="-2039" y="89112"/>
                      <a:pt x="22919" y="117506"/>
                      <a:pt x="56015" y="119676"/>
                    </a:cubicBezTo>
                    <a:cubicBezTo>
                      <a:pt x="88931" y="121847"/>
                      <a:pt x="117506" y="96889"/>
                      <a:pt x="119677" y="6379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09" name="Google Shape;909;p21"/>
              <p:cNvSpPr/>
              <p:nvPr/>
            </p:nvSpPr>
            <p:spPr>
              <a:xfrm>
                <a:off x="8220796" y="4186297"/>
                <a:ext cx="65631" cy="65631"/>
              </a:xfrm>
              <a:custGeom>
                <a:avLst/>
                <a:gdLst/>
                <a:ahLst/>
                <a:cxnLst/>
                <a:rect l="l" t="t" r="r" b="b"/>
                <a:pathLst>
                  <a:path w="65631" h="65631" extrusionOk="0">
                    <a:moveTo>
                      <a:pt x="65550" y="34986"/>
                    </a:moveTo>
                    <a:cubicBezTo>
                      <a:pt x="66816" y="16900"/>
                      <a:pt x="53071" y="1347"/>
                      <a:pt x="34986" y="81"/>
                    </a:cubicBezTo>
                    <a:cubicBezTo>
                      <a:pt x="16900" y="-1185"/>
                      <a:pt x="1347" y="12560"/>
                      <a:pt x="81" y="30645"/>
                    </a:cubicBezTo>
                    <a:cubicBezTo>
                      <a:pt x="-1185" y="48731"/>
                      <a:pt x="12560" y="64284"/>
                      <a:pt x="30645" y="65550"/>
                    </a:cubicBezTo>
                    <a:cubicBezTo>
                      <a:pt x="48731" y="66816"/>
                      <a:pt x="64284" y="53071"/>
                      <a:pt x="65550" y="349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0" name="Google Shape;910;p21"/>
              <p:cNvSpPr/>
              <p:nvPr/>
            </p:nvSpPr>
            <p:spPr>
              <a:xfrm>
                <a:off x="7599233" y="4523805"/>
                <a:ext cx="36445" cy="36445"/>
              </a:xfrm>
              <a:custGeom>
                <a:avLst/>
                <a:gdLst/>
                <a:ahLst/>
                <a:cxnLst/>
                <a:rect l="l" t="t" r="r" b="b"/>
                <a:pathLst>
                  <a:path w="36445" h="36445" extrusionOk="0">
                    <a:moveTo>
                      <a:pt x="36398" y="19398"/>
                    </a:moveTo>
                    <a:cubicBezTo>
                      <a:pt x="37122" y="9270"/>
                      <a:pt x="29345" y="589"/>
                      <a:pt x="19398" y="47"/>
                    </a:cubicBezTo>
                    <a:cubicBezTo>
                      <a:pt x="9270" y="-677"/>
                      <a:pt x="589" y="7100"/>
                      <a:pt x="47" y="17047"/>
                    </a:cubicBezTo>
                    <a:cubicBezTo>
                      <a:pt x="-677" y="27175"/>
                      <a:pt x="7100" y="35856"/>
                      <a:pt x="17047" y="36398"/>
                    </a:cubicBezTo>
                    <a:cubicBezTo>
                      <a:pt x="27175" y="37122"/>
                      <a:pt x="35856" y="29526"/>
                      <a:pt x="36398" y="1939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1" name="Google Shape;911;p21"/>
              <p:cNvSpPr/>
              <p:nvPr/>
            </p:nvSpPr>
            <p:spPr>
              <a:xfrm>
                <a:off x="8239650" y="4205332"/>
                <a:ext cx="27741" cy="27902"/>
              </a:xfrm>
              <a:custGeom>
                <a:avLst/>
                <a:gdLst/>
                <a:ahLst/>
                <a:cxnLst/>
                <a:rect l="l" t="t" r="r" b="b"/>
                <a:pathLst>
                  <a:path w="27741" h="27902" extrusionOk="0">
                    <a:moveTo>
                      <a:pt x="27706" y="14865"/>
                    </a:moveTo>
                    <a:cubicBezTo>
                      <a:pt x="28249" y="7269"/>
                      <a:pt x="22461" y="578"/>
                      <a:pt x="14684" y="35"/>
                    </a:cubicBezTo>
                    <a:cubicBezTo>
                      <a:pt x="6908" y="-508"/>
                      <a:pt x="397" y="5280"/>
                      <a:pt x="35" y="13057"/>
                    </a:cubicBezTo>
                    <a:cubicBezTo>
                      <a:pt x="-507" y="20653"/>
                      <a:pt x="5280" y="27344"/>
                      <a:pt x="13057" y="27887"/>
                    </a:cubicBezTo>
                    <a:cubicBezTo>
                      <a:pt x="20653" y="28249"/>
                      <a:pt x="27344" y="22461"/>
                      <a:pt x="27706" y="148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2" name="Google Shape;912;p21"/>
              <p:cNvSpPr/>
              <p:nvPr/>
            </p:nvSpPr>
            <p:spPr>
              <a:xfrm>
                <a:off x="8217728" y="4183229"/>
                <a:ext cx="71767" cy="71768"/>
              </a:xfrm>
              <a:custGeom>
                <a:avLst/>
                <a:gdLst/>
                <a:ahLst/>
                <a:cxnLst/>
                <a:rect l="l" t="t" r="r" b="b"/>
                <a:pathLst>
                  <a:path w="71767" h="71768" extrusionOk="0">
                    <a:moveTo>
                      <a:pt x="71693" y="38235"/>
                    </a:moveTo>
                    <a:cubicBezTo>
                      <a:pt x="72959" y="18522"/>
                      <a:pt x="57948" y="1521"/>
                      <a:pt x="38235" y="75"/>
                    </a:cubicBezTo>
                    <a:cubicBezTo>
                      <a:pt x="18522" y="-1192"/>
                      <a:pt x="1521" y="13819"/>
                      <a:pt x="75" y="33532"/>
                    </a:cubicBezTo>
                    <a:cubicBezTo>
                      <a:pt x="-1191" y="53246"/>
                      <a:pt x="13819" y="70246"/>
                      <a:pt x="33533" y="71693"/>
                    </a:cubicBezTo>
                    <a:cubicBezTo>
                      <a:pt x="53246" y="72959"/>
                      <a:pt x="70246" y="58129"/>
                      <a:pt x="71693" y="382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3" name="Google Shape;913;p21"/>
              <p:cNvSpPr/>
              <p:nvPr/>
            </p:nvSpPr>
            <p:spPr>
              <a:xfrm>
                <a:off x="8341272" y="4427403"/>
                <a:ext cx="51469" cy="51450"/>
              </a:xfrm>
              <a:custGeom>
                <a:avLst/>
                <a:gdLst/>
                <a:ahLst/>
                <a:cxnLst/>
                <a:rect l="l" t="t" r="r" b="b"/>
                <a:pathLst>
                  <a:path w="51469" h="51450" extrusionOk="0">
                    <a:moveTo>
                      <a:pt x="51416" y="27362"/>
                    </a:moveTo>
                    <a:cubicBezTo>
                      <a:pt x="52320" y="13256"/>
                      <a:pt x="41650" y="958"/>
                      <a:pt x="27363" y="53"/>
                    </a:cubicBezTo>
                    <a:cubicBezTo>
                      <a:pt x="13256" y="-851"/>
                      <a:pt x="958" y="9819"/>
                      <a:pt x="53" y="24107"/>
                    </a:cubicBezTo>
                    <a:cubicBezTo>
                      <a:pt x="-851" y="38214"/>
                      <a:pt x="9820" y="50512"/>
                      <a:pt x="24107" y="51416"/>
                    </a:cubicBezTo>
                    <a:cubicBezTo>
                      <a:pt x="38395" y="52139"/>
                      <a:pt x="50512" y="41469"/>
                      <a:pt x="51416" y="273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4" name="Google Shape;914;p21"/>
              <p:cNvSpPr/>
              <p:nvPr/>
            </p:nvSpPr>
            <p:spPr>
              <a:xfrm>
                <a:off x="7598331" y="4522903"/>
                <a:ext cx="38430" cy="38430"/>
              </a:xfrm>
              <a:custGeom>
                <a:avLst/>
                <a:gdLst/>
                <a:ahLst/>
                <a:cxnLst/>
                <a:rect l="l" t="t" r="r" b="b"/>
                <a:pathLst>
                  <a:path w="38430" h="38430" extrusionOk="0">
                    <a:moveTo>
                      <a:pt x="38386" y="20481"/>
                    </a:moveTo>
                    <a:cubicBezTo>
                      <a:pt x="39109" y="9811"/>
                      <a:pt x="30971" y="768"/>
                      <a:pt x="20481" y="45"/>
                    </a:cubicBezTo>
                    <a:cubicBezTo>
                      <a:pt x="9811" y="-679"/>
                      <a:pt x="768" y="7460"/>
                      <a:pt x="45" y="17949"/>
                    </a:cubicBezTo>
                    <a:cubicBezTo>
                      <a:pt x="-679" y="28620"/>
                      <a:pt x="7460" y="37663"/>
                      <a:pt x="17949" y="38386"/>
                    </a:cubicBezTo>
                    <a:cubicBezTo>
                      <a:pt x="28439" y="39109"/>
                      <a:pt x="37662" y="30971"/>
                      <a:pt x="38386" y="204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5" name="Google Shape;915;p21"/>
              <p:cNvSpPr/>
              <p:nvPr/>
            </p:nvSpPr>
            <p:spPr>
              <a:xfrm>
                <a:off x="8216283" y="4181784"/>
                <a:ext cx="74837" cy="74857"/>
              </a:xfrm>
              <a:custGeom>
                <a:avLst/>
                <a:gdLst/>
                <a:ahLst/>
                <a:cxnLst/>
                <a:rect l="l" t="t" r="r" b="b"/>
                <a:pathLst>
                  <a:path w="74837" h="74857" extrusionOk="0">
                    <a:moveTo>
                      <a:pt x="74765" y="39860"/>
                    </a:moveTo>
                    <a:cubicBezTo>
                      <a:pt x="76031" y="19243"/>
                      <a:pt x="60478" y="1338"/>
                      <a:pt x="39860" y="72"/>
                    </a:cubicBezTo>
                    <a:cubicBezTo>
                      <a:pt x="19243" y="-1194"/>
                      <a:pt x="1338" y="14359"/>
                      <a:pt x="72" y="34977"/>
                    </a:cubicBezTo>
                    <a:cubicBezTo>
                      <a:pt x="-1194" y="55594"/>
                      <a:pt x="14360" y="73499"/>
                      <a:pt x="34977" y="74765"/>
                    </a:cubicBezTo>
                    <a:cubicBezTo>
                      <a:pt x="55594" y="76212"/>
                      <a:pt x="73318" y="60477"/>
                      <a:pt x="74765" y="398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6" name="Google Shape;916;p21"/>
              <p:cNvSpPr/>
              <p:nvPr/>
            </p:nvSpPr>
            <p:spPr>
              <a:xfrm>
                <a:off x="8602404" y="4131503"/>
                <a:ext cx="70143" cy="70143"/>
              </a:xfrm>
              <a:custGeom>
                <a:avLst/>
                <a:gdLst/>
                <a:ahLst/>
                <a:cxnLst/>
                <a:rect l="l" t="t" r="r" b="b"/>
                <a:pathLst>
                  <a:path w="70143" h="70143" extrusionOk="0">
                    <a:moveTo>
                      <a:pt x="70067" y="37332"/>
                    </a:moveTo>
                    <a:cubicBezTo>
                      <a:pt x="71333" y="17981"/>
                      <a:pt x="56684" y="1342"/>
                      <a:pt x="37332" y="76"/>
                    </a:cubicBezTo>
                    <a:cubicBezTo>
                      <a:pt x="17981" y="-1190"/>
                      <a:pt x="1342" y="13459"/>
                      <a:pt x="76" y="32811"/>
                    </a:cubicBezTo>
                    <a:cubicBezTo>
                      <a:pt x="-1190" y="52162"/>
                      <a:pt x="13459" y="68801"/>
                      <a:pt x="32811" y="70067"/>
                    </a:cubicBezTo>
                    <a:cubicBezTo>
                      <a:pt x="52162" y="71333"/>
                      <a:pt x="68801" y="56684"/>
                      <a:pt x="70067" y="37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7" name="Google Shape;917;p21"/>
              <p:cNvSpPr/>
              <p:nvPr/>
            </p:nvSpPr>
            <p:spPr>
              <a:xfrm>
                <a:off x="8236040" y="4201701"/>
                <a:ext cx="34962" cy="34982"/>
              </a:xfrm>
              <a:custGeom>
                <a:avLst/>
                <a:gdLst/>
                <a:ahLst/>
                <a:cxnLst/>
                <a:rect l="l" t="t" r="r" b="b"/>
                <a:pathLst>
                  <a:path w="34962" h="34982" extrusionOk="0">
                    <a:moveTo>
                      <a:pt x="34934" y="18677"/>
                    </a:moveTo>
                    <a:cubicBezTo>
                      <a:pt x="35476" y="9091"/>
                      <a:pt x="28242" y="772"/>
                      <a:pt x="18657" y="49"/>
                    </a:cubicBezTo>
                    <a:cubicBezTo>
                      <a:pt x="9071" y="-675"/>
                      <a:pt x="752" y="6741"/>
                      <a:pt x="29" y="16326"/>
                    </a:cubicBezTo>
                    <a:cubicBezTo>
                      <a:pt x="-514" y="25911"/>
                      <a:pt x="6720" y="34230"/>
                      <a:pt x="16306" y="34954"/>
                    </a:cubicBezTo>
                    <a:cubicBezTo>
                      <a:pt x="26072" y="35496"/>
                      <a:pt x="34391" y="28262"/>
                      <a:pt x="34934" y="186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8" name="Google Shape;918;p21"/>
              <p:cNvSpPr/>
              <p:nvPr/>
            </p:nvSpPr>
            <p:spPr>
              <a:xfrm>
                <a:off x="8604750" y="4133849"/>
                <a:ext cx="65631" cy="65631"/>
              </a:xfrm>
              <a:custGeom>
                <a:avLst/>
                <a:gdLst/>
                <a:ahLst/>
                <a:cxnLst/>
                <a:rect l="l" t="t" r="r" b="b"/>
                <a:pathLst>
                  <a:path w="65631" h="65631" extrusionOk="0">
                    <a:moveTo>
                      <a:pt x="65550" y="34986"/>
                    </a:moveTo>
                    <a:cubicBezTo>
                      <a:pt x="66816" y="16900"/>
                      <a:pt x="53071" y="1166"/>
                      <a:pt x="34986" y="81"/>
                    </a:cubicBezTo>
                    <a:cubicBezTo>
                      <a:pt x="16900" y="-1185"/>
                      <a:pt x="1166" y="12560"/>
                      <a:pt x="81" y="30645"/>
                    </a:cubicBezTo>
                    <a:cubicBezTo>
                      <a:pt x="-1185" y="48731"/>
                      <a:pt x="12560" y="64465"/>
                      <a:pt x="30645" y="65550"/>
                    </a:cubicBezTo>
                    <a:cubicBezTo>
                      <a:pt x="48731" y="66816"/>
                      <a:pt x="64284" y="53071"/>
                      <a:pt x="65550" y="3498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19" name="Google Shape;919;p21"/>
              <p:cNvSpPr/>
              <p:nvPr/>
            </p:nvSpPr>
            <p:spPr>
              <a:xfrm>
                <a:off x="8354691" y="4440641"/>
                <a:ext cx="24813" cy="24812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2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0"/>
                      <a:pt x="18" y="11593"/>
                    </a:cubicBezTo>
                    <a:cubicBezTo>
                      <a:pt x="-343" y="18465"/>
                      <a:pt x="4720" y="24253"/>
                      <a:pt x="11593" y="24795"/>
                    </a:cubicBezTo>
                    <a:cubicBezTo>
                      <a:pt x="18465" y="25157"/>
                      <a:pt x="24253" y="19912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0" name="Google Shape;920;p21"/>
              <p:cNvSpPr/>
              <p:nvPr/>
            </p:nvSpPr>
            <p:spPr>
              <a:xfrm>
                <a:off x="10160339" y="2712755"/>
                <a:ext cx="20478" cy="20478"/>
              </a:xfrm>
              <a:custGeom>
                <a:avLst/>
                <a:gdLst/>
                <a:ahLst/>
                <a:cxnLst/>
                <a:rect l="l" t="t" r="r" b="b"/>
                <a:pathLst>
                  <a:path w="20478" h="20478" extrusionOk="0">
                    <a:moveTo>
                      <a:pt x="20458" y="10872"/>
                    </a:moveTo>
                    <a:cubicBezTo>
                      <a:pt x="20819" y="5266"/>
                      <a:pt x="16479" y="383"/>
                      <a:pt x="10872" y="21"/>
                    </a:cubicBezTo>
                    <a:cubicBezTo>
                      <a:pt x="5266" y="-341"/>
                      <a:pt x="383" y="4000"/>
                      <a:pt x="21" y="9606"/>
                    </a:cubicBezTo>
                    <a:cubicBezTo>
                      <a:pt x="-340" y="15213"/>
                      <a:pt x="4000" y="20096"/>
                      <a:pt x="9607" y="20458"/>
                    </a:cubicBezTo>
                    <a:cubicBezTo>
                      <a:pt x="15213" y="20819"/>
                      <a:pt x="20096" y="16479"/>
                      <a:pt x="20458" y="108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1" name="Google Shape;921;p21"/>
              <p:cNvSpPr/>
              <p:nvPr/>
            </p:nvSpPr>
            <p:spPr>
              <a:xfrm>
                <a:off x="10215322" y="3544326"/>
                <a:ext cx="24813" cy="24813"/>
              </a:xfrm>
              <a:custGeom>
                <a:avLst/>
                <a:gdLst/>
                <a:ahLst/>
                <a:cxnLst/>
                <a:rect l="l" t="t" r="r" b="b"/>
                <a:pathLst>
                  <a:path w="24813" h="24813" extrusionOk="0">
                    <a:moveTo>
                      <a:pt x="24795" y="13221"/>
                    </a:moveTo>
                    <a:cubicBezTo>
                      <a:pt x="25157" y="6348"/>
                      <a:pt x="20093" y="561"/>
                      <a:pt x="13221" y="18"/>
                    </a:cubicBezTo>
                    <a:cubicBezTo>
                      <a:pt x="6348" y="-344"/>
                      <a:pt x="561" y="4720"/>
                      <a:pt x="18" y="11593"/>
                    </a:cubicBezTo>
                    <a:cubicBezTo>
                      <a:pt x="-344" y="18465"/>
                      <a:pt x="4720" y="24253"/>
                      <a:pt x="11593" y="24795"/>
                    </a:cubicBezTo>
                    <a:cubicBezTo>
                      <a:pt x="18465" y="25157"/>
                      <a:pt x="24253" y="20093"/>
                      <a:pt x="24795" y="132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2" name="Google Shape;922;p21"/>
              <p:cNvSpPr/>
              <p:nvPr/>
            </p:nvSpPr>
            <p:spPr>
              <a:xfrm>
                <a:off x="10216225" y="3545229"/>
                <a:ext cx="23188" cy="23187"/>
              </a:xfrm>
              <a:custGeom>
                <a:avLst/>
                <a:gdLst/>
                <a:ahLst/>
                <a:cxnLst/>
                <a:rect l="l" t="t" r="r" b="b"/>
                <a:pathLst>
                  <a:path w="23188" h="23187" extrusionOk="0">
                    <a:moveTo>
                      <a:pt x="23169" y="12318"/>
                    </a:moveTo>
                    <a:cubicBezTo>
                      <a:pt x="23530" y="5988"/>
                      <a:pt x="18828" y="381"/>
                      <a:pt x="12318" y="20"/>
                    </a:cubicBezTo>
                    <a:cubicBezTo>
                      <a:pt x="5988" y="-342"/>
                      <a:pt x="381" y="4360"/>
                      <a:pt x="20" y="10871"/>
                    </a:cubicBezTo>
                    <a:cubicBezTo>
                      <a:pt x="-342" y="17201"/>
                      <a:pt x="4360" y="22807"/>
                      <a:pt x="10871" y="23169"/>
                    </a:cubicBezTo>
                    <a:cubicBezTo>
                      <a:pt x="17201" y="23531"/>
                      <a:pt x="22626" y="18648"/>
                      <a:pt x="23169" y="123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3" name="Google Shape;923;p21"/>
              <p:cNvSpPr/>
              <p:nvPr/>
            </p:nvSpPr>
            <p:spPr>
              <a:xfrm>
                <a:off x="10141484" y="2693899"/>
                <a:ext cx="58189" cy="58169"/>
              </a:xfrm>
              <a:custGeom>
                <a:avLst/>
                <a:gdLst/>
                <a:ahLst/>
                <a:cxnLst/>
                <a:rect l="l" t="t" r="r" b="b"/>
                <a:pathLst>
                  <a:path w="58189" h="58169" extrusionOk="0">
                    <a:moveTo>
                      <a:pt x="58122" y="30994"/>
                    </a:moveTo>
                    <a:cubicBezTo>
                      <a:pt x="59207" y="14898"/>
                      <a:pt x="47090" y="1153"/>
                      <a:pt x="30994" y="68"/>
                    </a:cubicBezTo>
                    <a:cubicBezTo>
                      <a:pt x="14898" y="-1018"/>
                      <a:pt x="1153" y="11100"/>
                      <a:pt x="68" y="27196"/>
                    </a:cubicBezTo>
                    <a:cubicBezTo>
                      <a:pt x="-1018" y="43292"/>
                      <a:pt x="11100" y="57037"/>
                      <a:pt x="27196" y="58122"/>
                    </a:cubicBezTo>
                    <a:cubicBezTo>
                      <a:pt x="43292" y="59026"/>
                      <a:pt x="57037" y="46909"/>
                      <a:pt x="58122" y="309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4" name="Google Shape;924;p21"/>
              <p:cNvSpPr/>
              <p:nvPr/>
            </p:nvSpPr>
            <p:spPr>
              <a:xfrm>
                <a:off x="8631588" y="4160687"/>
                <a:ext cx="11954" cy="11954"/>
              </a:xfrm>
              <a:custGeom>
                <a:avLst/>
                <a:gdLst/>
                <a:ahLst/>
                <a:cxnLst/>
                <a:rect l="l" t="t" r="r" b="b"/>
                <a:pathLst>
                  <a:path w="11954" h="11954" extrusionOk="0">
                    <a:moveTo>
                      <a:pt x="11945" y="6339"/>
                    </a:moveTo>
                    <a:cubicBezTo>
                      <a:pt x="12126" y="3084"/>
                      <a:pt x="9594" y="190"/>
                      <a:pt x="6339" y="9"/>
                    </a:cubicBezTo>
                    <a:cubicBezTo>
                      <a:pt x="3084" y="-172"/>
                      <a:pt x="190" y="2360"/>
                      <a:pt x="9" y="5616"/>
                    </a:cubicBezTo>
                    <a:cubicBezTo>
                      <a:pt x="-172" y="8871"/>
                      <a:pt x="2360" y="11765"/>
                      <a:pt x="5616" y="11945"/>
                    </a:cubicBezTo>
                    <a:cubicBezTo>
                      <a:pt x="8871" y="12126"/>
                      <a:pt x="11765" y="9594"/>
                      <a:pt x="11945" y="633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5" name="Google Shape;925;p21"/>
              <p:cNvSpPr/>
              <p:nvPr/>
            </p:nvSpPr>
            <p:spPr>
              <a:xfrm>
                <a:off x="9906384" y="3877422"/>
                <a:ext cx="48581" cy="48581"/>
              </a:xfrm>
              <a:custGeom>
                <a:avLst/>
                <a:gdLst/>
                <a:ahLst/>
                <a:cxnLst/>
                <a:rect l="l" t="t" r="r" b="b"/>
                <a:pathLst>
                  <a:path w="48581" h="48581" extrusionOk="0">
                    <a:moveTo>
                      <a:pt x="48525" y="25918"/>
                    </a:moveTo>
                    <a:cubicBezTo>
                      <a:pt x="49429" y="12535"/>
                      <a:pt x="39302" y="960"/>
                      <a:pt x="25918" y="56"/>
                    </a:cubicBezTo>
                    <a:cubicBezTo>
                      <a:pt x="12535" y="-848"/>
                      <a:pt x="960" y="9280"/>
                      <a:pt x="56" y="22663"/>
                    </a:cubicBezTo>
                    <a:cubicBezTo>
                      <a:pt x="-848" y="36046"/>
                      <a:pt x="9280" y="47621"/>
                      <a:pt x="22663" y="48525"/>
                    </a:cubicBezTo>
                    <a:cubicBezTo>
                      <a:pt x="36046" y="49429"/>
                      <a:pt x="47621" y="39302"/>
                      <a:pt x="48525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6" name="Google Shape;926;p21"/>
              <p:cNvSpPr/>
              <p:nvPr/>
            </p:nvSpPr>
            <p:spPr>
              <a:xfrm>
                <a:off x="9922331" y="3893369"/>
                <a:ext cx="16688" cy="16689"/>
              </a:xfrm>
              <a:custGeom>
                <a:avLst/>
                <a:gdLst/>
                <a:ahLst/>
                <a:cxnLst/>
                <a:rect l="l" t="t" r="r" b="b"/>
                <a:pathLst>
                  <a:path w="16688" h="16689" extrusionOk="0">
                    <a:moveTo>
                      <a:pt x="16664" y="8887"/>
                    </a:moveTo>
                    <a:cubicBezTo>
                      <a:pt x="17025" y="4185"/>
                      <a:pt x="13408" y="206"/>
                      <a:pt x="8887" y="25"/>
                    </a:cubicBezTo>
                    <a:cubicBezTo>
                      <a:pt x="4185" y="-337"/>
                      <a:pt x="206" y="3280"/>
                      <a:pt x="25" y="7802"/>
                    </a:cubicBezTo>
                    <a:cubicBezTo>
                      <a:pt x="-337" y="12504"/>
                      <a:pt x="3280" y="16483"/>
                      <a:pt x="7802" y="16664"/>
                    </a:cubicBezTo>
                    <a:cubicBezTo>
                      <a:pt x="12323" y="17025"/>
                      <a:pt x="16302" y="13589"/>
                      <a:pt x="16664" y="888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7" name="Google Shape;927;p21"/>
              <p:cNvSpPr/>
              <p:nvPr/>
            </p:nvSpPr>
            <p:spPr>
              <a:xfrm>
                <a:off x="9810864" y="4541309"/>
                <a:ext cx="81918" cy="81917"/>
              </a:xfrm>
              <a:custGeom>
                <a:avLst/>
                <a:gdLst/>
                <a:ahLst/>
                <a:cxnLst/>
                <a:rect l="l" t="t" r="r" b="b"/>
                <a:pathLst>
                  <a:path w="81918" h="81917" extrusionOk="0">
                    <a:moveTo>
                      <a:pt x="81832" y="43672"/>
                    </a:moveTo>
                    <a:cubicBezTo>
                      <a:pt x="83279" y="21065"/>
                      <a:pt x="66279" y="1714"/>
                      <a:pt x="43672" y="86"/>
                    </a:cubicBezTo>
                    <a:cubicBezTo>
                      <a:pt x="21065" y="-1361"/>
                      <a:pt x="1714" y="15639"/>
                      <a:pt x="86" y="38246"/>
                    </a:cubicBezTo>
                    <a:cubicBezTo>
                      <a:pt x="-1361" y="60853"/>
                      <a:pt x="15639" y="80205"/>
                      <a:pt x="38246" y="81832"/>
                    </a:cubicBezTo>
                    <a:cubicBezTo>
                      <a:pt x="60853" y="83279"/>
                      <a:pt x="80385" y="66098"/>
                      <a:pt x="81832" y="4367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8" name="Google Shape;928;p21"/>
              <p:cNvSpPr/>
              <p:nvPr/>
            </p:nvSpPr>
            <p:spPr>
              <a:xfrm>
                <a:off x="12114807" y="3406305"/>
                <a:ext cx="36447" cy="3642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26" extrusionOk="0">
                    <a:moveTo>
                      <a:pt x="36400" y="19399"/>
                    </a:moveTo>
                    <a:cubicBezTo>
                      <a:pt x="37123" y="9452"/>
                      <a:pt x="29527" y="771"/>
                      <a:pt x="19399" y="48"/>
                    </a:cubicBezTo>
                    <a:cubicBezTo>
                      <a:pt x="9452" y="-676"/>
                      <a:pt x="771" y="6920"/>
                      <a:pt x="48" y="17048"/>
                    </a:cubicBezTo>
                    <a:cubicBezTo>
                      <a:pt x="-675" y="26995"/>
                      <a:pt x="6920" y="35676"/>
                      <a:pt x="17048" y="36399"/>
                    </a:cubicBezTo>
                    <a:cubicBezTo>
                      <a:pt x="26995" y="36942"/>
                      <a:pt x="35676" y="29346"/>
                      <a:pt x="36400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29" name="Google Shape;929;p21"/>
              <p:cNvSpPr/>
              <p:nvPr/>
            </p:nvSpPr>
            <p:spPr>
              <a:xfrm>
                <a:off x="11108182" y="3966422"/>
                <a:ext cx="26296" cy="26276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6" extrusionOk="0">
                    <a:moveTo>
                      <a:pt x="26260" y="13962"/>
                    </a:moveTo>
                    <a:cubicBezTo>
                      <a:pt x="26803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5" y="26260"/>
                    </a:cubicBezTo>
                    <a:cubicBezTo>
                      <a:pt x="19388" y="26622"/>
                      <a:pt x="25718" y="21015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0" name="Google Shape;930;p21"/>
              <p:cNvSpPr/>
              <p:nvPr/>
            </p:nvSpPr>
            <p:spPr>
              <a:xfrm>
                <a:off x="12117897" y="3409395"/>
                <a:ext cx="30267" cy="30267"/>
              </a:xfrm>
              <a:custGeom>
                <a:avLst/>
                <a:gdLst/>
                <a:ahLst/>
                <a:cxnLst/>
                <a:rect l="l" t="t" r="r" b="b"/>
                <a:pathLst>
                  <a:path w="30267" h="30267" extrusionOk="0">
                    <a:moveTo>
                      <a:pt x="30235" y="16128"/>
                    </a:moveTo>
                    <a:cubicBezTo>
                      <a:pt x="30778" y="7809"/>
                      <a:pt x="24448" y="575"/>
                      <a:pt x="16129" y="32"/>
                    </a:cubicBezTo>
                    <a:cubicBezTo>
                      <a:pt x="7809" y="-510"/>
                      <a:pt x="575" y="5820"/>
                      <a:pt x="32" y="14139"/>
                    </a:cubicBezTo>
                    <a:cubicBezTo>
                      <a:pt x="-510" y="22458"/>
                      <a:pt x="5820" y="29693"/>
                      <a:pt x="14139" y="30235"/>
                    </a:cubicBezTo>
                    <a:cubicBezTo>
                      <a:pt x="22458" y="30778"/>
                      <a:pt x="29693" y="24448"/>
                      <a:pt x="30235" y="161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1" name="Google Shape;931;p21"/>
              <p:cNvSpPr/>
              <p:nvPr/>
            </p:nvSpPr>
            <p:spPr>
              <a:xfrm>
                <a:off x="12301822" y="3910538"/>
                <a:ext cx="26296" cy="26277"/>
              </a:xfrm>
              <a:custGeom>
                <a:avLst/>
                <a:gdLst/>
                <a:ahLst/>
                <a:cxnLst/>
                <a:rect l="l" t="t" r="r" b="b"/>
                <a:pathLst>
                  <a:path w="26296" h="26277" extrusionOk="0">
                    <a:moveTo>
                      <a:pt x="26260" y="13962"/>
                    </a:moveTo>
                    <a:cubicBezTo>
                      <a:pt x="26802" y="6728"/>
                      <a:pt x="21196" y="579"/>
                      <a:pt x="13962" y="36"/>
                    </a:cubicBezTo>
                    <a:cubicBezTo>
                      <a:pt x="6728" y="-506"/>
                      <a:pt x="579" y="5100"/>
                      <a:pt x="36" y="12334"/>
                    </a:cubicBezTo>
                    <a:cubicBezTo>
                      <a:pt x="-506" y="19569"/>
                      <a:pt x="5100" y="25718"/>
                      <a:pt x="12334" y="26260"/>
                    </a:cubicBezTo>
                    <a:cubicBezTo>
                      <a:pt x="19568" y="26622"/>
                      <a:pt x="25717" y="21196"/>
                      <a:pt x="26260" y="1396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2" name="Google Shape;932;p21"/>
              <p:cNvSpPr/>
              <p:nvPr/>
            </p:nvSpPr>
            <p:spPr>
              <a:xfrm>
                <a:off x="11092778" y="3951017"/>
                <a:ext cx="56925" cy="56905"/>
              </a:xfrm>
              <a:custGeom>
                <a:avLst/>
                <a:gdLst/>
                <a:ahLst/>
                <a:cxnLst/>
                <a:rect l="l" t="t" r="r" b="b"/>
                <a:pathLst>
                  <a:path w="56925" h="56905" extrusionOk="0">
                    <a:moveTo>
                      <a:pt x="56857" y="30271"/>
                    </a:moveTo>
                    <a:cubicBezTo>
                      <a:pt x="57942" y="14537"/>
                      <a:pt x="46005" y="973"/>
                      <a:pt x="30271" y="68"/>
                    </a:cubicBezTo>
                    <a:cubicBezTo>
                      <a:pt x="14537" y="-1017"/>
                      <a:pt x="973" y="10920"/>
                      <a:pt x="69" y="26654"/>
                    </a:cubicBezTo>
                    <a:cubicBezTo>
                      <a:pt x="-1017" y="42389"/>
                      <a:pt x="10920" y="55953"/>
                      <a:pt x="26654" y="56857"/>
                    </a:cubicBezTo>
                    <a:cubicBezTo>
                      <a:pt x="42388" y="57761"/>
                      <a:pt x="55953" y="46006"/>
                      <a:pt x="56857" y="302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3" name="Google Shape;933;p21"/>
              <p:cNvSpPr/>
              <p:nvPr/>
            </p:nvSpPr>
            <p:spPr>
              <a:xfrm>
                <a:off x="12111920" y="3403418"/>
                <a:ext cx="42221" cy="42222"/>
              </a:xfrm>
              <a:custGeom>
                <a:avLst/>
                <a:gdLst/>
                <a:ahLst/>
                <a:cxnLst/>
                <a:rect l="l" t="t" r="r" b="b"/>
                <a:pathLst>
                  <a:path w="42221" h="42222" extrusionOk="0">
                    <a:moveTo>
                      <a:pt x="42180" y="22467"/>
                    </a:moveTo>
                    <a:cubicBezTo>
                      <a:pt x="42904" y="10712"/>
                      <a:pt x="34042" y="765"/>
                      <a:pt x="22467" y="41"/>
                    </a:cubicBezTo>
                    <a:cubicBezTo>
                      <a:pt x="10892" y="-682"/>
                      <a:pt x="764" y="8180"/>
                      <a:pt x="41" y="19754"/>
                    </a:cubicBezTo>
                    <a:cubicBezTo>
                      <a:pt x="-682" y="31510"/>
                      <a:pt x="8179" y="41457"/>
                      <a:pt x="19754" y="42180"/>
                    </a:cubicBezTo>
                    <a:cubicBezTo>
                      <a:pt x="31329" y="42904"/>
                      <a:pt x="41457" y="34223"/>
                      <a:pt x="42180" y="2246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4" name="Google Shape;934;p21"/>
              <p:cNvSpPr/>
              <p:nvPr/>
            </p:nvSpPr>
            <p:spPr>
              <a:xfrm>
                <a:off x="12180610" y="3131739"/>
                <a:ext cx="69962" cy="69984"/>
              </a:xfrm>
              <a:custGeom>
                <a:avLst/>
                <a:gdLst/>
                <a:ahLst/>
                <a:cxnLst/>
                <a:rect l="l" t="t" r="r" b="b"/>
                <a:pathLst>
                  <a:path w="69962" h="69984" extrusionOk="0">
                    <a:moveTo>
                      <a:pt x="69886" y="37332"/>
                    </a:moveTo>
                    <a:cubicBezTo>
                      <a:pt x="71152" y="17981"/>
                      <a:pt x="56503" y="1342"/>
                      <a:pt x="37332" y="76"/>
                    </a:cubicBezTo>
                    <a:cubicBezTo>
                      <a:pt x="17981" y="-1190"/>
                      <a:pt x="1342" y="13459"/>
                      <a:pt x="76" y="32630"/>
                    </a:cubicBezTo>
                    <a:cubicBezTo>
                      <a:pt x="-1190" y="51982"/>
                      <a:pt x="13459" y="68620"/>
                      <a:pt x="32630" y="69886"/>
                    </a:cubicBezTo>
                    <a:cubicBezTo>
                      <a:pt x="51981" y="71333"/>
                      <a:pt x="68620" y="56684"/>
                      <a:pt x="69886" y="373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5" name="Google Shape;935;p21"/>
              <p:cNvSpPr/>
              <p:nvPr/>
            </p:nvSpPr>
            <p:spPr>
              <a:xfrm>
                <a:off x="12084540" y="3376038"/>
                <a:ext cx="96981" cy="96981"/>
              </a:xfrm>
              <a:custGeom>
                <a:avLst/>
                <a:gdLst/>
                <a:ahLst/>
                <a:cxnLst/>
                <a:rect l="l" t="t" r="r" b="b"/>
                <a:pathLst>
                  <a:path w="96981" h="96981" extrusionOk="0">
                    <a:moveTo>
                      <a:pt x="96870" y="51656"/>
                    </a:moveTo>
                    <a:cubicBezTo>
                      <a:pt x="98678" y="24889"/>
                      <a:pt x="78422" y="1740"/>
                      <a:pt x="51656" y="112"/>
                    </a:cubicBezTo>
                    <a:cubicBezTo>
                      <a:pt x="24889" y="-1696"/>
                      <a:pt x="1740" y="18559"/>
                      <a:pt x="112" y="45326"/>
                    </a:cubicBezTo>
                    <a:cubicBezTo>
                      <a:pt x="-1696" y="72092"/>
                      <a:pt x="18559" y="95242"/>
                      <a:pt x="45326" y="96869"/>
                    </a:cubicBezTo>
                    <a:cubicBezTo>
                      <a:pt x="72093" y="98678"/>
                      <a:pt x="95061" y="78422"/>
                      <a:pt x="96870" y="516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6" name="Google Shape;936;p21"/>
              <p:cNvSpPr/>
              <p:nvPr/>
            </p:nvSpPr>
            <p:spPr>
              <a:xfrm>
                <a:off x="12196014" y="3147324"/>
                <a:ext cx="39154" cy="39153"/>
              </a:xfrm>
              <a:custGeom>
                <a:avLst/>
                <a:gdLst/>
                <a:ahLst/>
                <a:cxnLst/>
                <a:rect l="l" t="t" r="r" b="b"/>
                <a:pathLst>
                  <a:path w="39154" h="39153" extrusionOk="0">
                    <a:moveTo>
                      <a:pt x="39109" y="20843"/>
                    </a:moveTo>
                    <a:cubicBezTo>
                      <a:pt x="39832" y="9992"/>
                      <a:pt x="31694" y="768"/>
                      <a:pt x="20843" y="45"/>
                    </a:cubicBezTo>
                    <a:cubicBezTo>
                      <a:pt x="9992" y="-679"/>
                      <a:pt x="768" y="7460"/>
                      <a:pt x="45" y="18311"/>
                    </a:cubicBezTo>
                    <a:cubicBezTo>
                      <a:pt x="-679" y="29162"/>
                      <a:pt x="7460" y="38386"/>
                      <a:pt x="18311" y="39109"/>
                    </a:cubicBezTo>
                    <a:cubicBezTo>
                      <a:pt x="28982" y="39833"/>
                      <a:pt x="38386" y="31513"/>
                      <a:pt x="39109" y="208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7" name="Google Shape;937;p21"/>
              <p:cNvSpPr/>
              <p:nvPr/>
            </p:nvSpPr>
            <p:spPr>
              <a:xfrm>
                <a:off x="12099945" y="3391442"/>
                <a:ext cx="65990" cy="65991"/>
              </a:xfrm>
              <a:custGeom>
                <a:avLst/>
                <a:gdLst/>
                <a:ahLst/>
                <a:cxnLst/>
                <a:rect l="l" t="t" r="r" b="b"/>
                <a:pathLst>
                  <a:path w="65990" h="65991" extrusionOk="0">
                    <a:moveTo>
                      <a:pt x="65911" y="35166"/>
                    </a:moveTo>
                    <a:cubicBezTo>
                      <a:pt x="67177" y="16899"/>
                      <a:pt x="53251" y="1346"/>
                      <a:pt x="35166" y="80"/>
                    </a:cubicBezTo>
                    <a:cubicBezTo>
                      <a:pt x="16899" y="-1186"/>
                      <a:pt x="1346" y="12740"/>
                      <a:pt x="80" y="30825"/>
                    </a:cubicBezTo>
                    <a:cubicBezTo>
                      <a:pt x="-1186" y="49091"/>
                      <a:pt x="12739" y="64645"/>
                      <a:pt x="30825" y="65911"/>
                    </a:cubicBezTo>
                    <a:cubicBezTo>
                      <a:pt x="49091" y="67177"/>
                      <a:pt x="64826" y="53432"/>
                      <a:pt x="65911" y="351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8" name="Google Shape;938;p21"/>
              <p:cNvSpPr/>
              <p:nvPr/>
            </p:nvSpPr>
            <p:spPr>
              <a:xfrm>
                <a:off x="12307257" y="3915973"/>
                <a:ext cx="15427" cy="15427"/>
              </a:xfrm>
              <a:custGeom>
                <a:avLst/>
                <a:gdLst/>
                <a:ahLst/>
                <a:cxnLst/>
                <a:rect l="l" t="t" r="r" b="b"/>
                <a:pathLst>
                  <a:path w="15427" h="15427" extrusionOk="0">
                    <a:moveTo>
                      <a:pt x="15400" y="8166"/>
                    </a:moveTo>
                    <a:cubicBezTo>
                      <a:pt x="15762" y="3825"/>
                      <a:pt x="12506" y="208"/>
                      <a:pt x="8166" y="27"/>
                    </a:cubicBezTo>
                    <a:cubicBezTo>
                      <a:pt x="3825" y="-334"/>
                      <a:pt x="208" y="2921"/>
                      <a:pt x="27" y="7262"/>
                    </a:cubicBezTo>
                    <a:cubicBezTo>
                      <a:pt x="-334" y="11602"/>
                      <a:pt x="2921" y="15219"/>
                      <a:pt x="7261" y="15400"/>
                    </a:cubicBezTo>
                    <a:cubicBezTo>
                      <a:pt x="11421" y="15762"/>
                      <a:pt x="15038" y="12506"/>
                      <a:pt x="15400" y="816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39" name="Google Shape;939;p21"/>
              <p:cNvSpPr/>
              <p:nvPr/>
            </p:nvSpPr>
            <p:spPr>
              <a:xfrm>
                <a:off x="12102854" y="3394351"/>
                <a:ext cx="60354" cy="60354"/>
              </a:xfrm>
              <a:custGeom>
                <a:avLst/>
                <a:gdLst/>
                <a:ahLst/>
                <a:cxnLst/>
                <a:rect l="l" t="t" r="r" b="b"/>
                <a:pathLst>
                  <a:path w="60354" h="60354" extrusionOk="0">
                    <a:moveTo>
                      <a:pt x="60289" y="32076"/>
                    </a:moveTo>
                    <a:cubicBezTo>
                      <a:pt x="61374" y="15437"/>
                      <a:pt x="48715" y="1150"/>
                      <a:pt x="32076" y="65"/>
                    </a:cubicBezTo>
                    <a:cubicBezTo>
                      <a:pt x="15437" y="-1020"/>
                      <a:pt x="1150" y="11640"/>
                      <a:pt x="65" y="28278"/>
                    </a:cubicBezTo>
                    <a:cubicBezTo>
                      <a:pt x="-1020" y="44917"/>
                      <a:pt x="11639" y="59204"/>
                      <a:pt x="28278" y="60289"/>
                    </a:cubicBezTo>
                    <a:cubicBezTo>
                      <a:pt x="44736" y="61375"/>
                      <a:pt x="59204" y="48715"/>
                      <a:pt x="60289" y="320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0" name="Google Shape;940;p21"/>
              <p:cNvSpPr/>
              <p:nvPr/>
            </p:nvSpPr>
            <p:spPr>
              <a:xfrm>
                <a:off x="9111530" y="4170226"/>
                <a:ext cx="49483" cy="49464"/>
              </a:xfrm>
              <a:custGeom>
                <a:avLst/>
                <a:gdLst/>
                <a:ahLst/>
                <a:cxnLst/>
                <a:rect l="l" t="t" r="r" b="b"/>
                <a:pathLst>
                  <a:path w="49483" h="49464" extrusionOk="0">
                    <a:moveTo>
                      <a:pt x="49428" y="26279"/>
                    </a:moveTo>
                    <a:cubicBezTo>
                      <a:pt x="50333" y="12715"/>
                      <a:pt x="40024" y="779"/>
                      <a:pt x="26279" y="55"/>
                    </a:cubicBezTo>
                    <a:cubicBezTo>
                      <a:pt x="12715" y="-849"/>
                      <a:pt x="779" y="9459"/>
                      <a:pt x="55" y="23205"/>
                    </a:cubicBezTo>
                    <a:cubicBezTo>
                      <a:pt x="-849" y="36769"/>
                      <a:pt x="9460" y="48705"/>
                      <a:pt x="23205" y="49428"/>
                    </a:cubicBezTo>
                    <a:cubicBezTo>
                      <a:pt x="36769" y="50152"/>
                      <a:pt x="48524" y="39843"/>
                      <a:pt x="49428" y="262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1" name="Google Shape;941;p21"/>
              <p:cNvSpPr/>
              <p:nvPr/>
            </p:nvSpPr>
            <p:spPr>
              <a:xfrm>
                <a:off x="8618891" y="4148171"/>
                <a:ext cx="37168" cy="37148"/>
              </a:xfrm>
              <a:custGeom>
                <a:avLst/>
                <a:gdLst/>
                <a:ahLst/>
                <a:cxnLst/>
                <a:rect l="l" t="t" r="r" b="b"/>
                <a:pathLst>
                  <a:path w="37168" h="37148" extrusionOk="0">
                    <a:moveTo>
                      <a:pt x="37122" y="19760"/>
                    </a:moveTo>
                    <a:cubicBezTo>
                      <a:pt x="37845" y="9632"/>
                      <a:pt x="30069" y="770"/>
                      <a:pt x="19760" y="47"/>
                    </a:cubicBezTo>
                    <a:cubicBezTo>
                      <a:pt x="9632" y="-677"/>
                      <a:pt x="770" y="7100"/>
                      <a:pt x="47" y="17409"/>
                    </a:cubicBezTo>
                    <a:cubicBezTo>
                      <a:pt x="-677" y="27537"/>
                      <a:pt x="7100" y="36398"/>
                      <a:pt x="17409" y="37122"/>
                    </a:cubicBezTo>
                    <a:cubicBezTo>
                      <a:pt x="27537" y="37664"/>
                      <a:pt x="36398" y="29888"/>
                      <a:pt x="37122" y="1976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2" name="Google Shape;942;p21"/>
              <p:cNvSpPr/>
              <p:nvPr/>
            </p:nvSpPr>
            <p:spPr>
              <a:xfrm>
                <a:off x="8341814" y="4427764"/>
                <a:ext cx="50386" cy="50386"/>
              </a:xfrm>
              <a:custGeom>
                <a:avLst/>
                <a:gdLst/>
                <a:ahLst/>
                <a:cxnLst/>
                <a:rect l="l" t="t" r="r" b="b"/>
                <a:pathLst>
                  <a:path w="50386" h="50386" extrusionOk="0">
                    <a:moveTo>
                      <a:pt x="50332" y="26821"/>
                    </a:moveTo>
                    <a:cubicBezTo>
                      <a:pt x="51236" y="12895"/>
                      <a:pt x="40747" y="959"/>
                      <a:pt x="26821" y="54"/>
                    </a:cubicBezTo>
                    <a:cubicBezTo>
                      <a:pt x="12895" y="-850"/>
                      <a:pt x="959" y="9640"/>
                      <a:pt x="54" y="23565"/>
                    </a:cubicBezTo>
                    <a:cubicBezTo>
                      <a:pt x="-850" y="37491"/>
                      <a:pt x="9640" y="49428"/>
                      <a:pt x="23565" y="50332"/>
                    </a:cubicBezTo>
                    <a:cubicBezTo>
                      <a:pt x="37491" y="51236"/>
                      <a:pt x="49428" y="40747"/>
                      <a:pt x="50332" y="268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3" name="Google Shape;943;p21"/>
              <p:cNvSpPr/>
              <p:nvPr/>
            </p:nvSpPr>
            <p:spPr>
              <a:xfrm>
                <a:off x="9103567" y="4162243"/>
                <a:ext cx="65229" cy="65269"/>
              </a:xfrm>
              <a:custGeom>
                <a:avLst/>
                <a:gdLst/>
                <a:ahLst/>
                <a:cxnLst/>
                <a:rect l="l" t="t" r="r" b="b"/>
                <a:pathLst>
                  <a:path w="65229" h="65269" extrusionOk="0">
                    <a:moveTo>
                      <a:pt x="65168" y="34805"/>
                    </a:moveTo>
                    <a:cubicBezTo>
                      <a:pt x="66253" y="16900"/>
                      <a:pt x="52689" y="1347"/>
                      <a:pt x="34785" y="81"/>
                    </a:cubicBezTo>
                    <a:cubicBezTo>
                      <a:pt x="16880" y="-1185"/>
                      <a:pt x="1327" y="12560"/>
                      <a:pt x="61" y="30464"/>
                    </a:cubicBezTo>
                    <a:cubicBezTo>
                      <a:pt x="-1024" y="48369"/>
                      <a:pt x="12540" y="63923"/>
                      <a:pt x="30444" y="65188"/>
                    </a:cubicBezTo>
                    <a:cubicBezTo>
                      <a:pt x="48530" y="66454"/>
                      <a:pt x="64083" y="52710"/>
                      <a:pt x="65168" y="3480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4" name="Google Shape;944;p21"/>
              <p:cNvSpPr/>
              <p:nvPr/>
            </p:nvSpPr>
            <p:spPr>
              <a:xfrm>
                <a:off x="8929071" y="4966552"/>
                <a:ext cx="31351" cy="31350"/>
              </a:xfrm>
              <a:custGeom>
                <a:avLst/>
                <a:gdLst/>
                <a:ahLst/>
                <a:cxnLst/>
                <a:rect l="l" t="t" r="r" b="b"/>
                <a:pathLst>
                  <a:path w="31351" h="31350" extrusionOk="0">
                    <a:moveTo>
                      <a:pt x="31319" y="16670"/>
                    </a:moveTo>
                    <a:cubicBezTo>
                      <a:pt x="31862" y="7989"/>
                      <a:pt x="25351" y="574"/>
                      <a:pt x="16670" y="32"/>
                    </a:cubicBezTo>
                    <a:cubicBezTo>
                      <a:pt x="7989" y="-511"/>
                      <a:pt x="574" y="6000"/>
                      <a:pt x="32" y="14681"/>
                    </a:cubicBezTo>
                    <a:cubicBezTo>
                      <a:pt x="-511" y="23362"/>
                      <a:pt x="6000" y="30777"/>
                      <a:pt x="14681" y="31319"/>
                    </a:cubicBezTo>
                    <a:cubicBezTo>
                      <a:pt x="23181" y="31862"/>
                      <a:pt x="30777" y="25351"/>
                      <a:pt x="31319" y="166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5" name="Google Shape;945;p21"/>
              <p:cNvSpPr/>
              <p:nvPr/>
            </p:nvSpPr>
            <p:spPr>
              <a:xfrm>
                <a:off x="8355775" y="4441725"/>
                <a:ext cx="22465" cy="22465"/>
              </a:xfrm>
              <a:custGeom>
                <a:avLst/>
                <a:gdLst/>
                <a:ahLst/>
                <a:cxnLst/>
                <a:rect l="l" t="t" r="r" b="b"/>
                <a:pathLst>
                  <a:path w="22465" h="22465" extrusionOk="0">
                    <a:moveTo>
                      <a:pt x="22446" y="11956"/>
                    </a:moveTo>
                    <a:cubicBezTo>
                      <a:pt x="22807" y="5807"/>
                      <a:pt x="18105" y="381"/>
                      <a:pt x="11956" y="20"/>
                    </a:cubicBezTo>
                    <a:cubicBezTo>
                      <a:pt x="5807" y="-342"/>
                      <a:pt x="381" y="4360"/>
                      <a:pt x="20" y="10509"/>
                    </a:cubicBezTo>
                    <a:cubicBezTo>
                      <a:pt x="-342" y="16658"/>
                      <a:pt x="4360" y="22084"/>
                      <a:pt x="10509" y="22446"/>
                    </a:cubicBezTo>
                    <a:cubicBezTo>
                      <a:pt x="16839" y="22807"/>
                      <a:pt x="22084" y="18286"/>
                      <a:pt x="22446" y="119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6" name="Google Shape;946;p21"/>
              <p:cNvSpPr/>
              <p:nvPr/>
            </p:nvSpPr>
            <p:spPr>
              <a:xfrm>
                <a:off x="9116243" y="4174759"/>
                <a:ext cx="40056" cy="40078"/>
              </a:xfrm>
              <a:custGeom>
                <a:avLst/>
                <a:gdLst/>
                <a:ahLst/>
                <a:cxnLst/>
                <a:rect l="l" t="t" r="r" b="b"/>
                <a:pathLst>
                  <a:path w="40056" h="40078" extrusionOk="0">
                    <a:moveTo>
                      <a:pt x="40013" y="21385"/>
                    </a:moveTo>
                    <a:cubicBezTo>
                      <a:pt x="40736" y="10352"/>
                      <a:pt x="32417" y="767"/>
                      <a:pt x="21385" y="44"/>
                    </a:cubicBezTo>
                    <a:cubicBezTo>
                      <a:pt x="10353" y="-680"/>
                      <a:pt x="767" y="7640"/>
                      <a:pt x="44" y="18672"/>
                    </a:cubicBezTo>
                    <a:cubicBezTo>
                      <a:pt x="-680" y="29704"/>
                      <a:pt x="7640" y="39289"/>
                      <a:pt x="18672" y="40013"/>
                    </a:cubicBezTo>
                    <a:cubicBezTo>
                      <a:pt x="29704" y="40917"/>
                      <a:pt x="39289" y="32417"/>
                      <a:pt x="40013" y="213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" name="Google Shape;947;p21"/>
              <p:cNvSpPr/>
              <p:nvPr/>
            </p:nvSpPr>
            <p:spPr>
              <a:xfrm>
                <a:off x="8628680" y="4157779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205"/>
                      <a:pt x="9428" y="24"/>
                    </a:cubicBezTo>
                    <a:cubicBezTo>
                      <a:pt x="4545" y="-338"/>
                      <a:pt x="205" y="3460"/>
                      <a:pt x="24" y="8343"/>
                    </a:cubicBezTo>
                    <a:cubicBezTo>
                      <a:pt x="-338" y="13226"/>
                      <a:pt x="3460" y="17567"/>
                      <a:pt x="8343" y="17748"/>
                    </a:cubicBezTo>
                    <a:cubicBezTo>
                      <a:pt x="13226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" name="Google Shape;948;p21"/>
              <p:cNvSpPr/>
              <p:nvPr/>
            </p:nvSpPr>
            <p:spPr>
              <a:xfrm>
                <a:off x="9108260" y="4166957"/>
                <a:ext cx="55842" cy="55842"/>
              </a:xfrm>
              <a:custGeom>
                <a:avLst/>
                <a:gdLst/>
                <a:ahLst/>
                <a:cxnLst/>
                <a:rect l="l" t="t" r="r" b="b"/>
                <a:pathLst>
                  <a:path w="55842" h="55842" extrusionOk="0">
                    <a:moveTo>
                      <a:pt x="55773" y="29730"/>
                    </a:moveTo>
                    <a:cubicBezTo>
                      <a:pt x="56858" y="14357"/>
                      <a:pt x="45102" y="1155"/>
                      <a:pt x="29730" y="69"/>
                    </a:cubicBezTo>
                    <a:cubicBezTo>
                      <a:pt x="14357" y="-1016"/>
                      <a:pt x="1155" y="10740"/>
                      <a:pt x="69" y="26113"/>
                    </a:cubicBezTo>
                    <a:cubicBezTo>
                      <a:pt x="-1016" y="41485"/>
                      <a:pt x="10740" y="54688"/>
                      <a:pt x="26112" y="55773"/>
                    </a:cubicBezTo>
                    <a:cubicBezTo>
                      <a:pt x="41485" y="56858"/>
                      <a:pt x="54868" y="45102"/>
                      <a:pt x="55773" y="2973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9" name="Google Shape;949;p21"/>
              <p:cNvSpPr/>
              <p:nvPr/>
            </p:nvSpPr>
            <p:spPr>
              <a:xfrm>
                <a:off x="9824081" y="4554527"/>
                <a:ext cx="55482" cy="55461"/>
              </a:xfrm>
              <a:custGeom>
                <a:avLst/>
                <a:gdLst/>
                <a:ahLst/>
                <a:cxnLst/>
                <a:rect l="l" t="t" r="r" b="b"/>
                <a:pathLst>
                  <a:path w="55482" h="55461" extrusionOk="0">
                    <a:moveTo>
                      <a:pt x="55412" y="29550"/>
                    </a:moveTo>
                    <a:cubicBezTo>
                      <a:pt x="56497" y="14358"/>
                      <a:pt x="44922" y="1156"/>
                      <a:pt x="29550" y="70"/>
                    </a:cubicBezTo>
                    <a:cubicBezTo>
                      <a:pt x="14358" y="-1015"/>
                      <a:pt x="1156" y="10560"/>
                      <a:pt x="70" y="25933"/>
                    </a:cubicBezTo>
                    <a:cubicBezTo>
                      <a:pt x="-1015" y="41124"/>
                      <a:pt x="10560" y="54327"/>
                      <a:pt x="25933" y="55412"/>
                    </a:cubicBezTo>
                    <a:cubicBezTo>
                      <a:pt x="41305" y="56316"/>
                      <a:pt x="54327" y="44742"/>
                      <a:pt x="55412" y="2955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0" name="Google Shape;950;p21"/>
              <p:cNvSpPr/>
              <p:nvPr/>
            </p:nvSpPr>
            <p:spPr>
              <a:xfrm>
                <a:off x="8892646" y="4930308"/>
                <a:ext cx="104021" cy="104020"/>
              </a:xfrm>
              <a:custGeom>
                <a:avLst/>
                <a:gdLst/>
                <a:ahLst/>
                <a:cxnLst/>
                <a:rect l="l" t="t" r="r" b="b"/>
                <a:pathLst>
                  <a:path w="104021" h="104020" extrusionOk="0">
                    <a:moveTo>
                      <a:pt x="103916" y="55447"/>
                    </a:moveTo>
                    <a:cubicBezTo>
                      <a:pt x="105724" y="26691"/>
                      <a:pt x="84022" y="1914"/>
                      <a:pt x="55447" y="105"/>
                    </a:cubicBezTo>
                    <a:cubicBezTo>
                      <a:pt x="26691" y="-1703"/>
                      <a:pt x="1914" y="19999"/>
                      <a:pt x="105" y="48574"/>
                    </a:cubicBezTo>
                    <a:cubicBezTo>
                      <a:pt x="-1703" y="77330"/>
                      <a:pt x="19999" y="102107"/>
                      <a:pt x="48574" y="103916"/>
                    </a:cubicBezTo>
                    <a:cubicBezTo>
                      <a:pt x="77330" y="105724"/>
                      <a:pt x="102107" y="84022"/>
                      <a:pt x="103916" y="5544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1" name="Google Shape;951;p21"/>
              <p:cNvSpPr/>
              <p:nvPr/>
            </p:nvSpPr>
            <p:spPr>
              <a:xfrm>
                <a:off x="9104830" y="4163346"/>
                <a:ext cx="62882" cy="62903"/>
              </a:xfrm>
              <a:custGeom>
                <a:avLst/>
                <a:gdLst/>
                <a:ahLst/>
                <a:cxnLst/>
                <a:rect l="l" t="t" r="r" b="b"/>
                <a:pathLst>
                  <a:path w="62882" h="62903" extrusionOk="0">
                    <a:moveTo>
                      <a:pt x="62820" y="33521"/>
                    </a:moveTo>
                    <a:cubicBezTo>
                      <a:pt x="63905" y="16159"/>
                      <a:pt x="50883" y="1148"/>
                      <a:pt x="33521" y="63"/>
                    </a:cubicBezTo>
                    <a:cubicBezTo>
                      <a:pt x="16159" y="-1022"/>
                      <a:pt x="1148" y="12000"/>
                      <a:pt x="63" y="29361"/>
                    </a:cubicBezTo>
                    <a:cubicBezTo>
                      <a:pt x="-1022" y="46724"/>
                      <a:pt x="11999" y="61735"/>
                      <a:pt x="29362" y="62820"/>
                    </a:cubicBezTo>
                    <a:cubicBezTo>
                      <a:pt x="46724" y="64086"/>
                      <a:pt x="61734" y="50883"/>
                      <a:pt x="62820" y="335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2" name="Google Shape;952;p21"/>
              <p:cNvSpPr/>
              <p:nvPr/>
            </p:nvSpPr>
            <p:spPr>
              <a:xfrm>
                <a:off x="9821374" y="4551820"/>
                <a:ext cx="60896" cy="60896"/>
              </a:xfrm>
              <a:custGeom>
                <a:avLst/>
                <a:gdLst/>
                <a:ahLst/>
                <a:cxnLst/>
                <a:rect l="l" t="t" r="r" b="b"/>
                <a:pathLst>
                  <a:path w="60896" h="60896" extrusionOk="0">
                    <a:moveTo>
                      <a:pt x="60832" y="32438"/>
                    </a:moveTo>
                    <a:cubicBezTo>
                      <a:pt x="61917" y="15618"/>
                      <a:pt x="49257" y="1150"/>
                      <a:pt x="32438" y="65"/>
                    </a:cubicBezTo>
                    <a:cubicBezTo>
                      <a:pt x="15618" y="-1020"/>
                      <a:pt x="1150" y="11640"/>
                      <a:pt x="65" y="28459"/>
                    </a:cubicBezTo>
                    <a:cubicBezTo>
                      <a:pt x="-1020" y="45278"/>
                      <a:pt x="11640" y="59747"/>
                      <a:pt x="28459" y="60832"/>
                    </a:cubicBezTo>
                    <a:cubicBezTo>
                      <a:pt x="45278" y="61917"/>
                      <a:pt x="59747" y="49257"/>
                      <a:pt x="60832" y="3243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3" name="Google Shape;953;p21"/>
              <p:cNvSpPr/>
              <p:nvPr/>
            </p:nvSpPr>
            <p:spPr>
              <a:xfrm>
                <a:off x="12098555" y="4500137"/>
                <a:ext cx="18673" cy="18674"/>
              </a:xfrm>
              <a:custGeom>
                <a:avLst/>
                <a:gdLst/>
                <a:ahLst/>
                <a:cxnLst/>
                <a:rect l="l" t="t" r="r" b="b"/>
                <a:pathLst>
                  <a:path w="18673" h="18674" extrusionOk="0">
                    <a:moveTo>
                      <a:pt x="18651" y="9970"/>
                    </a:moveTo>
                    <a:cubicBezTo>
                      <a:pt x="19013" y="4725"/>
                      <a:pt x="15034" y="385"/>
                      <a:pt x="9970" y="23"/>
                    </a:cubicBezTo>
                    <a:cubicBezTo>
                      <a:pt x="4725" y="-339"/>
                      <a:pt x="385" y="3640"/>
                      <a:pt x="23" y="8704"/>
                    </a:cubicBezTo>
                    <a:cubicBezTo>
                      <a:pt x="-339" y="13949"/>
                      <a:pt x="3640" y="18289"/>
                      <a:pt x="8704" y="18651"/>
                    </a:cubicBezTo>
                    <a:cubicBezTo>
                      <a:pt x="13949" y="19013"/>
                      <a:pt x="18289" y="15215"/>
                      <a:pt x="18651" y="99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4" name="Google Shape;954;p21"/>
              <p:cNvSpPr/>
              <p:nvPr/>
            </p:nvSpPr>
            <p:spPr>
              <a:xfrm>
                <a:off x="12297108" y="3906005"/>
                <a:ext cx="35364" cy="35343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3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0" y="34592"/>
                      <a:pt x="16507" y="35315"/>
                    </a:cubicBezTo>
                    <a:cubicBezTo>
                      <a:pt x="26453" y="35858"/>
                      <a:pt x="34773" y="28443"/>
                      <a:pt x="35316" y="1885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5" name="Google Shape;955;p21"/>
              <p:cNvSpPr/>
              <p:nvPr/>
            </p:nvSpPr>
            <p:spPr>
              <a:xfrm>
                <a:off x="11567717" y="4256135"/>
                <a:ext cx="51648" cy="51648"/>
              </a:xfrm>
              <a:custGeom>
                <a:avLst/>
                <a:gdLst/>
                <a:ahLst/>
                <a:cxnLst/>
                <a:rect l="l" t="t" r="r" b="b"/>
                <a:pathLst>
                  <a:path w="51648" h="51648" extrusionOk="0">
                    <a:moveTo>
                      <a:pt x="51596" y="27542"/>
                    </a:moveTo>
                    <a:cubicBezTo>
                      <a:pt x="52500" y="13255"/>
                      <a:pt x="41649" y="957"/>
                      <a:pt x="27543" y="53"/>
                    </a:cubicBezTo>
                    <a:cubicBezTo>
                      <a:pt x="13255" y="-852"/>
                      <a:pt x="957" y="10000"/>
                      <a:pt x="53" y="24106"/>
                    </a:cubicBezTo>
                    <a:cubicBezTo>
                      <a:pt x="-852" y="38394"/>
                      <a:pt x="10000" y="50692"/>
                      <a:pt x="24106" y="51596"/>
                    </a:cubicBezTo>
                    <a:cubicBezTo>
                      <a:pt x="38394" y="52500"/>
                      <a:pt x="50692" y="41649"/>
                      <a:pt x="51596" y="2754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6" name="Google Shape;956;p21"/>
              <p:cNvSpPr/>
              <p:nvPr/>
            </p:nvSpPr>
            <p:spPr>
              <a:xfrm>
                <a:off x="12083511" y="4485274"/>
                <a:ext cx="48762" cy="48742"/>
              </a:xfrm>
              <a:custGeom>
                <a:avLst/>
                <a:gdLst/>
                <a:ahLst/>
                <a:cxnLst/>
                <a:rect l="l" t="t" r="r" b="b"/>
                <a:pathLst>
                  <a:path w="48762" h="48742" extrusionOk="0">
                    <a:moveTo>
                      <a:pt x="48706" y="25918"/>
                    </a:moveTo>
                    <a:cubicBezTo>
                      <a:pt x="49610" y="12535"/>
                      <a:pt x="39482" y="779"/>
                      <a:pt x="25918" y="56"/>
                    </a:cubicBezTo>
                    <a:cubicBezTo>
                      <a:pt x="12535" y="-848"/>
                      <a:pt x="780" y="9280"/>
                      <a:pt x="56" y="22844"/>
                    </a:cubicBezTo>
                    <a:cubicBezTo>
                      <a:pt x="-848" y="36227"/>
                      <a:pt x="9280" y="47982"/>
                      <a:pt x="22844" y="48706"/>
                    </a:cubicBezTo>
                    <a:cubicBezTo>
                      <a:pt x="36227" y="49429"/>
                      <a:pt x="47801" y="39302"/>
                      <a:pt x="48706" y="259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7" name="Google Shape;957;p21"/>
              <p:cNvSpPr/>
              <p:nvPr/>
            </p:nvSpPr>
            <p:spPr>
              <a:xfrm>
                <a:off x="12716186" y="4390914"/>
                <a:ext cx="11232" cy="11232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32" extrusionOk="0">
                    <a:moveTo>
                      <a:pt x="11223" y="5978"/>
                    </a:moveTo>
                    <a:cubicBezTo>
                      <a:pt x="11404" y="2904"/>
                      <a:pt x="9052" y="191"/>
                      <a:pt x="5978" y="10"/>
                    </a:cubicBezTo>
                    <a:cubicBezTo>
                      <a:pt x="2903" y="-171"/>
                      <a:pt x="191" y="2180"/>
                      <a:pt x="10" y="5254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404"/>
                      <a:pt x="10861" y="9052"/>
                      <a:pt x="11223" y="597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8" name="Google Shape;958;p21"/>
              <p:cNvSpPr/>
              <p:nvPr/>
            </p:nvSpPr>
            <p:spPr>
              <a:xfrm>
                <a:off x="12284252" y="3892968"/>
                <a:ext cx="61256" cy="61279"/>
              </a:xfrm>
              <a:custGeom>
                <a:avLst/>
                <a:gdLst/>
                <a:ahLst/>
                <a:cxnLst/>
                <a:rect l="l" t="t" r="r" b="b"/>
                <a:pathLst>
                  <a:path w="61256" h="61279" extrusionOk="0">
                    <a:moveTo>
                      <a:pt x="61192" y="32618"/>
                    </a:moveTo>
                    <a:cubicBezTo>
                      <a:pt x="62278" y="15798"/>
                      <a:pt x="49437" y="1149"/>
                      <a:pt x="32618" y="64"/>
                    </a:cubicBezTo>
                    <a:cubicBezTo>
                      <a:pt x="15798" y="-1021"/>
                      <a:pt x="1149" y="11819"/>
                      <a:pt x="64" y="28639"/>
                    </a:cubicBezTo>
                    <a:cubicBezTo>
                      <a:pt x="-1021" y="45458"/>
                      <a:pt x="11819" y="60108"/>
                      <a:pt x="28639" y="61193"/>
                    </a:cubicBezTo>
                    <a:cubicBezTo>
                      <a:pt x="45639" y="62459"/>
                      <a:pt x="60107" y="49618"/>
                      <a:pt x="61192" y="326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59" name="Google Shape;959;p21"/>
              <p:cNvSpPr/>
              <p:nvPr/>
            </p:nvSpPr>
            <p:spPr>
              <a:xfrm>
                <a:off x="12050155" y="4451757"/>
                <a:ext cx="115655" cy="115795"/>
              </a:xfrm>
              <a:custGeom>
                <a:avLst/>
                <a:gdLst/>
                <a:ahLst/>
                <a:cxnLst/>
                <a:rect l="l" t="t" r="r" b="b"/>
                <a:pathLst>
                  <a:path w="115655" h="115795" extrusionOk="0">
                    <a:moveTo>
                      <a:pt x="115520" y="61606"/>
                    </a:moveTo>
                    <a:cubicBezTo>
                      <a:pt x="117691" y="29775"/>
                      <a:pt x="93456" y="2104"/>
                      <a:pt x="61626" y="115"/>
                    </a:cubicBezTo>
                    <a:cubicBezTo>
                      <a:pt x="29795" y="-1874"/>
                      <a:pt x="2124" y="22179"/>
                      <a:pt x="135" y="54191"/>
                    </a:cubicBezTo>
                    <a:cubicBezTo>
                      <a:pt x="-2035" y="86021"/>
                      <a:pt x="22199" y="113692"/>
                      <a:pt x="54029" y="115681"/>
                    </a:cubicBezTo>
                    <a:cubicBezTo>
                      <a:pt x="85860" y="117670"/>
                      <a:pt x="113350" y="93436"/>
                      <a:pt x="115520" y="616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60" name="Google Shape;960;p21"/>
              <p:cNvSpPr/>
              <p:nvPr/>
            </p:nvSpPr>
            <p:spPr>
              <a:xfrm>
                <a:off x="12464246" y="5173100"/>
                <a:ext cx="23188" cy="23187"/>
              </a:xfrm>
              <a:custGeom>
                <a:avLst/>
                <a:gdLst/>
                <a:ahLst/>
                <a:cxnLst/>
                <a:rect l="l" t="t" r="r" b="b"/>
                <a:pathLst>
                  <a:path w="23188" h="23187" extrusionOk="0">
                    <a:moveTo>
                      <a:pt x="23169" y="12318"/>
                    </a:moveTo>
                    <a:cubicBezTo>
                      <a:pt x="23531" y="5988"/>
                      <a:pt x="18829" y="381"/>
                      <a:pt x="12317" y="20"/>
                    </a:cubicBezTo>
                    <a:cubicBezTo>
                      <a:pt x="5988" y="-342"/>
                      <a:pt x="382" y="4360"/>
                      <a:pt x="20" y="10871"/>
                    </a:cubicBezTo>
                    <a:cubicBezTo>
                      <a:pt x="-342" y="17201"/>
                      <a:pt x="4360" y="22807"/>
                      <a:pt x="10871" y="23169"/>
                    </a:cubicBezTo>
                    <a:cubicBezTo>
                      <a:pt x="17201" y="23531"/>
                      <a:pt x="22626" y="18648"/>
                      <a:pt x="23169" y="1231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61" name="Google Shape;961;p21"/>
              <p:cNvSpPr/>
              <p:nvPr/>
            </p:nvSpPr>
            <p:spPr>
              <a:xfrm>
                <a:off x="12078256" y="4480019"/>
                <a:ext cx="59270" cy="59252"/>
              </a:xfrm>
              <a:custGeom>
                <a:avLst/>
                <a:gdLst/>
                <a:ahLst/>
                <a:cxnLst/>
                <a:rect l="l" t="t" r="r" b="b"/>
                <a:pathLst>
                  <a:path w="59270" h="59252" extrusionOk="0">
                    <a:moveTo>
                      <a:pt x="59205" y="31535"/>
                    </a:moveTo>
                    <a:cubicBezTo>
                      <a:pt x="60291" y="15258"/>
                      <a:pt x="47812" y="1151"/>
                      <a:pt x="31534" y="66"/>
                    </a:cubicBezTo>
                    <a:cubicBezTo>
                      <a:pt x="15257" y="-1019"/>
                      <a:pt x="1151" y="11460"/>
                      <a:pt x="66" y="27736"/>
                    </a:cubicBezTo>
                    <a:cubicBezTo>
                      <a:pt x="-1019" y="44014"/>
                      <a:pt x="11460" y="58120"/>
                      <a:pt x="27736" y="59205"/>
                    </a:cubicBezTo>
                    <a:cubicBezTo>
                      <a:pt x="44013" y="60110"/>
                      <a:pt x="58120" y="47811"/>
                      <a:pt x="59205" y="3153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62" name="Google Shape;962;p21"/>
              <p:cNvSpPr/>
              <p:nvPr/>
            </p:nvSpPr>
            <p:spPr>
              <a:xfrm>
                <a:off x="12702587" y="4377315"/>
                <a:ext cx="38431" cy="38431"/>
              </a:xfrm>
              <a:custGeom>
                <a:avLst/>
                <a:gdLst/>
                <a:ahLst/>
                <a:cxnLst/>
                <a:rect l="l" t="t" r="r" b="b"/>
                <a:pathLst>
                  <a:path w="38431" h="38431" extrusionOk="0">
                    <a:moveTo>
                      <a:pt x="38386" y="20481"/>
                    </a:moveTo>
                    <a:cubicBezTo>
                      <a:pt x="39109" y="9811"/>
                      <a:pt x="30971" y="768"/>
                      <a:pt x="20481" y="45"/>
                    </a:cubicBezTo>
                    <a:cubicBezTo>
                      <a:pt x="9811" y="-679"/>
                      <a:pt x="768" y="7460"/>
                      <a:pt x="45" y="17949"/>
                    </a:cubicBezTo>
                    <a:cubicBezTo>
                      <a:pt x="-678" y="28620"/>
                      <a:pt x="7460" y="37663"/>
                      <a:pt x="17950" y="38386"/>
                    </a:cubicBezTo>
                    <a:cubicBezTo>
                      <a:pt x="28439" y="39109"/>
                      <a:pt x="37663" y="31152"/>
                      <a:pt x="38386" y="204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63" name="Google Shape;963;p21"/>
              <p:cNvSpPr/>
              <p:nvPr/>
            </p:nvSpPr>
            <p:spPr>
              <a:xfrm>
                <a:off x="10158534" y="2710949"/>
                <a:ext cx="24090" cy="24090"/>
              </a:xfrm>
              <a:custGeom>
                <a:avLst/>
                <a:gdLst/>
                <a:ahLst/>
                <a:cxnLst/>
                <a:rect l="l" t="t" r="r" b="b"/>
                <a:pathLst>
                  <a:path w="24090" h="24090" extrusionOk="0">
                    <a:moveTo>
                      <a:pt x="24072" y="12859"/>
                    </a:moveTo>
                    <a:cubicBezTo>
                      <a:pt x="24433" y="6167"/>
                      <a:pt x="19370" y="380"/>
                      <a:pt x="12859" y="18"/>
                    </a:cubicBezTo>
                    <a:cubicBezTo>
                      <a:pt x="6167" y="-344"/>
                      <a:pt x="380" y="4720"/>
                      <a:pt x="18" y="11231"/>
                    </a:cubicBezTo>
                    <a:cubicBezTo>
                      <a:pt x="-344" y="17923"/>
                      <a:pt x="4720" y="23710"/>
                      <a:pt x="11231" y="24072"/>
                    </a:cubicBezTo>
                    <a:cubicBezTo>
                      <a:pt x="17923" y="24434"/>
                      <a:pt x="23710" y="19370"/>
                      <a:pt x="24072" y="1285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64" name="Google Shape;964;p21"/>
              <p:cNvSpPr/>
              <p:nvPr/>
            </p:nvSpPr>
            <p:spPr>
              <a:xfrm>
                <a:off x="10161783" y="2714018"/>
                <a:ext cx="17771" cy="17771"/>
              </a:xfrm>
              <a:custGeom>
                <a:avLst/>
                <a:gdLst/>
                <a:ahLst/>
                <a:cxnLst/>
                <a:rect l="l" t="t" r="r" b="b"/>
                <a:pathLst>
                  <a:path w="17771" h="17771" extrusionOk="0">
                    <a:moveTo>
                      <a:pt x="17748" y="9428"/>
                    </a:moveTo>
                    <a:cubicBezTo>
                      <a:pt x="18109" y="4545"/>
                      <a:pt x="14311" y="385"/>
                      <a:pt x="9428" y="24"/>
                    </a:cubicBezTo>
                    <a:cubicBezTo>
                      <a:pt x="4545" y="-338"/>
                      <a:pt x="386" y="3460"/>
                      <a:pt x="24" y="8343"/>
                    </a:cubicBezTo>
                    <a:cubicBezTo>
                      <a:pt x="-338" y="13226"/>
                      <a:pt x="3460" y="17386"/>
                      <a:pt x="8343" y="17748"/>
                    </a:cubicBezTo>
                    <a:cubicBezTo>
                      <a:pt x="13045" y="18109"/>
                      <a:pt x="17386" y="14311"/>
                      <a:pt x="17748" y="942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grpSp>
            <p:nvGrpSpPr>
              <p:cNvPr id="965" name="Google Shape;965;p21"/>
              <p:cNvGrpSpPr/>
              <p:nvPr/>
            </p:nvGrpSpPr>
            <p:grpSpPr>
              <a:xfrm>
                <a:off x="9214555" y="1244711"/>
                <a:ext cx="2483318" cy="2784621"/>
                <a:chOff x="9214555" y="1244711"/>
                <a:chExt cx="2483318" cy="2784621"/>
              </a:xfrm>
            </p:grpSpPr>
            <p:sp>
              <p:nvSpPr>
                <p:cNvPr id="966" name="Google Shape;966;p21"/>
                <p:cNvSpPr/>
                <p:nvPr/>
              </p:nvSpPr>
              <p:spPr>
                <a:xfrm>
                  <a:off x="11478884" y="1352121"/>
                  <a:ext cx="80292" cy="80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292" h="80292" extrusionOk="0">
                      <a:moveTo>
                        <a:pt x="80205" y="42768"/>
                      </a:moveTo>
                      <a:cubicBezTo>
                        <a:pt x="81652" y="20704"/>
                        <a:pt x="64833" y="1534"/>
                        <a:pt x="42768" y="87"/>
                      </a:cubicBezTo>
                      <a:cubicBezTo>
                        <a:pt x="20704" y="-1360"/>
                        <a:pt x="1534" y="15459"/>
                        <a:pt x="87" y="37524"/>
                      </a:cubicBezTo>
                      <a:cubicBezTo>
                        <a:pt x="-1360" y="59588"/>
                        <a:pt x="15460" y="78758"/>
                        <a:pt x="37524" y="80205"/>
                      </a:cubicBezTo>
                      <a:cubicBezTo>
                        <a:pt x="59588" y="81652"/>
                        <a:pt x="78759" y="64833"/>
                        <a:pt x="80205" y="427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67" name="Google Shape;967;p21"/>
                <p:cNvSpPr/>
                <p:nvPr/>
              </p:nvSpPr>
              <p:spPr>
                <a:xfrm>
                  <a:off x="11653826" y="1256686"/>
                  <a:ext cx="31892" cy="319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892" h="31914" extrusionOk="0">
                      <a:moveTo>
                        <a:pt x="31861" y="17031"/>
                      </a:moveTo>
                      <a:cubicBezTo>
                        <a:pt x="32404" y="8169"/>
                        <a:pt x="25712" y="573"/>
                        <a:pt x="17031" y="31"/>
                      </a:cubicBezTo>
                      <a:cubicBezTo>
                        <a:pt x="8169" y="-512"/>
                        <a:pt x="573" y="6180"/>
                        <a:pt x="31" y="14861"/>
                      </a:cubicBezTo>
                      <a:cubicBezTo>
                        <a:pt x="-512" y="23723"/>
                        <a:pt x="6180" y="31319"/>
                        <a:pt x="14861" y="31861"/>
                      </a:cubicBezTo>
                      <a:cubicBezTo>
                        <a:pt x="23723" y="32585"/>
                        <a:pt x="31319" y="25893"/>
                        <a:pt x="31861" y="1703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68" name="Google Shape;968;p21"/>
                <p:cNvSpPr/>
                <p:nvPr/>
              </p:nvSpPr>
              <p:spPr>
                <a:xfrm>
                  <a:off x="11496293" y="1369531"/>
                  <a:ext cx="45291" cy="4529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91" h="45291" extrusionOk="0">
                      <a:moveTo>
                        <a:pt x="45253" y="24093"/>
                      </a:moveTo>
                      <a:cubicBezTo>
                        <a:pt x="45976" y="11614"/>
                        <a:pt x="36572" y="943"/>
                        <a:pt x="24093" y="39"/>
                      </a:cubicBezTo>
                      <a:cubicBezTo>
                        <a:pt x="11614" y="-684"/>
                        <a:pt x="943" y="8720"/>
                        <a:pt x="39" y="21199"/>
                      </a:cubicBezTo>
                      <a:cubicBezTo>
                        <a:pt x="-684" y="33678"/>
                        <a:pt x="8720" y="44348"/>
                        <a:pt x="21199" y="45253"/>
                      </a:cubicBezTo>
                      <a:cubicBezTo>
                        <a:pt x="33678" y="45976"/>
                        <a:pt x="44348" y="36572"/>
                        <a:pt x="45253" y="2409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69" name="Google Shape;969;p21"/>
                <p:cNvSpPr/>
                <p:nvPr/>
              </p:nvSpPr>
              <p:spPr>
                <a:xfrm>
                  <a:off x="9648838" y="2511962"/>
                  <a:ext cx="60175" cy="601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175" h="60175" extrusionOk="0">
                      <a:moveTo>
                        <a:pt x="60109" y="32077"/>
                      </a:moveTo>
                      <a:cubicBezTo>
                        <a:pt x="61195" y="15438"/>
                        <a:pt x="48716" y="1151"/>
                        <a:pt x="32077" y="66"/>
                      </a:cubicBezTo>
                      <a:cubicBezTo>
                        <a:pt x="15438" y="-1019"/>
                        <a:pt x="1151" y="11460"/>
                        <a:pt x="66" y="28098"/>
                      </a:cubicBezTo>
                      <a:cubicBezTo>
                        <a:pt x="-1019" y="44737"/>
                        <a:pt x="11460" y="59024"/>
                        <a:pt x="28098" y="60109"/>
                      </a:cubicBezTo>
                      <a:cubicBezTo>
                        <a:pt x="44737" y="61194"/>
                        <a:pt x="59024" y="48715"/>
                        <a:pt x="60109" y="320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0" name="Google Shape;970;p21"/>
                <p:cNvSpPr/>
                <p:nvPr/>
              </p:nvSpPr>
              <p:spPr>
                <a:xfrm>
                  <a:off x="11641670" y="1244711"/>
                  <a:ext cx="56203" cy="561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203" h="56183" extrusionOk="0">
                      <a:moveTo>
                        <a:pt x="56134" y="29910"/>
                      </a:moveTo>
                      <a:cubicBezTo>
                        <a:pt x="57220" y="14357"/>
                        <a:pt x="45464" y="974"/>
                        <a:pt x="29911" y="69"/>
                      </a:cubicBezTo>
                      <a:cubicBezTo>
                        <a:pt x="14357" y="-1016"/>
                        <a:pt x="974" y="10740"/>
                        <a:pt x="69" y="26293"/>
                      </a:cubicBezTo>
                      <a:cubicBezTo>
                        <a:pt x="-1016" y="41847"/>
                        <a:pt x="10740" y="55230"/>
                        <a:pt x="26293" y="56134"/>
                      </a:cubicBezTo>
                      <a:cubicBezTo>
                        <a:pt x="41847" y="57039"/>
                        <a:pt x="55230" y="45283"/>
                        <a:pt x="56134" y="2991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1" name="Google Shape;971;p21"/>
                <p:cNvSpPr/>
                <p:nvPr/>
              </p:nvSpPr>
              <p:spPr>
                <a:xfrm>
                  <a:off x="11376146" y="3027363"/>
                  <a:ext cx="89178" cy="891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178" h="89178" extrusionOk="0">
                      <a:moveTo>
                        <a:pt x="89079" y="47483"/>
                      </a:moveTo>
                      <a:cubicBezTo>
                        <a:pt x="90707" y="22887"/>
                        <a:pt x="72079" y="1727"/>
                        <a:pt x="47483" y="99"/>
                      </a:cubicBezTo>
                      <a:cubicBezTo>
                        <a:pt x="22887" y="-1529"/>
                        <a:pt x="1727" y="17099"/>
                        <a:pt x="99" y="41695"/>
                      </a:cubicBezTo>
                      <a:cubicBezTo>
                        <a:pt x="-1529" y="66292"/>
                        <a:pt x="17099" y="87452"/>
                        <a:pt x="41696" y="89079"/>
                      </a:cubicBezTo>
                      <a:cubicBezTo>
                        <a:pt x="66292" y="90707"/>
                        <a:pt x="87633" y="72079"/>
                        <a:pt x="89079" y="474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2" name="Google Shape;972;p21"/>
                <p:cNvSpPr/>
                <p:nvPr/>
              </p:nvSpPr>
              <p:spPr>
                <a:xfrm>
                  <a:off x="9641757" y="3648604"/>
                  <a:ext cx="95315" cy="95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315" h="95336" extrusionOk="0">
                      <a:moveTo>
                        <a:pt x="95223" y="50732"/>
                      </a:moveTo>
                      <a:cubicBezTo>
                        <a:pt x="96850" y="24509"/>
                        <a:pt x="76956" y="1721"/>
                        <a:pt x="50732" y="93"/>
                      </a:cubicBezTo>
                      <a:cubicBezTo>
                        <a:pt x="24509" y="-1534"/>
                        <a:pt x="1721" y="18360"/>
                        <a:pt x="93" y="44583"/>
                      </a:cubicBezTo>
                      <a:cubicBezTo>
                        <a:pt x="-1535" y="70807"/>
                        <a:pt x="18359" y="93595"/>
                        <a:pt x="44583" y="95223"/>
                      </a:cubicBezTo>
                      <a:cubicBezTo>
                        <a:pt x="70807" y="97031"/>
                        <a:pt x="93595" y="77137"/>
                        <a:pt x="95223" y="507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3" name="Google Shape;973;p21"/>
                <p:cNvSpPr/>
                <p:nvPr/>
              </p:nvSpPr>
              <p:spPr>
                <a:xfrm>
                  <a:off x="9622753" y="3536641"/>
                  <a:ext cx="101674" cy="1016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674" h="101674" extrusionOk="0">
                      <a:moveTo>
                        <a:pt x="101567" y="54183"/>
                      </a:moveTo>
                      <a:cubicBezTo>
                        <a:pt x="103376" y="26151"/>
                        <a:pt x="82216" y="1916"/>
                        <a:pt x="54183" y="108"/>
                      </a:cubicBezTo>
                      <a:cubicBezTo>
                        <a:pt x="26151" y="-1701"/>
                        <a:pt x="1916" y="19459"/>
                        <a:pt x="108" y="47492"/>
                      </a:cubicBezTo>
                      <a:cubicBezTo>
                        <a:pt x="-1701" y="75524"/>
                        <a:pt x="19459" y="99759"/>
                        <a:pt x="47492" y="101567"/>
                      </a:cubicBezTo>
                      <a:cubicBezTo>
                        <a:pt x="75524" y="103376"/>
                        <a:pt x="99759" y="82035"/>
                        <a:pt x="101567" y="541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4" name="Google Shape;974;p21"/>
                <p:cNvSpPr/>
                <p:nvPr/>
              </p:nvSpPr>
              <p:spPr>
                <a:xfrm>
                  <a:off x="11402603" y="3053640"/>
                  <a:ext cx="36445" cy="364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445" h="36446" extrusionOk="0">
                      <a:moveTo>
                        <a:pt x="36399" y="19398"/>
                      </a:moveTo>
                      <a:cubicBezTo>
                        <a:pt x="37122" y="9270"/>
                        <a:pt x="29345" y="589"/>
                        <a:pt x="19398" y="47"/>
                      </a:cubicBezTo>
                      <a:cubicBezTo>
                        <a:pt x="9270" y="-677"/>
                        <a:pt x="589" y="7100"/>
                        <a:pt x="47" y="17047"/>
                      </a:cubicBezTo>
                      <a:cubicBezTo>
                        <a:pt x="-677" y="27175"/>
                        <a:pt x="7100" y="35856"/>
                        <a:pt x="17047" y="36398"/>
                      </a:cubicBezTo>
                      <a:cubicBezTo>
                        <a:pt x="26994" y="37122"/>
                        <a:pt x="35675" y="29526"/>
                        <a:pt x="36399" y="1939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5" name="Google Shape;975;p21"/>
                <p:cNvSpPr/>
                <p:nvPr/>
              </p:nvSpPr>
              <p:spPr>
                <a:xfrm>
                  <a:off x="11431758" y="2767565"/>
                  <a:ext cx="11232" cy="112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32" h="11233" extrusionOk="0">
                      <a:moveTo>
                        <a:pt x="11223" y="5978"/>
                      </a:moveTo>
                      <a:cubicBezTo>
                        <a:pt x="11404" y="2904"/>
                        <a:pt x="9052" y="191"/>
                        <a:pt x="5978" y="10"/>
                      </a:cubicBezTo>
                      <a:cubicBezTo>
                        <a:pt x="2904" y="-171"/>
                        <a:pt x="191" y="2180"/>
                        <a:pt x="10" y="5255"/>
                      </a:cubicBezTo>
                      <a:cubicBezTo>
                        <a:pt x="-171" y="8329"/>
                        <a:pt x="2180" y="11042"/>
                        <a:pt x="5255" y="11223"/>
                      </a:cubicBezTo>
                      <a:cubicBezTo>
                        <a:pt x="8329" y="11404"/>
                        <a:pt x="11042" y="9233"/>
                        <a:pt x="11223" y="59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6" name="Google Shape;976;p21"/>
                <p:cNvSpPr/>
                <p:nvPr/>
              </p:nvSpPr>
              <p:spPr>
                <a:xfrm>
                  <a:off x="11409683" y="3060900"/>
                  <a:ext cx="22104" cy="2208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04" h="22089" extrusionOk="0">
                      <a:moveTo>
                        <a:pt x="22085" y="11776"/>
                      </a:moveTo>
                      <a:cubicBezTo>
                        <a:pt x="22446" y="5808"/>
                        <a:pt x="17925" y="563"/>
                        <a:pt x="11776" y="20"/>
                      </a:cubicBezTo>
                      <a:cubicBezTo>
                        <a:pt x="5808" y="-341"/>
                        <a:pt x="563" y="4180"/>
                        <a:pt x="20" y="10329"/>
                      </a:cubicBezTo>
                      <a:cubicBezTo>
                        <a:pt x="-341" y="16297"/>
                        <a:pt x="4180" y="21542"/>
                        <a:pt x="10329" y="22085"/>
                      </a:cubicBezTo>
                      <a:cubicBezTo>
                        <a:pt x="16478" y="22265"/>
                        <a:pt x="21723" y="17744"/>
                        <a:pt x="22085" y="117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7" name="Google Shape;977;p21"/>
                <p:cNvSpPr/>
                <p:nvPr/>
              </p:nvSpPr>
              <p:spPr>
                <a:xfrm>
                  <a:off x="11413083" y="2749071"/>
                  <a:ext cx="48400" cy="4838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400" h="48381" extrusionOk="0">
                      <a:moveTo>
                        <a:pt x="48344" y="25737"/>
                      </a:moveTo>
                      <a:cubicBezTo>
                        <a:pt x="49249" y="12354"/>
                        <a:pt x="39121" y="960"/>
                        <a:pt x="25737" y="56"/>
                      </a:cubicBezTo>
                      <a:cubicBezTo>
                        <a:pt x="12354" y="-848"/>
                        <a:pt x="960" y="9280"/>
                        <a:pt x="56" y="22663"/>
                      </a:cubicBezTo>
                      <a:cubicBezTo>
                        <a:pt x="-848" y="36046"/>
                        <a:pt x="9280" y="47440"/>
                        <a:pt x="22482" y="48344"/>
                      </a:cubicBezTo>
                      <a:cubicBezTo>
                        <a:pt x="36046" y="49068"/>
                        <a:pt x="47621" y="39121"/>
                        <a:pt x="48344" y="2573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8" name="Google Shape;978;p21"/>
                <p:cNvSpPr/>
                <p:nvPr/>
              </p:nvSpPr>
              <p:spPr>
                <a:xfrm>
                  <a:off x="11499904" y="1373141"/>
                  <a:ext cx="38251" cy="382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251" h="38232" extrusionOk="0">
                      <a:moveTo>
                        <a:pt x="38206" y="20301"/>
                      </a:moveTo>
                      <a:cubicBezTo>
                        <a:pt x="38929" y="9812"/>
                        <a:pt x="30972" y="769"/>
                        <a:pt x="20301" y="46"/>
                      </a:cubicBezTo>
                      <a:cubicBezTo>
                        <a:pt x="9812" y="-678"/>
                        <a:pt x="769" y="7280"/>
                        <a:pt x="46" y="17950"/>
                      </a:cubicBezTo>
                      <a:cubicBezTo>
                        <a:pt x="-678" y="28621"/>
                        <a:pt x="7280" y="37483"/>
                        <a:pt x="17950" y="38206"/>
                      </a:cubicBezTo>
                      <a:cubicBezTo>
                        <a:pt x="28259" y="38749"/>
                        <a:pt x="37482" y="30791"/>
                        <a:pt x="38206" y="2030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79" name="Google Shape;979;p21"/>
                <p:cNvSpPr/>
                <p:nvPr/>
              </p:nvSpPr>
              <p:spPr>
                <a:xfrm>
                  <a:off x="11360893" y="2696700"/>
                  <a:ext cx="153143" cy="1531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143" h="153142" extrusionOk="0">
                      <a:moveTo>
                        <a:pt x="152983" y="81545"/>
                      </a:moveTo>
                      <a:cubicBezTo>
                        <a:pt x="155695" y="39406"/>
                        <a:pt x="123684" y="2873"/>
                        <a:pt x="81545" y="160"/>
                      </a:cubicBezTo>
                      <a:cubicBezTo>
                        <a:pt x="39406" y="-2552"/>
                        <a:pt x="2873" y="29459"/>
                        <a:pt x="160" y="71598"/>
                      </a:cubicBezTo>
                      <a:cubicBezTo>
                        <a:pt x="-2552" y="113737"/>
                        <a:pt x="29459" y="150270"/>
                        <a:pt x="71598" y="152982"/>
                      </a:cubicBezTo>
                      <a:cubicBezTo>
                        <a:pt x="113737" y="155695"/>
                        <a:pt x="150270" y="123684"/>
                        <a:pt x="152983" y="8154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0" name="Google Shape;980;p21"/>
                <p:cNvSpPr/>
                <p:nvPr/>
              </p:nvSpPr>
              <p:spPr>
                <a:xfrm>
                  <a:off x="11403325" y="3054361"/>
                  <a:ext cx="34982" cy="349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982" h="34982" extrusionOk="0">
                      <a:moveTo>
                        <a:pt x="34954" y="18677"/>
                      </a:moveTo>
                      <a:cubicBezTo>
                        <a:pt x="35496" y="9091"/>
                        <a:pt x="28262" y="772"/>
                        <a:pt x="18677" y="49"/>
                      </a:cubicBezTo>
                      <a:cubicBezTo>
                        <a:pt x="9092" y="-675"/>
                        <a:pt x="772" y="6740"/>
                        <a:pt x="49" y="16326"/>
                      </a:cubicBezTo>
                      <a:cubicBezTo>
                        <a:pt x="-675" y="25911"/>
                        <a:pt x="6740" y="34230"/>
                        <a:pt x="16326" y="34954"/>
                      </a:cubicBezTo>
                      <a:cubicBezTo>
                        <a:pt x="25911" y="35496"/>
                        <a:pt x="34230" y="28262"/>
                        <a:pt x="34954" y="186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1" name="Google Shape;981;p21"/>
                <p:cNvSpPr/>
                <p:nvPr/>
              </p:nvSpPr>
              <p:spPr>
                <a:xfrm>
                  <a:off x="11408550" y="2744358"/>
                  <a:ext cx="57827" cy="578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827" h="57827" extrusionOk="0">
                      <a:moveTo>
                        <a:pt x="57760" y="30813"/>
                      </a:moveTo>
                      <a:cubicBezTo>
                        <a:pt x="58845" y="14898"/>
                        <a:pt x="46728" y="1153"/>
                        <a:pt x="30813" y="68"/>
                      </a:cubicBezTo>
                      <a:cubicBezTo>
                        <a:pt x="14898" y="-1018"/>
                        <a:pt x="1153" y="11100"/>
                        <a:pt x="68" y="27015"/>
                      </a:cubicBezTo>
                      <a:cubicBezTo>
                        <a:pt x="-1018" y="42930"/>
                        <a:pt x="11100" y="56675"/>
                        <a:pt x="27015" y="57760"/>
                      </a:cubicBezTo>
                      <a:cubicBezTo>
                        <a:pt x="42930" y="58845"/>
                        <a:pt x="56675" y="46728"/>
                        <a:pt x="57760" y="3081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2" name="Google Shape;982;p21"/>
                <p:cNvSpPr/>
                <p:nvPr/>
              </p:nvSpPr>
              <p:spPr>
                <a:xfrm>
                  <a:off x="9668033" y="3674880"/>
                  <a:ext cx="42945" cy="429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945" h="42944" extrusionOk="0">
                      <a:moveTo>
                        <a:pt x="42904" y="22829"/>
                      </a:moveTo>
                      <a:cubicBezTo>
                        <a:pt x="43627" y="10892"/>
                        <a:pt x="34765" y="765"/>
                        <a:pt x="22829" y="41"/>
                      </a:cubicBezTo>
                      <a:cubicBezTo>
                        <a:pt x="10893" y="-682"/>
                        <a:pt x="765" y="8180"/>
                        <a:pt x="41" y="20116"/>
                      </a:cubicBezTo>
                      <a:cubicBezTo>
                        <a:pt x="-682" y="32052"/>
                        <a:pt x="8180" y="42180"/>
                        <a:pt x="20116" y="42904"/>
                      </a:cubicBezTo>
                      <a:cubicBezTo>
                        <a:pt x="31872" y="43627"/>
                        <a:pt x="42180" y="34584"/>
                        <a:pt x="42904" y="2282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3" name="Google Shape;983;p21"/>
                <p:cNvSpPr/>
                <p:nvPr/>
              </p:nvSpPr>
              <p:spPr>
                <a:xfrm>
                  <a:off x="9651706" y="3658553"/>
                  <a:ext cx="75599" cy="755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599" h="75578" extrusionOk="0">
                      <a:moveTo>
                        <a:pt x="75508" y="40241"/>
                      </a:moveTo>
                      <a:cubicBezTo>
                        <a:pt x="76955" y="19443"/>
                        <a:pt x="61039" y="1357"/>
                        <a:pt x="40241" y="91"/>
                      </a:cubicBezTo>
                      <a:cubicBezTo>
                        <a:pt x="19443" y="-1356"/>
                        <a:pt x="1357" y="14560"/>
                        <a:pt x="91" y="35358"/>
                      </a:cubicBezTo>
                      <a:cubicBezTo>
                        <a:pt x="-1356" y="56156"/>
                        <a:pt x="14560" y="74242"/>
                        <a:pt x="35358" y="75508"/>
                      </a:cubicBezTo>
                      <a:cubicBezTo>
                        <a:pt x="56156" y="76774"/>
                        <a:pt x="74061" y="61039"/>
                        <a:pt x="75508" y="4024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4" name="Google Shape;984;p21"/>
                <p:cNvSpPr/>
                <p:nvPr/>
              </p:nvSpPr>
              <p:spPr>
                <a:xfrm>
                  <a:off x="10652036" y="2501109"/>
                  <a:ext cx="57646" cy="576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646" h="57627" extrusionOk="0">
                      <a:moveTo>
                        <a:pt x="57579" y="30632"/>
                      </a:moveTo>
                      <a:cubicBezTo>
                        <a:pt x="58665" y="14717"/>
                        <a:pt x="46547" y="972"/>
                        <a:pt x="30632" y="68"/>
                      </a:cubicBezTo>
                      <a:cubicBezTo>
                        <a:pt x="14717" y="-1018"/>
                        <a:pt x="972" y="11100"/>
                        <a:pt x="68" y="27015"/>
                      </a:cubicBezTo>
                      <a:cubicBezTo>
                        <a:pt x="-1018" y="42930"/>
                        <a:pt x="11100" y="56675"/>
                        <a:pt x="27015" y="57579"/>
                      </a:cubicBezTo>
                      <a:cubicBezTo>
                        <a:pt x="42930" y="58483"/>
                        <a:pt x="56675" y="46547"/>
                        <a:pt x="57579" y="306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5" name="Google Shape;985;p21"/>
                <p:cNvSpPr/>
                <p:nvPr/>
              </p:nvSpPr>
              <p:spPr>
                <a:xfrm>
                  <a:off x="10636451" y="2485343"/>
                  <a:ext cx="89178" cy="891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178" h="89178" extrusionOk="0">
                      <a:moveTo>
                        <a:pt x="89079" y="47483"/>
                      </a:moveTo>
                      <a:cubicBezTo>
                        <a:pt x="90707" y="22887"/>
                        <a:pt x="72079" y="1727"/>
                        <a:pt x="47483" y="99"/>
                      </a:cubicBezTo>
                      <a:cubicBezTo>
                        <a:pt x="22887" y="-1529"/>
                        <a:pt x="1727" y="17099"/>
                        <a:pt x="99" y="41696"/>
                      </a:cubicBezTo>
                      <a:cubicBezTo>
                        <a:pt x="-1529" y="66292"/>
                        <a:pt x="17099" y="87452"/>
                        <a:pt x="41696" y="89079"/>
                      </a:cubicBezTo>
                      <a:cubicBezTo>
                        <a:pt x="66111" y="90707"/>
                        <a:pt x="87452" y="72079"/>
                        <a:pt x="89079" y="474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6" name="Google Shape;986;p21"/>
                <p:cNvSpPr/>
                <p:nvPr/>
              </p:nvSpPr>
              <p:spPr>
                <a:xfrm>
                  <a:off x="11467831" y="1341069"/>
                  <a:ext cx="102396" cy="1023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396" h="102396" extrusionOk="0">
                      <a:moveTo>
                        <a:pt x="102290" y="54544"/>
                      </a:moveTo>
                      <a:cubicBezTo>
                        <a:pt x="104098" y="26331"/>
                        <a:pt x="82758" y="1916"/>
                        <a:pt x="54544" y="107"/>
                      </a:cubicBezTo>
                      <a:cubicBezTo>
                        <a:pt x="26331" y="-1702"/>
                        <a:pt x="1916" y="19639"/>
                        <a:pt x="107" y="47853"/>
                      </a:cubicBezTo>
                      <a:cubicBezTo>
                        <a:pt x="-1701" y="76066"/>
                        <a:pt x="19639" y="100481"/>
                        <a:pt x="47853" y="102290"/>
                      </a:cubicBezTo>
                      <a:cubicBezTo>
                        <a:pt x="76066" y="104098"/>
                        <a:pt x="100481" y="82757"/>
                        <a:pt x="102290" y="5454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7" name="Google Shape;987;p21"/>
                <p:cNvSpPr/>
                <p:nvPr/>
              </p:nvSpPr>
              <p:spPr>
                <a:xfrm>
                  <a:off x="10451430" y="1479222"/>
                  <a:ext cx="103118" cy="1031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118" h="103138" extrusionOk="0">
                      <a:moveTo>
                        <a:pt x="103012" y="54925"/>
                      </a:moveTo>
                      <a:cubicBezTo>
                        <a:pt x="104821" y="26531"/>
                        <a:pt x="83299" y="2116"/>
                        <a:pt x="54905" y="127"/>
                      </a:cubicBezTo>
                      <a:cubicBezTo>
                        <a:pt x="26511" y="-1863"/>
                        <a:pt x="2096" y="19840"/>
                        <a:pt x="106" y="48234"/>
                      </a:cubicBezTo>
                      <a:cubicBezTo>
                        <a:pt x="-1703" y="76628"/>
                        <a:pt x="19819" y="101043"/>
                        <a:pt x="48214" y="103033"/>
                      </a:cubicBezTo>
                      <a:cubicBezTo>
                        <a:pt x="76608" y="104841"/>
                        <a:pt x="101023" y="83320"/>
                        <a:pt x="103012" y="5492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8" name="Google Shape;988;p21"/>
                <p:cNvSpPr/>
                <p:nvPr/>
              </p:nvSpPr>
              <p:spPr>
                <a:xfrm>
                  <a:off x="10653861" y="2502753"/>
                  <a:ext cx="54177" cy="541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4177" h="54177" extrusionOk="0">
                      <a:moveTo>
                        <a:pt x="54127" y="28807"/>
                      </a:moveTo>
                      <a:cubicBezTo>
                        <a:pt x="55031" y="13796"/>
                        <a:pt x="43818" y="955"/>
                        <a:pt x="28807" y="51"/>
                      </a:cubicBezTo>
                      <a:cubicBezTo>
                        <a:pt x="13796" y="-853"/>
                        <a:pt x="955" y="10360"/>
                        <a:pt x="51" y="25371"/>
                      </a:cubicBezTo>
                      <a:cubicBezTo>
                        <a:pt x="-853" y="40382"/>
                        <a:pt x="10360" y="53222"/>
                        <a:pt x="25371" y="54126"/>
                      </a:cubicBezTo>
                      <a:cubicBezTo>
                        <a:pt x="40201" y="55031"/>
                        <a:pt x="53222" y="43818"/>
                        <a:pt x="54127" y="2880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89" name="Google Shape;989;p21"/>
                <p:cNvSpPr/>
                <p:nvPr/>
              </p:nvSpPr>
              <p:spPr>
                <a:xfrm>
                  <a:off x="10663088" y="2511980"/>
                  <a:ext cx="35723" cy="357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723" h="35704" extrusionOk="0">
                      <a:moveTo>
                        <a:pt x="35676" y="19037"/>
                      </a:moveTo>
                      <a:cubicBezTo>
                        <a:pt x="36400" y="9271"/>
                        <a:pt x="28803" y="771"/>
                        <a:pt x="19037" y="48"/>
                      </a:cubicBezTo>
                      <a:cubicBezTo>
                        <a:pt x="9271" y="-676"/>
                        <a:pt x="771" y="6920"/>
                        <a:pt x="48" y="16686"/>
                      </a:cubicBezTo>
                      <a:cubicBezTo>
                        <a:pt x="-676" y="26452"/>
                        <a:pt x="6920" y="34953"/>
                        <a:pt x="16686" y="35676"/>
                      </a:cubicBezTo>
                      <a:cubicBezTo>
                        <a:pt x="26453" y="36219"/>
                        <a:pt x="34953" y="28803"/>
                        <a:pt x="35676" y="1903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0" name="Google Shape;990;p21"/>
                <p:cNvSpPr/>
                <p:nvPr/>
              </p:nvSpPr>
              <p:spPr>
                <a:xfrm>
                  <a:off x="11422872" y="2758679"/>
                  <a:ext cx="29184" cy="291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184" h="29184" extrusionOk="0">
                      <a:moveTo>
                        <a:pt x="29151" y="15587"/>
                      </a:moveTo>
                      <a:cubicBezTo>
                        <a:pt x="29693" y="7448"/>
                        <a:pt x="23544" y="576"/>
                        <a:pt x="15587" y="33"/>
                      </a:cubicBezTo>
                      <a:cubicBezTo>
                        <a:pt x="7448" y="-509"/>
                        <a:pt x="576" y="5640"/>
                        <a:pt x="33" y="13597"/>
                      </a:cubicBezTo>
                      <a:cubicBezTo>
                        <a:pt x="-509" y="21736"/>
                        <a:pt x="5640" y="28608"/>
                        <a:pt x="13597" y="29151"/>
                      </a:cubicBezTo>
                      <a:cubicBezTo>
                        <a:pt x="21736" y="29693"/>
                        <a:pt x="28608" y="23544"/>
                        <a:pt x="29151" y="1558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1" name="Google Shape;991;p21"/>
                <p:cNvSpPr/>
                <p:nvPr/>
              </p:nvSpPr>
              <p:spPr>
                <a:xfrm>
                  <a:off x="10625580" y="2474471"/>
                  <a:ext cx="110921" cy="1109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921" h="110921" extrusionOk="0">
                      <a:moveTo>
                        <a:pt x="110802" y="59078"/>
                      </a:moveTo>
                      <a:cubicBezTo>
                        <a:pt x="112791" y="28513"/>
                        <a:pt x="89642" y="2109"/>
                        <a:pt x="59078" y="119"/>
                      </a:cubicBezTo>
                      <a:cubicBezTo>
                        <a:pt x="28513" y="-1870"/>
                        <a:pt x="2109" y="21279"/>
                        <a:pt x="119" y="51844"/>
                      </a:cubicBezTo>
                      <a:cubicBezTo>
                        <a:pt x="-1870" y="82408"/>
                        <a:pt x="21279" y="108813"/>
                        <a:pt x="51844" y="110802"/>
                      </a:cubicBezTo>
                      <a:cubicBezTo>
                        <a:pt x="82408" y="112791"/>
                        <a:pt x="108632" y="89642"/>
                        <a:pt x="110802" y="590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2" name="Google Shape;992;p21"/>
                <p:cNvSpPr/>
                <p:nvPr/>
              </p:nvSpPr>
              <p:spPr>
                <a:xfrm>
                  <a:off x="11380650" y="2716457"/>
                  <a:ext cx="113628" cy="1136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628" h="113629" extrusionOk="0">
                      <a:moveTo>
                        <a:pt x="113512" y="60522"/>
                      </a:moveTo>
                      <a:cubicBezTo>
                        <a:pt x="115502" y="29234"/>
                        <a:pt x="91810" y="2106"/>
                        <a:pt x="60522" y="117"/>
                      </a:cubicBezTo>
                      <a:cubicBezTo>
                        <a:pt x="29234" y="-1873"/>
                        <a:pt x="2106" y="21819"/>
                        <a:pt x="117" y="53107"/>
                      </a:cubicBezTo>
                      <a:cubicBezTo>
                        <a:pt x="-1873" y="84395"/>
                        <a:pt x="21819" y="111523"/>
                        <a:pt x="53107" y="113512"/>
                      </a:cubicBezTo>
                      <a:cubicBezTo>
                        <a:pt x="84395" y="115502"/>
                        <a:pt x="111523" y="91810"/>
                        <a:pt x="113512" y="6052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3" name="Google Shape;993;p21"/>
                <p:cNvSpPr/>
                <p:nvPr/>
              </p:nvSpPr>
              <p:spPr>
                <a:xfrm>
                  <a:off x="11509151" y="1382389"/>
                  <a:ext cx="19757" cy="197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57" h="19756" extrusionOk="0">
                      <a:moveTo>
                        <a:pt x="19735" y="10511"/>
                      </a:moveTo>
                      <a:cubicBezTo>
                        <a:pt x="20097" y="5086"/>
                        <a:pt x="15937" y="384"/>
                        <a:pt x="10511" y="22"/>
                      </a:cubicBezTo>
                      <a:cubicBezTo>
                        <a:pt x="5086" y="-340"/>
                        <a:pt x="384" y="3820"/>
                        <a:pt x="22" y="9245"/>
                      </a:cubicBezTo>
                      <a:cubicBezTo>
                        <a:pt x="-340" y="14671"/>
                        <a:pt x="3820" y="19373"/>
                        <a:pt x="9246" y="19735"/>
                      </a:cubicBezTo>
                      <a:cubicBezTo>
                        <a:pt x="14671" y="20097"/>
                        <a:pt x="19373" y="15937"/>
                        <a:pt x="19735" y="1051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4" name="Google Shape;994;p21"/>
                <p:cNvSpPr/>
                <p:nvPr/>
              </p:nvSpPr>
              <p:spPr>
                <a:xfrm>
                  <a:off x="9485858" y="2947610"/>
                  <a:ext cx="92607" cy="926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607" h="92607" extrusionOk="0">
                      <a:moveTo>
                        <a:pt x="92512" y="49288"/>
                      </a:moveTo>
                      <a:cubicBezTo>
                        <a:pt x="94140" y="23788"/>
                        <a:pt x="74788" y="1723"/>
                        <a:pt x="49288" y="96"/>
                      </a:cubicBezTo>
                      <a:cubicBezTo>
                        <a:pt x="23787" y="-1532"/>
                        <a:pt x="1723" y="17819"/>
                        <a:pt x="96" y="43320"/>
                      </a:cubicBezTo>
                      <a:cubicBezTo>
                        <a:pt x="-1532" y="68820"/>
                        <a:pt x="17819" y="90885"/>
                        <a:pt x="43320" y="92512"/>
                      </a:cubicBezTo>
                      <a:cubicBezTo>
                        <a:pt x="68820" y="94140"/>
                        <a:pt x="90884" y="74789"/>
                        <a:pt x="92512" y="4928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5" name="Google Shape;995;p21"/>
                <p:cNvSpPr/>
                <p:nvPr/>
              </p:nvSpPr>
              <p:spPr>
                <a:xfrm>
                  <a:off x="9482879" y="2944631"/>
                  <a:ext cx="98384" cy="983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84" h="98384" extrusionOk="0">
                      <a:moveTo>
                        <a:pt x="98385" y="49192"/>
                      </a:moveTo>
                      <a:cubicBezTo>
                        <a:pt x="98385" y="76361"/>
                        <a:pt x="76361" y="98385"/>
                        <a:pt x="49192" y="98385"/>
                      </a:cubicBezTo>
                      <a:cubicBezTo>
                        <a:pt x="22024" y="98385"/>
                        <a:pt x="0" y="76361"/>
                        <a:pt x="0" y="49192"/>
                      </a:cubicBezTo>
                      <a:cubicBezTo>
                        <a:pt x="0" y="22024"/>
                        <a:pt x="22024" y="0"/>
                        <a:pt x="49192" y="0"/>
                      </a:cubicBezTo>
                      <a:cubicBezTo>
                        <a:pt x="76361" y="0"/>
                        <a:pt x="98385" y="22024"/>
                        <a:pt x="98385" y="4919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6" name="Google Shape;996;p21"/>
                <p:cNvSpPr/>
                <p:nvPr/>
              </p:nvSpPr>
              <p:spPr>
                <a:xfrm>
                  <a:off x="9497091" y="2958662"/>
                  <a:ext cx="70323" cy="705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323" h="70503" extrusionOk="0">
                      <a:moveTo>
                        <a:pt x="70248" y="37513"/>
                      </a:moveTo>
                      <a:cubicBezTo>
                        <a:pt x="71514" y="18162"/>
                        <a:pt x="56865" y="1342"/>
                        <a:pt x="37513" y="76"/>
                      </a:cubicBezTo>
                      <a:cubicBezTo>
                        <a:pt x="18162" y="-1190"/>
                        <a:pt x="1342" y="13459"/>
                        <a:pt x="76" y="32992"/>
                      </a:cubicBezTo>
                      <a:cubicBezTo>
                        <a:pt x="-1190" y="52343"/>
                        <a:pt x="13459" y="69163"/>
                        <a:pt x="32811" y="70429"/>
                      </a:cubicBezTo>
                      <a:cubicBezTo>
                        <a:pt x="52162" y="71695"/>
                        <a:pt x="68982" y="56865"/>
                        <a:pt x="70248" y="3751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7" name="Google Shape;997;p21"/>
                <p:cNvSpPr/>
                <p:nvPr/>
              </p:nvSpPr>
              <p:spPr>
                <a:xfrm>
                  <a:off x="9509406" y="2971158"/>
                  <a:ext cx="45512" cy="454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512" h="45492" extrusionOk="0">
                      <a:moveTo>
                        <a:pt x="45453" y="24294"/>
                      </a:moveTo>
                      <a:cubicBezTo>
                        <a:pt x="46358" y="11815"/>
                        <a:pt x="36773" y="963"/>
                        <a:pt x="24294" y="59"/>
                      </a:cubicBezTo>
                      <a:cubicBezTo>
                        <a:pt x="11815" y="-845"/>
                        <a:pt x="963" y="8740"/>
                        <a:pt x="59" y="21219"/>
                      </a:cubicBezTo>
                      <a:cubicBezTo>
                        <a:pt x="-845" y="33698"/>
                        <a:pt x="8740" y="44549"/>
                        <a:pt x="21219" y="45454"/>
                      </a:cubicBezTo>
                      <a:cubicBezTo>
                        <a:pt x="33879" y="46177"/>
                        <a:pt x="44549" y="36773"/>
                        <a:pt x="45453" y="2429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8" name="Google Shape;998;p21"/>
                <p:cNvSpPr/>
                <p:nvPr/>
              </p:nvSpPr>
              <p:spPr>
                <a:xfrm>
                  <a:off x="9647766" y="3561654"/>
                  <a:ext cx="51648" cy="51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48" h="51648" extrusionOk="0">
                      <a:moveTo>
                        <a:pt x="51596" y="27543"/>
                      </a:moveTo>
                      <a:cubicBezTo>
                        <a:pt x="52500" y="13255"/>
                        <a:pt x="41649" y="957"/>
                        <a:pt x="27543" y="53"/>
                      </a:cubicBezTo>
                      <a:cubicBezTo>
                        <a:pt x="13255" y="-851"/>
                        <a:pt x="957" y="10000"/>
                        <a:pt x="53" y="24106"/>
                      </a:cubicBezTo>
                      <a:cubicBezTo>
                        <a:pt x="-852" y="38394"/>
                        <a:pt x="10000" y="50692"/>
                        <a:pt x="24106" y="51596"/>
                      </a:cubicBezTo>
                      <a:cubicBezTo>
                        <a:pt x="38394" y="52501"/>
                        <a:pt x="50692" y="41649"/>
                        <a:pt x="51596" y="2754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999" name="Google Shape;999;p21"/>
                <p:cNvSpPr/>
                <p:nvPr/>
              </p:nvSpPr>
              <p:spPr>
                <a:xfrm>
                  <a:off x="9511412" y="2973164"/>
                  <a:ext cx="41499" cy="414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499" h="41499" extrusionOk="0">
                      <a:moveTo>
                        <a:pt x="41458" y="22106"/>
                      </a:moveTo>
                      <a:cubicBezTo>
                        <a:pt x="42181" y="10712"/>
                        <a:pt x="33500" y="946"/>
                        <a:pt x="22106" y="42"/>
                      </a:cubicBezTo>
                      <a:cubicBezTo>
                        <a:pt x="10712" y="-681"/>
                        <a:pt x="946" y="8000"/>
                        <a:pt x="42" y="19394"/>
                      </a:cubicBezTo>
                      <a:cubicBezTo>
                        <a:pt x="-681" y="30787"/>
                        <a:pt x="8000" y="40553"/>
                        <a:pt x="19394" y="41458"/>
                      </a:cubicBezTo>
                      <a:cubicBezTo>
                        <a:pt x="30787" y="42181"/>
                        <a:pt x="40734" y="33500"/>
                        <a:pt x="41458" y="2210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0" name="Google Shape;1000;p21"/>
                <p:cNvSpPr/>
                <p:nvPr/>
              </p:nvSpPr>
              <p:spPr>
                <a:xfrm rot="-1491190">
                  <a:off x="9644414" y="2507399"/>
                  <a:ext cx="69087" cy="69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087" h="69087" extrusionOk="0">
                      <a:moveTo>
                        <a:pt x="69087" y="34544"/>
                      </a:moveTo>
                      <a:cubicBezTo>
                        <a:pt x="69087" y="53622"/>
                        <a:pt x="53622" y="69087"/>
                        <a:pt x="34544" y="69087"/>
                      </a:cubicBezTo>
                      <a:cubicBezTo>
                        <a:pt x="15466" y="69087"/>
                        <a:pt x="0" y="53622"/>
                        <a:pt x="0" y="34544"/>
                      </a:cubicBezTo>
                      <a:cubicBezTo>
                        <a:pt x="0" y="15466"/>
                        <a:pt x="15466" y="0"/>
                        <a:pt x="34544" y="0"/>
                      </a:cubicBezTo>
                      <a:cubicBezTo>
                        <a:pt x="53622" y="0"/>
                        <a:pt x="69087" y="15466"/>
                        <a:pt x="69087" y="3454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1" name="Google Shape;1001;p21"/>
                <p:cNvSpPr/>
                <p:nvPr/>
              </p:nvSpPr>
              <p:spPr>
                <a:xfrm>
                  <a:off x="9505254" y="2967006"/>
                  <a:ext cx="53815" cy="53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815" h="53815" extrusionOk="0">
                      <a:moveTo>
                        <a:pt x="53765" y="28626"/>
                      </a:moveTo>
                      <a:cubicBezTo>
                        <a:pt x="54669" y="13796"/>
                        <a:pt x="43456" y="955"/>
                        <a:pt x="28626" y="51"/>
                      </a:cubicBezTo>
                      <a:cubicBezTo>
                        <a:pt x="13796" y="-853"/>
                        <a:pt x="955" y="10360"/>
                        <a:pt x="51" y="25190"/>
                      </a:cubicBezTo>
                      <a:cubicBezTo>
                        <a:pt x="-853" y="40020"/>
                        <a:pt x="10360" y="52861"/>
                        <a:pt x="25190" y="53765"/>
                      </a:cubicBezTo>
                      <a:cubicBezTo>
                        <a:pt x="40020" y="54669"/>
                        <a:pt x="52861" y="43456"/>
                        <a:pt x="53765" y="2862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2" name="Google Shape;1002;p21"/>
                <p:cNvSpPr/>
                <p:nvPr/>
              </p:nvSpPr>
              <p:spPr>
                <a:xfrm rot="-4431566">
                  <a:off x="9665996" y="2529096"/>
                  <a:ext cx="26043" cy="260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043" h="26043" extrusionOk="0">
                      <a:moveTo>
                        <a:pt x="26044" y="13022"/>
                      </a:moveTo>
                      <a:cubicBezTo>
                        <a:pt x="26044" y="20213"/>
                        <a:pt x="20213" y="26043"/>
                        <a:pt x="13022" y="26043"/>
                      </a:cubicBezTo>
                      <a:cubicBezTo>
                        <a:pt x="5830" y="26043"/>
                        <a:pt x="0" y="20213"/>
                        <a:pt x="0" y="13022"/>
                      </a:cubicBezTo>
                      <a:cubicBezTo>
                        <a:pt x="0" y="5830"/>
                        <a:pt x="5830" y="0"/>
                        <a:pt x="13022" y="0"/>
                      </a:cubicBezTo>
                      <a:cubicBezTo>
                        <a:pt x="20213" y="0"/>
                        <a:pt x="26044" y="5830"/>
                        <a:pt x="26044" y="1302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3" name="Google Shape;1003;p21"/>
                <p:cNvSpPr/>
                <p:nvPr/>
              </p:nvSpPr>
              <p:spPr>
                <a:xfrm>
                  <a:off x="9514480" y="2976232"/>
                  <a:ext cx="35364" cy="353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364" h="35343" extrusionOk="0">
                      <a:moveTo>
                        <a:pt x="35315" y="18858"/>
                      </a:moveTo>
                      <a:cubicBezTo>
                        <a:pt x="36039" y="9091"/>
                        <a:pt x="28624" y="772"/>
                        <a:pt x="18858" y="49"/>
                      </a:cubicBezTo>
                      <a:cubicBezTo>
                        <a:pt x="9091" y="-675"/>
                        <a:pt x="772" y="6740"/>
                        <a:pt x="49" y="16507"/>
                      </a:cubicBezTo>
                      <a:cubicBezTo>
                        <a:pt x="-675" y="26273"/>
                        <a:pt x="6740" y="34592"/>
                        <a:pt x="16506" y="35315"/>
                      </a:cubicBezTo>
                      <a:cubicBezTo>
                        <a:pt x="26273" y="35858"/>
                        <a:pt x="34592" y="28624"/>
                        <a:pt x="35315" y="1885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4" name="Google Shape;1004;p21"/>
                <p:cNvSpPr/>
                <p:nvPr/>
              </p:nvSpPr>
              <p:spPr>
                <a:xfrm>
                  <a:off x="9639602" y="3553309"/>
                  <a:ext cx="68338" cy="683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338" h="68338" extrusionOk="0">
                      <a:moveTo>
                        <a:pt x="68260" y="36430"/>
                      </a:moveTo>
                      <a:cubicBezTo>
                        <a:pt x="69526" y="17621"/>
                        <a:pt x="55239" y="1344"/>
                        <a:pt x="36430" y="78"/>
                      </a:cubicBezTo>
                      <a:cubicBezTo>
                        <a:pt x="17621" y="-1188"/>
                        <a:pt x="1344" y="13100"/>
                        <a:pt x="78" y="31908"/>
                      </a:cubicBezTo>
                      <a:cubicBezTo>
                        <a:pt x="-1188" y="50717"/>
                        <a:pt x="13100" y="66994"/>
                        <a:pt x="31908" y="68260"/>
                      </a:cubicBezTo>
                      <a:cubicBezTo>
                        <a:pt x="50717" y="69526"/>
                        <a:pt x="66994" y="55239"/>
                        <a:pt x="68260" y="3643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5" name="Google Shape;1005;p21"/>
                <p:cNvSpPr/>
                <p:nvPr/>
              </p:nvSpPr>
              <p:spPr>
                <a:xfrm>
                  <a:off x="9501985" y="2963556"/>
                  <a:ext cx="60535" cy="605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535" h="60557" extrusionOk="0">
                      <a:moveTo>
                        <a:pt x="60470" y="32257"/>
                      </a:moveTo>
                      <a:cubicBezTo>
                        <a:pt x="61555" y="15618"/>
                        <a:pt x="48896" y="1150"/>
                        <a:pt x="32257" y="65"/>
                      </a:cubicBezTo>
                      <a:cubicBezTo>
                        <a:pt x="15618" y="-1020"/>
                        <a:pt x="1150" y="11640"/>
                        <a:pt x="65" y="28278"/>
                      </a:cubicBezTo>
                      <a:cubicBezTo>
                        <a:pt x="-1020" y="44917"/>
                        <a:pt x="11640" y="59385"/>
                        <a:pt x="28278" y="60470"/>
                      </a:cubicBezTo>
                      <a:cubicBezTo>
                        <a:pt x="44917" y="61736"/>
                        <a:pt x="59385" y="49076"/>
                        <a:pt x="60470" y="322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6" name="Google Shape;1006;p21"/>
                <p:cNvSpPr/>
                <p:nvPr/>
              </p:nvSpPr>
              <p:spPr>
                <a:xfrm>
                  <a:off x="9214555" y="3916606"/>
                  <a:ext cx="112726" cy="1127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726" h="112726" extrusionOk="0">
                      <a:moveTo>
                        <a:pt x="112609" y="59980"/>
                      </a:moveTo>
                      <a:cubicBezTo>
                        <a:pt x="114598" y="28873"/>
                        <a:pt x="91087" y="2107"/>
                        <a:pt x="59980" y="117"/>
                      </a:cubicBezTo>
                      <a:cubicBezTo>
                        <a:pt x="28873" y="-1872"/>
                        <a:pt x="2107" y="21639"/>
                        <a:pt x="117" y="52746"/>
                      </a:cubicBezTo>
                      <a:cubicBezTo>
                        <a:pt x="-1872" y="83853"/>
                        <a:pt x="21639" y="110620"/>
                        <a:pt x="52746" y="112609"/>
                      </a:cubicBezTo>
                      <a:cubicBezTo>
                        <a:pt x="83672" y="114598"/>
                        <a:pt x="110620" y="91087"/>
                        <a:pt x="112609" y="5998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7" name="Google Shape;1007;p21"/>
                <p:cNvSpPr/>
                <p:nvPr/>
              </p:nvSpPr>
              <p:spPr>
                <a:xfrm>
                  <a:off x="9250980" y="3953032"/>
                  <a:ext cx="39694" cy="396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694" h="39695" extrusionOk="0">
                      <a:moveTo>
                        <a:pt x="39651" y="21204"/>
                      </a:moveTo>
                      <a:cubicBezTo>
                        <a:pt x="40374" y="10172"/>
                        <a:pt x="32055" y="767"/>
                        <a:pt x="21204" y="44"/>
                      </a:cubicBezTo>
                      <a:cubicBezTo>
                        <a:pt x="10172" y="-679"/>
                        <a:pt x="767" y="7640"/>
                        <a:pt x="44" y="18491"/>
                      </a:cubicBezTo>
                      <a:cubicBezTo>
                        <a:pt x="-680" y="29523"/>
                        <a:pt x="7640" y="38928"/>
                        <a:pt x="18491" y="39651"/>
                      </a:cubicBezTo>
                      <a:cubicBezTo>
                        <a:pt x="29342" y="40375"/>
                        <a:pt x="38928" y="32236"/>
                        <a:pt x="39651" y="2120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8" name="Google Shape;1008;p21"/>
                <p:cNvSpPr/>
                <p:nvPr/>
              </p:nvSpPr>
              <p:spPr>
                <a:xfrm>
                  <a:off x="9649751" y="3563639"/>
                  <a:ext cx="47678" cy="476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678" h="47678" extrusionOk="0">
                      <a:moveTo>
                        <a:pt x="47622" y="25377"/>
                      </a:moveTo>
                      <a:cubicBezTo>
                        <a:pt x="48526" y="12174"/>
                        <a:pt x="38579" y="961"/>
                        <a:pt x="25377" y="57"/>
                      </a:cubicBezTo>
                      <a:cubicBezTo>
                        <a:pt x="12174" y="-847"/>
                        <a:pt x="961" y="9100"/>
                        <a:pt x="57" y="22302"/>
                      </a:cubicBezTo>
                      <a:cubicBezTo>
                        <a:pt x="-847" y="35505"/>
                        <a:pt x="9100" y="46718"/>
                        <a:pt x="22302" y="47622"/>
                      </a:cubicBezTo>
                      <a:cubicBezTo>
                        <a:pt x="35505" y="48526"/>
                        <a:pt x="46898" y="38398"/>
                        <a:pt x="47622" y="253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09" name="Google Shape;1009;p21"/>
                <p:cNvSpPr/>
                <p:nvPr/>
              </p:nvSpPr>
              <p:spPr>
                <a:xfrm>
                  <a:off x="9249356" y="3951407"/>
                  <a:ext cx="43124" cy="431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124" h="43124" extrusionOk="0">
                      <a:moveTo>
                        <a:pt x="43084" y="23009"/>
                      </a:moveTo>
                      <a:cubicBezTo>
                        <a:pt x="43807" y="11073"/>
                        <a:pt x="34765" y="945"/>
                        <a:pt x="23009" y="41"/>
                      </a:cubicBezTo>
                      <a:cubicBezTo>
                        <a:pt x="11073" y="-683"/>
                        <a:pt x="945" y="8360"/>
                        <a:pt x="41" y="20115"/>
                      </a:cubicBezTo>
                      <a:cubicBezTo>
                        <a:pt x="-683" y="32052"/>
                        <a:pt x="8360" y="42180"/>
                        <a:pt x="20115" y="43084"/>
                      </a:cubicBezTo>
                      <a:cubicBezTo>
                        <a:pt x="32052" y="43807"/>
                        <a:pt x="42361" y="34765"/>
                        <a:pt x="43084" y="2300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0" name="Google Shape;1010;p21"/>
                <p:cNvSpPr/>
                <p:nvPr/>
              </p:nvSpPr>
              <p:spPr>
                <a:xfrm>
                  <a:off x="9661674" y="3668541"/>
                  <a:ext cx="55462" cy="554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62" h="55441" extrusionOk="0">
                      <a:moveTo>
                        <a:pt x="55412" y="29530"/>
                      </a:moveTo>
                      <a:cubicBezTo>
                        <a:pt x="56316" y="14338"/>
                        <a:pt x="44922" y="1135"/>
                        <a:pt x="29550" y="50"/>
                      </a:cubicBezTo>
                      <a:cubicBezTo>
                        <a:pt x="14358" y="-854"/>
                        <a:pt x="1156" y="10540"/>
                        <a:pt x="70" y="25913"/>
                      </a:cubicBezTo>
                      <a:cubicBezTo>
                        <a:pt x="-1015" y="41285"/>
                        <a:pt x="10560" y="54307"/>
                        <a:pt x="25933" y="55392"/>
                      </a:cubicBezTo>
                      <a:cubicBezTo>
                        <a:pt x="41124" y="56296"/>
                        <a:pt x="54327" y="44721"/>
                        <a:pt x="55412" y="2953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1" name="Google Shape;1011;p21"/>
                <p:cNvSpPr/>
                <p:nvPr/>
              </p:nvSpPr>
              <p:spPr>
                <a:xfrm>
                  <a:off x="9636894" y="3550781"/>
                  <a:ext cx="73212" cy="732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3212" h="73212" extrusionOk="0">
                      <a:moveTo>
                        <a:pt x="73139" y="38957"/>
                      </a:moveTo>
                      <a:cubicBezTo>
                        <a:pt x="74405" y="18883"/>
                        <a:pt x="59213" y="1340"/>
                        <a:pt x="38957" y="74"/>
                      </a:cubicBezTo>
                      <a:cubicBezTo>
                        <a:pt x="18883" y="-1192"/>
                        <a:pt x="1340" y="13999"/>
                        <a:pt x="74" y="34255"/>
                      </a:cubicBezTo>
                      <a:cubicBezTo>
                        <a:pt x="-1192" y="54330"/>
                        <a:pt x="14000" y="71873"/>
                        <a:pt x="34255" y="73139"/>
                      </a:cubicBezTo>
                      <a:cubicBezTo>
                        <a:pt x="54511" y="74405"/>
                        <a:pt x="71873" y="59213"/>
                        <a:pt x="73139" y="389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2" name="Google Shape;1012;p21"/>
                <p:cNvSpPr/>
                <p:nvPr/>
              </p:nvSpPr>
              <p:spPr>
                <a:xfrm>
                  <a:off x="9259866" y="3962098"/>
                  <a:ext cx="21923" cy="219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923" h="21923" extrusionOk="0">
                      <a:moveTo>
                        <a:pt x="21904" y="11595"/>
                      </a:moveTo>
                      <a:cubicBezTo>
                        <a:pt x="22265" y="5627"/>
                        <a:pt x="17744" y="382"/>
                        <a:pt x="11595" y="20"/>
                      </a:cubicBezTo>
                      <a:cubicBezTo>
                        <a:pt x="5446" y="-341"/>
                        <a:pt x="382" y="4180"/>
                        <a:pt x="20" y="10329"/>
                      </a:cubicBezTo>
                      <a:cubicBezTo>
                        <a:pt x="-341" y="16297"/>
                        <a:pt x="4180" y="21542"/>
                        <a:pt x="10329" y="21904"/>
                      </a:cubicBezTo>
                      <a:cubicBezTo>
                        <a:pt x="16297" y="22266"/>
                        <a:pt x="21542" y="17563"/>
                        <a:pt x="21904" y="1159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3" name="Google Shape;1013;p21"/>
                <p:cNvSpPr/>
                <p:nvPr/>
              </p:nvSpPr>
              <p:spPr>
                <a:xfrm>
                  <a:off x="9672205" y="3678872"/>
                  <a:ext cx="34600" cy="34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600" h="34621" extrusionOk="0">
                      <a:moveTo>
                        <a:pt x="34572" y="18476"/>
                      </a:moveTo>
                      <a:cubicBezTo>
                        <a:pt x="35114" y="8890"/>
                        <a:pt x="27880" y="752"/>
                        <a:pt x="18476" y="29"/>
                      </a:cubicBezTo>
                      <a:cubicBezTo>
                        <a:pt x="8890" y="-514"/>
                        <a:pt x="752" y="6720"/>
                        <a:pt x="29" y="16125"/>
                      </a:cubicBezTo>
                      <a:cubicBezTo>
                        <a:pt x="-514" y="25710"/>
                        <a:pt x="6720" y="33848"/>
                        <a:pt x="16125" y="34572"/>
                      </a:cubicBezTo>
                      <a:cubicBezTo>
                        <a:pt x="25710" y="35295"/>
                        <a:pt x="33848" y="28061"/>
                        <a:pt x="34572" y="184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4" name="Google Shape;1014;p21"/>
                <p:cNvSpPr/>
                <p:nvPr/>
              </p:nvSpPr>
              <p:spPr>
                <a:xfrm>
                  <a:off x="9228335" y="3930386"/>
                  <a:ext cx="85166" cy="851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166" h="85187" extrusionOk="0">
                      <a:moveTo>
                        <a:pt x="85084" y="45296"/>
                      </a:moveTo>
                      <a:cubicBezTo>
                        <a:pt x="86531" y="21785"/>
                        <a:pt x="68807" y="1530"/>
                        <a:pt x="45296" y="83"/>
                      </a:cubicBezTo>
                      <a:cubicBezTo>
                        <a:pt x="21785" y="-1364"/>
                        <a:pt x="1529" y="16360"/>
                        <a:pt x="83" y="39871"/>
                      </a:cubicBezTo>
                      <a:cubicBezTo>
                        <a:pt x="-1364" y="63382"/>
                        <a:pt x="16360" y="83638"/>
                        <a:pt x="39871" y="85084"/>
                      </a:cubicBezTo>
                      <a:cubicBezTo>
                        <a:pt x="63201" y="86712"/>
                        <a:pt x="83457" y="68807"/>
                        <a:pt x="85084" y="4529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5" name="Google Shape;1015;p21"/>
                <p:cNvSpPr/>
                <p:nvPr/>
              </p:nvSpPr>
              <p:spPr>
                <a:xfrm>
                  <a:off x="11392092" y="3043329"/>
                  <a:ext cx="57287" cy="572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287" h="57247" extrusionOk="0">
                      <a:moveTo>
                        <a:pt x="57219" y="30432"/>
                      </a:moveTo>
                      <a:cubicBezTo>
                        <a:pt x="58304" y="14698"/>
                        <a:pt x="46367" y="953"/>
                        <a:pt x="30452" y="49"/>
                      </a:cubicBezTo>
                      <a:cubicBezTo>
                        <a:pt x="14537" y="-855"/>
                        <a:pt x="973" y="10900"/>
                        <a:pt x="68" y="26815"/>
                      </a:cubicBezTo>
                      <a:cubicBezTo>
                        <a:pt x="-1017" y="42550"/>
                        <a:pt x="10920" y="56295"/>
                        <a:pt x="26835" y="57199"/>
                      </a:cubicBezTo>
                      <a:cubicBezTo>
                        <a:pt x="42750" y="58103"/>
                        <a:pt x="56314" y="46167"/>
                        <a:pt x="57219" y="304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6" name="Google Shape;1016;p21"/>
                <p:cNvSpPr/>
                <p:nvPr/>
              </p:nvSpPr>
              <p:spPr>
                <a:xfrm>
                  <a:off x="11403144" y="3054180"/>
                  <a:ext cx="35364" cy="353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364" h="35344" extrusionOk="0">
                      <a:moveTo>
                        <a:pt x="35316" y="18858"/>
                      </a:moveTo>
                      <a:cubicBezTo>
                        <a:pt x="36039" y="9091"/>
                        <a:pt x="28624" y="772"/>
                        <a:pt x="18858" y="49"/>
                      </a:cubicBezTo>
                      <a:cubicBezTo>
                        <a:pt x="9091" y="-675"/>
                        <a:pt x="772" y="6740"/>
                        <a:pt x="49" y="16507"/>
                      </a:cubicBezTo>
                      <a:cubicBezTo>
                        <a:pt x="-675" y="26273"/>
                        <a:pt x="6741" y="34592"/>
                        <a:pt x="16507" y="35315"/>
                      </a:cubicBezTo>
                      <a:cubicBezTo>
                        <a:pt x="26273" y="35858"/>
                        <a:pt x="34592" y="28624"/>
                        <a:pt x="35316" y="1885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7" name="Google Shape;1017;p21"/>
                <p:cNvSpPr/>
                <p:nvPr/>
              </p:nvSpPr>
              <p:spPr>
                <a:xfrm>
                  <a:off x="9246989" y="3949040"/>
                  <a:ext cx="47857" cy="480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857" h="48019" extrusionOk="0">
                      <a:moveTo>
                        <a:pt x="47802" y="25557"/>
                      </a:moveTo>
                      <a:cubicBezTo>
                        <a:pt x="48706" y="12354"/>
                        <a:pt x="38578" y="960"/>
                        <a:pt x="25557" y="56"/>
                      </a:cubicBezTo>
                      <a:cubicBezTo>
                        <a:pt x="12354" y="-848"/>
                        <a:pt x="960" y="9280"/>
                        <a:pt x="56" y="22482"/>
                      </a:cubicBezTo>
                      <a:cubicBezTo>
                        <a:pt x="-848" y="35684"/>
                        <a:pt x="9280" y="47078"/>
                        <a:pt x="22301" y="47983"/>
                      </a:cubicBezTo>
                      <a:cubicBezTo>
                        <a:pt x="35504" y="48706"/>
                        <a:pt x="46897" y="38759"/>
                        <a:pt x="47802" y="2555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8" name="Google Shape;1018;p21"/>
                <p:cNvSpPr/>
                <p:nvPr/>
              </p:nvSpPr>
              <p:spPr>
                <a:xfrm>
                  <a:off x="9259866" y="3961917"/>
                  <a:ext cx="22104" cy="221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04" h="22127" extrusionOk="0">
                      <a:moveTo>
                        <a:pt x="22085" y="11776"/>
                      </a:moveTo>
                      <a:cubicBezTo>
                        <a:pt x="22446" y="5627"/>
                        <a:pt x="17925" y="382"/>
                        <a:pt x="11776" y="20"/>
                      </a:cubicBezTo>
                      <a:cubicBezTo>
                        <a:pt x="5627" y="-342"/>
                        <a:pt x="382" y="4180"/>
                        <a:pt x="20" y="10329"/>
                      </a:cubicBezTo>
                      <a:cubicBezTo>
                        <a:pt x="-341" y="16478"/>
                        <a:pt x="4180" y="21723"/>
                        <a:pt x="10329" y="22085"/>
                      </a:cubicBezTo>
                      <a:cubicBezTo>
                        <a:pt x="16478" y="22627"/>
                        <a:pt x="21723" y="17925"/>
                        <a:pt x="22085" y="117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19" name="Google Shape;1019;p21"/>
                <p:cNvSpPr/>
                <p:nvPr/>
              </p:nvSpPr>
              <p:spPr>
                <a:xfrm>
                  <a:off x="10165527" y="2203592"/>
                  <a:ext cx="67795" cy="677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795" h="67796" extrusionOk="0">
                      <a:moveTo>
                        <a:pt x="67718" y="36068"/>
                      </a:moveTo>
                      <a:cubicBezTo>
                        <a:pt x="68984" y="17440"/>
                        <a:pt x="54696" y="1163"/>
                        <a:pt x="36068" y="78"/>
                      </a:cubicBezTo>
                      <a:cubicBezTo>
                        <a:pt x="17440" y="-1188"/>
                        <a:pt x="1163" y="13100"/>
                        <a:pt x="78" y="31728"/>
                      </a:cubicBezTo>
                      <a:cubicBezTo>
                        <a:pt x="-1188" y="50356"/>
                        <a:pt x="13100" y="66632"/>
                        <a:pt x="31728" y="67718"/>
                      </a:cubicBezTo>
                      <a:cubicBezTo>
                        <a:pt x="50356" y="68984"/>
                        <a:pt x="66452" y="54877"/>
                        <a:pt x="67718" y="360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0" name="Google Shape;1020;p21"/>
                <p:cNvSpPr/>
                <p:nvPr/>
              </p:nvSpPr>
              <p:spPr>
                <a:xfrm>
                  <a:off x="10190899" y="2229145"/>
                  <a:ext cx="16690" cy="166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90" h="16671" extrusionOk="0">
                      <a:moveTo>
                        <a:pt x="16665" y="8888"/>
                      </a:moveTo>
                      <a:cubicBezTo>
                        <a:pt x="17026" y="4367"/>
                        <a:pt x="13590" y="388"/>
                        <a:pt x="8888" y="26"/>
                      </a:cubicBezTo>
                      <a:cubicBezTo>
                        <a:pt x="4367" y="-336"/>
                        <a:pt x="388" y="3101"/>
                        <a:pt x="26" y="7803"/>
                      </a:cubicBezTo>
                      <a:cubicBezTo>
                        <a:pt x="-335" y="12324"/>
                        <a:pt x="3101" y="16303"/>
                        <a:pt x="7803" y="16665"/>
                      </a:cubicBezTo>
                      <a:cubicBezTo>
                        <a:pt x="12505" y="16846"/>
                        <a:pt x="16484" y="13409"/>
                        <a:pt x="16665" y="888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1" name="Google Shape;1021;p21"/>
                <p:cNvSpPr/>
                <p:nvPr/>
              </p:nvSpPr>
              <p:spPr>
                <a:xfrm>
                  <a:off x="9673309" y="2536433"/>
                  <a:ext cx="11232" cy="112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32" h="11259" extrusionOk="0">
                      <a:moveTo>
                        <a:pt x="11223" y="5978"/>
                      </a:moveTo>
                      <a:cubicBezTo>
                        <a:pt x="11404" y="2903"/>
                        <a:pt x="9053" y="191"/>
                        <a:pt x="5978" y="10"/>
                      </a:cubicBezTo>
                      <a:cubicBezTo>
                        <a:pt x="2903" y="-171"/>
                        <a:pt x="191" y="2180"/>
                        <a:pt x="10" y="5255"/>
                      </a:cubicBezTo>
                      <a:cubicBezTo>
                        <a:pt x="-171" y="8329"/>
                        <a:pt x="2180" y="11042"/>
                        <a:pt x="5255" y="11223"/>
                      </a:cubicBezTo>
                      <a:cubicBezTo>
                        <a:pt x="8329" y="11584"/>
                        <a:pt x="11042" y="9233"/>
                        <a:pt x="11223" y="597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2" name="Google Shape;1022;p21"/>
                <p:cNvSpPr/>
                <p:nvPr/>
              </p:nvSpPr>
              <p:spPr>
                <a:xfrm>
                  <a:off x="10185645" y="2223710"/>
                  <a:ext cx="27560" cy="27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560" h="27560" extrusionOk="0">
                      <a:moveTo>
                        <a:pt x="27525" y="14684"/>
                      </a:moveTo>
                      <a:cubicBezTo>
                        <a:pt x="28068" y="7089"/>
                        <a:pt x="22280" y="578"/>
                        <a:pt x="14684" y="35"/>
                      </a:cubicBezTo>
                      <a:cubicBezTo>
                        <a:pt x="7089" y="-507"/>
                        <a:pt x="578" y="5280"/>
                        <a:pt x="35" y="12876"/>
                      </a:cubicBezTo>
                      <a:cubicBezTo>
                        <a:pt x="-507" y="20472"/>
                        <a:pt x="5280" y="26983"/>
                        <a:pt x="12876" y="27525"/>
                      </a:cubicBezTo>
                      <a:cubicBezTo>
                        <a:pt x="20472" y="28068"/>
                        <a:pt x="26982" y="22280"/>
                        <a:pt x="27525" y="1468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3" name="Google Shape;1023;p21"/>
                <p:cNvSpPr/>
                <p:nvPr/>
              </p:nvSpPr>
              <p:spPr>
                <a:xfrm>
                  <a:off x="10259201" y="1412707"/>
                  <a:ext cx="80292" cy="80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292" h="80292" extrusionOk="0">
                      <a:moveTo>
                        <a:pt x="80205" y="42768"/>
                      </a:moveTo>
                      <a:cubicBezTo>
                        <a:pt x="81652" y="20704"/>
                        <a:pt x="64833" y="1534"/>
                        <a:pt x="42768" y="87"/>
                      </a:cubicBezTo>
                      <a:cubicBezTo>
                        <a:pt x="20704" y="-1360"/>
                        <a:pt x="1534" y="15459"/>
                        <a:pt x="87" y="37524"/>
                      </a:cubicBezTo>
                      <a:cubicBezTo>
                        <a:pt x="-1360" y="59588"/>
                        <a:pt x="15460" y="78758"/>
                        <a:pt x="37524" y="80205"/>
                      </a:cubicBezTo>
                      <a:cubicBezTo>
                        <a:pt x="59588" y="81652"/>
                        <a:pt x="78759" y="64833"/>
                        <a:pt x="80205" y="427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4" name="Google Shape;1024;p21"/>
                <p:cNvSpPr/>
                <p:nvPr/>
              </p:nvSpPr>
              <p:spPr>
                <a:xfrm>
                  <a:off x="10142520" y="2180585"/>
                  <a:ext cx="113990" cy="1139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990" h="113990" extrusionOk="0">
                      <a:moveTo>
                        <a:pt x="113874" y="60703"/>
                      </a:moveTo>
                      <a:cubicBezTo>
                        <a:pt x="115864" y="29234"/>
                        <a:pt x="92172" y="2106"/>
                        <a:pt x="60703" y="117"/>
                      </a:cubicBezTo>
                      <a:cubicBezTo>
                        <a:pt x="29234" y="-1873"/>
                        <a:pt x="2106" y="21819"/>
                        <a:pt x="117" y="53288"/>
                      </a:cubicBezTo>
                      <a:cubicBezTo>
                        <a:pt x="-1873" y="84757"/>
                        <a:pt x="21819" y="111885"/>
                        <a:pt x="53288" y="113874"/>
                      </a:cubicBezTo>
                      <a:cubicBezTo>
                        <a:pt x="84757" y="115864"/>
                        <a:pt x="111704" y="92172"/>
                        <a:pt x="113874" y="6070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5" name="Google Shape;1025;p21"/>
                <p:cNvSpPr/>
                <p:nvPr/>
              </p:nvSpPr>
              <p:spPr>
                <a:xfrm>
                  <a:off x="9660613" y="2523736"/>
                  <a:ext cx="36625" cy="366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625" h="36626" extrusionOk="0">
                      <a:moveTo>
                        <a:pt x="36579" y="19579"/>
                      </a:moveTo>
                      <a:cubicBezTo>
                        <a:pt x="37303" y="9451"/>
                        <a:pt x="29526" y="770"/>
                        <a:pt x="19579" y="47"/>
                      </a:cubicBezTo>
                      <a:cubicBezTo>
                        <a:pt x="9451" y="-677"/>
                        <a:pt x="770" y="7100"/>
                        <a:pt x="47" y="17047"/>
                      </a:cubicBezTo>
                      <a:cubicBezTo>
                        <a:pt x="-677" y="27175"/>
                        <a:pt x="7100" y="35856"/>
                        <a:pt x="17047" y="36579"/>
                      </a:cubicBezTo>
                      <a:cubicBezTo>
                        <a:pt x="27175" y="37303"/>
                        <a:pt x="35856" y="29707"/>
                        <a:pt x="36579" y="1957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6" name="Google Shape;1026;p21"/>
                <p:cNvSpPr/>
                <p:nvPr/>
              </p:nvSpPr>
              <p:spPr>
                <a:xfrm>
                  <a:off x="10173488" y="2211756"/>
                  <a:ext cx="51671" cy="51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71" h="51649" extrusionOk="0">
                      <a:moveTo>
                        <a:pt x="51618" y="27543"/>
                      </a:moveTo>
                      <a:cubicBezTo>
                        <a:pt x="52522" y="13256"/>
                        <a:pt x="41852" y="1139"/>
                        <a:pt x="27564" y="53"/>
                      </a:cubicBezTo>
                      <a:cubicBezTo>
                        <a:pt x="13277" y="-851"/>
                        <a:pt x="1160" y="9820"/>
                        <a:pt x="75" y="24107"/>
                      </a:cubicBezTo>
                      <a:cubicBezTo>
                        <a:pt x="-1010" y="38395"/>
                        <a:pt x="9841" y="50512"/>
                        <a:pt x="24128" y="51597"/>
                      </a:cubicBezTo>
                      <a:cubicBezTo>
                        <a:pt x="38416" y="52501"/>
                        <a:pt x="50714" y="41650"/>
                        <a:pt x="51618" y="2754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7" name="Google Shape;1027;p21"/>
                <p:cNvSpPr/>
                <p:nvPr/>
              </p:nvSpPr>
              <p:spPr>
                <a:xfrm>
                  <a:off x="10668543" y="2517616"/>
                  <a:ext cx="24632" cy="246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632" h="24632" extrusionOk="0">
                      <a:moveTo>
                        <a:pt x="24614" y="13040"/>
                      </a:moveTo>
                      <a:cubicBezTo>
                        <a:pt x="24976" y="6167"/>
                        <a:pt x="19912" y="380"/>
                        <a:pt x="13040" y="18"/>
                      </a:cubicBezTo>
                      <a:cubicBezTo>
                        <a:pt x="6167" y="-343"/>
                        <a:pt x="380" y="4720"/>
                        <a:pt x="18" y="11593"/>
                      </a:cubicBezTo>
                      <a:cubicBezTo>
                        <a:pt x="-344" y="18465"/>
                        <a:pt x="4720" y="24253"/>
                        <a:pt x="11593" y="24614"/>
                      </a:cubicBezTo>
                      <a:cubicBezTo>
                        <a:pt x="18465" y="24976"/>
                        <a:pt x="24253" y="19912"/>
                        <a:pt x="24614" y="1304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8" name="Google Shape;1028;p21"/>
                <p:cNvSpPr/>
                <p:nvPr/>
              </p:nvSpPr>
              <p:spPr>
                <a:xfrm>
                  <a:off x="10171885" y="2209950"/>
                  <a:ext cx="55080" cy="55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080" h="55100" extrusionOk="0">
                      <a:moveTo>
                        <a:pt x="55030" y="29349"/>
                      </a:moveTo>
                      <a:cubicBezTo>
                        <a:pt x="55935" y="14157"/>
                        <a:pt x="44541" y="955"/>
                        <a:pt x="29349" y="50"/>
                      </a:cubicBezTo>
                      <a:cubicBezTo>
                        <a:pt x="14157" y="-854"/>
                        <a:pt x="955" y="10540"/>
                        <a:pt x="50" y="25732"/>
                      </a:cubicBezTo>
                      <a:cubicBezTo>
                        <a:pt x="-854" y="40923"/>
                        <a:pt x="10540" y="54126"/>
                        <a:pt x="25732" y="55030"/>
                      </a:cubicBezTo>
                      <a:cubicBezTo>
                        <a:pt x="40924" y="56115"/>
                        <a:pt x="54126" y="44540"/>
                        <a:pt x="55030" y="2934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29" name="Google Shape;1029;p21"/>
                <p:cNvSpPr/>
                <p:nvPr/>
              </p:nvSpPr>
              <p:spPr>
                <a:xfrm>
                  <a:off x="10490202" y="1518014"/>
                  <a:ext cx="25575" cy="255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575" h="25555" extrusionOk="0">
                      <a:moveTo>
                        <a:pt x="25538" y="13601"/>
                      </a:moveTo>
                      <a:cubicBezTo>
                        <a:pt x="26081" y="6548"/>
                        <a:pt x="20655" y="399"/>
                        <a:pt x="13601" y="37"/>
                      </a:cubicBezTo>
                      <a:cubicBezTo>
                        <a:pt x="6548" y="-505"/>
                        <a:pt x="399" y="4920"/>
                        <a:pt x="37" y="11974"/>
                      </a:cubicBezTo>
                      <a:cubicBezTo>
                        <a:pt x="-505" y="19027"/>
                        <a:pt x="4921" y="25176"/>
                        <a:pt x="11974" y="25538"/>
                      </a:cubicBezTo>
                      <a:cubicBezTo>
                        <a:pt x="19027" y="25900"/>
                        <a:pt x="25176" y="20655"/>
                        <a:pt x="25538" y="1360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30" name="Google Shape;1030;p21"/>
                <p:cNvSpPr/>
                <p:nvPr/>
              </p:nvSpPr>
              <p:spPr>
                <a:xfrm>
                  <a:off x="10270975" y="1424481"/>
                  <a:ext cx="56563" cy="565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63" h="56543" extrusionOk="0">
                      <a:moveTo>
                        <a:pt x="56495" y="30090"/>
                      </a:moveTo>
                      <a:cubicBezTo>
                        <a:pt x="57580" y="14537"/>
                        <a:pt x="45644" y="1154"/>
                        <a:pt x="30090" y="69"/>
                      </a:cubicBezTo>
                      <a:cubicBezTo>
                        <a:pt x="14537" y="-1017"/>
                        <a:pt x="1154" y="10920"/>
                        <a:pt x="69" y="26473"/>
                      </a:cubicBezTo>
                      <a:cubicBezTo>
                        <a:pt x="-1017" y="42027"/>
                        <a:pt x="10920" y="55410"/>
                        <a:pt x="26473" y="56495"/>
                      </a:cubicBezTo>
                      <a:cubicBezTo>
                        <a:pt x="42027" y="57399"/>
                        <a:pt x="55410" y="45644"/>
                        <a:pt x="56495" y="3009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31" name="Google Shape;1031;p21"/>
                <p:cNvSpPr/>
                <p:nvPr/>
              </p:nvSpPr>
              <p:spPr>
                <a:xfrm>
                  <a:off x="10184020" y="2222266"/>
                  <a:ext cx="30629" cy="306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629" h="30628" extrusionOk="0">
                      <a:moveTo>
                        <a:pt x="30597" y="16309"/>
                      </a:moveTo>
                      <a:cubicBezTo>
                        <a:pt x="31139" y="7809"/>
                        <a:pt x="24809" y="575"/>
                        <a:pt x="16309" y="32"/>
                      </a:cubicBezTo>
                      <a:cubicBezTo>
                        <a:pt x="7809" y="-510"/>
                        <a:pt x="575" y="5820"/>
                        <a:pt x="32" y="14320"/>
                      </a:cubicBezTo>
                      <a:cubicBezTo>
                        <a:pt x="-510" y="22820"/>
                        <a:pt x="5820" y="30054"/>
                        <a:pt x="14320" y="30597"/>
                      </a:cubicBezTo>
                      <a:cubicBezTo>
                        <a:pt x="22820" y="31139"/>
                        <a:pt x="30054" y="24629"/>
                        <a:pt x="30597" y="1630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32" name="Google Shape;1032;p21"/>
                <p:cNvSpPr/>
                <p:nvPr/>
              </p:nvSpPr>
              <p:spPr>
                <a:xfrm>
                  <a:off x="10671252" y="2520144"/>
                  <a:ext cx="19395" cy="193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95" h="19396" extrusionOk="0">
                      <a:moveTo>
                        <a:pt x="19373" y="10331"/>
                      </a:moveTo>
                      <a:cubicBezTo>
                        <a:pt x="19735" y="4905"/>
                        <a:pt x="15575" y="384"/>
                        <a:pt x="10331" y="22"/>
                      </a:cubicBezTo>
                      <a:cubicBezTo>
                        <a:pt x="4905" y="-340"/>
                        <a:pt x="384" y="3820"/>
                        <a:pt x="22" y="9065"/>
                      </a:cubicBezTo>
                      <a:cubicBezTo>
                        <a:pt x="-340" y="14490"/>
                        <a:pt x="3820" y="19012"/>
                        <a:pt x="9065" y="19373"/>
                      </a:cubicBezTo>
                      <a:cubicBezTo>
                        <a:pt x="14490" y="19735"/>
                        <a:pt x="19012" y="15756"/>
                        <a:pt x="19373" y="1033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  <p:sp>
              <p:nvSpPr>
                <p:cNvPr id="1033" name="Google Shape;1033;p21"/>
                <p:cNvSpPr/>
                <p:nvPr/>
              </p:nvSpPr>
              <p:spPr>
                <a:xfrm>
                  <a:off x="10460115" y="1487928"/>
                  <a:ext cx="85748" cy="857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748" h="85748" extrusionOk="0">
                      <a:moveTo>
                        <a:pt x="85646" y="45677"/>
                      </a:moveTo>
                      <a:cubicBezTo>
                        <a:pt x="87274" y="21985"/>
                        <a:pt x="69188" y="1549"/>
                        <a:pt x="45677" y="102"/>
                      </a:cubicBezTo>
                      <a:cubicBezTo>
                        <a:pt x="21985" y="-1526"/>
                        <a:pt x="1549" y="16560"/>
                        <a:pt x="102" y="40071"/>
                      </a:cubicBezTo>
                      <a:cubicBezTo>
                        <a:pt x="-1526" y="63763"/>
                        <a:pt x="16560" y="84199"/>
                        <a:pt x="40071" y="85646"/>
                      </a:cubicBezTo>
                      <a:cubicBezTo>
                        <a:pt x="63763" y="87274"/>
                        <a:pt x="84199" y="69369"/>
                        <a:pt x="85646" y="456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 typeface="Arial"/>
                    <a:buNone/>
                  </a:pPr>
                  <a:endParaRPr sz="1800" b="0" i="0" u="none" strike="noStrike" cap="none">
                    <a:solidFill>
                      <a:schemeClr val="dk1"/>
                    </a:solidFill>
                    <a:latin typeface="Trebuchet MS"/>
                    <a:ea typeface="Trebuchet MS"/>
                    <a:cs typeface="Trebuchet MS"/>
                    <a:sym typeface="Trebuchet MS"/>
                  </a:endParaRPr>
                </a:p>
              </p:txBody>
            </p:sp>
          </p:grpSp>
          <p:sp>
            <p:nvSpPr>
              <p:cNvPr id="1034" name="Google Shape;1034;p21"/>
              <p:cNvSpPr/>
              <p:nvPr/>
            </p:nvSpPr>
            <p:spPr>
              <a:xfrm>
                <a:off x="11849143" y="4661265"/>
                <a:ext cx="26838" cy="26819"/>
              </a:xfrm>
              <a:custGeom>
                <a:avLst/>
                <a:gdLst/>
                <a:ahLst/>
                <a:cxnLst/>
                <a:rect l="l" t="t" r="r" b="b"/>
                <a:pathLst>
                  <a:path w="26838" h="26819" extrusionOk="0">
                    <a:moveTo>
                      <a:pt x="26803" y="14324"/>
                    </a:moveTo>
                    <a:cubicBezTo>
                      <a:pt x="27345" y="6909"/>
                      <a:pt x="21739" y="579"/>
                      <a:pt x="14324" y="36"/>
                    </a:cubicBezTo>
                    <a:cubicBezTo>
                      <a:pt x="6909" y="-506"/>
                      <a:pt x="579" y="5100"/>
                      <a:pt x="36" y="12515"/>
                    </a:cubicBezTo>
                    <a:cubicBezTo>
                      <a:pt x="-506" y="19930"/>
                      <a:pt x="5100" y="26260"/>
                      <a:pt x="12515" y="26803"/>
                    </a:cubicBezTo>
                    <a:cubicBezTo>
                      <a:pt x="19930" y="27164"/>
                      <a:pt x="26260" y="21558"/>
                      <a:pt x="26803" y="1432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35" name="Google Shape;1035;p21"/>
              <p:cNvSpPr/>
              <p:nvPr/>
            </p:nvSpPr>
            <p:spPr>
              <a:xfrm>
                <a:off x="11526217" y="4214634"/>
                <a:ext cx="134830" cy="134830"/>
              </a:xfrm>
              <a:custGeom>
                <a:avLst/>
                <a:gdLst/>
                <a:ahLst/>
                <a:cxnLst/>
                <a:rect l="l" t="t" r="r" b="b"/>
                <a:pathLst>
                  <a:path w="134830" h="134830" extrusionOk="0">
                    <a:moveTo>
                      <a:pt x="134693" y="71756"/>
                    </a:moveTo>
                    <a:cubicBezTo>
                      <a:pt x="137044" y="34681"/>
                      <a:pt x="109012" y="2489"/>
                      <a:pt x="71756" y="138"/>
                    </a:cubicBezTo>
                    <a:cubicBezTo>
                      <a:pt x="34500" y="-2213"/>
                      <a:pt x="2489" y="25819"/>
                      <a:pt x="138" y="63075"/>
                    </a:cubicBezTo>
                    <a:cubicBezTo>
                      <a:pt x="-2213" y="100331"/>
                      <a:pt x="25819" y="132342"/>
                      <a:pt x="63075" y="134693"/>
                    </a:cubicBezTo>
                    <a:cubicBezTo>
                      <a:pt x="100150" y="137045"/>
                      <a:pt x="132161" y="108831"/>
                      <a:pt x="134693" y="717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36" name="Google Shape;1036;p21"/>
              <p:cNvSpPr/>
              <p:nvPr/>
            </p:nvSpPr>
            <p:spPr>
              <a:xfrm rot="-4438743">
                <a:off x="11306284" y="4970044"/>
                <a:ext cx="41959" cy="41959"/>
              </a:xfrm>
              <a:custGeom>
                <a:avLst/>
                <a:gdLst/>
                <a:ahLst/>
                <a:cxnLst/>
                <a:rect l="l" t="t" r="r" b="b"/>
                <a:pathLst>
                  <a:path w="41959" h="41959" extrusionOk="0">
                    <a:moveTo>
                      <a:pt x="41960" y="20980"/>
                    </a:moveTo>
                    <a:cubicBezTo>
                      <a:pt x="41960" y="32567"/>
                      <a:pt x="32567" y="41960"/>
                      <a:pt x="20980" y="41960"/>
                    </a:cubicBezTo>
                    <a:cubicBezTo>
                      <a:pt x="9393" y="41960"/>
                      <a:pt x="0" y="32567"/>
                      <a:pt x="0" y="20980"/>
                    </a:cubicBezTo>
                    <a:cubicBezTo>
                      <a:pt x="0" y="9393"/>
                      <a:pt x="9393" y="0"/>
                      <a:pt x="20980" y="0"/>
                    </a:cubicBezTo>
                    <a:cubicBezTo>
                      <a:pt x="32567" y="0"/>
                      <a:pt x="41960" y="9393"/>
                      <a:pt x="41960" y="20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37" name="Google Shape;1037;p21"/>
              <p:cNvSpPr/>
              <p:nvPr/>
            </p:nvSpPr>
            <p:spPr>
              <a:xfrm>
                <a:off x="11843708" y="4656011"/>
                <a:ext cx="37528" cy="37509"/>
              </a:xfrm>
              <a:custGeom>
                <a:avLst/>
                <a:gdLst/>
                <a:ahLst/>
                <a:cxnLst/>
                <a:rect l="l" t="t" r="r" b="b"/>
                <a:pathLst>
                  <a:path w="37528" h="37509" extrusionOk="0">
                    <a:moveTo>
                      <a:pt x="37483" y="19940"/>
                    </a:moveTo>
                    <a:cubicBezTo>
                      <a:pt x="38206" y="9631"/>
                      <a:pt x="30248" y="769"/>
                      <a:pt x="19940" y="46"/>
                    </a:cubicBezTo>
                    <a:cubicBezTo>
                      <a:pt x="9631" y="-678"/>
                      <a:pt x="769" y="7280"/>
                      <a:pt x="46" y="17589"/>
                    </a:cubicBezTo>
                    <a:cubicBezTo>
                      <a:pt x="-678" y="27897"/>
                      <a:pt x="7280" y="36759"/>
                      <a:pt x="17589" y="37482"/>
                    </a:cubicBezTo>
                    <a:cubicBezTo>
                      <a:pt x="27897" y="38025"/>
                      <a:pt x="36940" y="30248"/>
                      <a:pt x="37483" y="199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38" name="Google Shape;1038;p21"/>
              <p:cNvSpPr/>
              <p:nvPr/>
            </p:nvSpPr>
            <p:spPr>
              <a:xfrm>
                <a:off x="11805336" y="5117158"/>
                <a:ext cx="69421" cy="69421"/>
              </a:xfrm>
              <a:custGeom>
                <a:avLst/>
                <a:gdLst/>
                <a:ahLst/>
                <a:cxnLst/>
                <a:rect l="l" t="t" r="r" b="b"/>
                <a:pathLst>
                  <a:path w="69421" h="69421" extrusionOk="0">
                    <a:moveTo>
                      <a:pt x="69344" y="36971"/>
                    </a:moveTo>
                    <a:cubicBezTo>
                      <a:pt x="70610" y="17801"/>
                      <a:pt x="56142" y="1343"/>
                      <a:pt x="36971" y="77"/>
                    </a:cubicBezTo>
                    <a:cubicBezTo>
                      <a:pt x="17801" y="-1189"/>
                      <a:pt x="1343" y="13279"/>
                      <a:pt x="77" y="32450"/>
                    </a:cubicBezTo>
                    <a:cubicBezTo>
                      <a:pt x="-1189" y="51620"/>
                      <a:pt x="13279" y="68078"/>
                      <a:pt x="32450" y="69344"/>
                    </a:cubicBezTo>
                    <a:cubicBezTo>
                      <a:pt x="51621" y="70610"/>
                      <a:pt x="68078" y="56142"/>
                      <a:pt x="69344" y="369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39" name="Google Shape;1039;p21"/>
              <p:cNvSpPr/>
              <p:nvPr/>
            </p:nvSpPr>
            <p:spPr>
              <a:xfrm>
                <a:off x="11278471" y="4942599"/>
                <a:ext cx="96981" cy="96981"/>
              </a:xfrm>
              <a:custGeom>
                <a:avLst/>
                <a:gdLst/>
                <a:ahLst/>
                <a:cxnLst/>
                <a:rect l="l" t="t" r="r" b="b"/>
                <a:pathLst>
                  <a:path w="96981" h="96981" extrusionOk="0">
                    <a:moveTo>
                      <a:pt x="96870" y="51656"/>
                    </a:moveTo>
                    <a:cubicBezTo>
                      <a:pt x="98678" y="24890"/>
                      <a:pt x="78422" y="1921"/>
                      <a:pt x="51656" y="112"/>
                    </a:cubicBezTo>
                    <a:cubicBezTo>
                      <a:pt x="24890" y="-1696"/>
                      <a:pt x="1921" y="18559"/>
                      <a:pt x="112" y="45326"/>
                    </a:cubicBezTo>
                    <a:cubicBezTo>
                      <a:pt x="-1696" y="72093"/>
                      <a:pt x="18559" y="95061"/>
                      <a:pt x="45326" y="96869"/>
                    </a:cubicBezTo>
                    <a:cubicBezTo>
                      <a:pt x="72093" y="98678"/>
                      <a:pt x="95242" y="78422"/>
                      <a:pt x="96870" y="5165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0" name="Google Shape;1040;p21"/>
              <p:cNvSpPr/>
              <p:nvPr/>
            </p:nvSpPr>
            <p:spPr>
              <a:xfrm>
                <a:off x="11852233" y="4664355"/>
                <a:ext cx="20840" cy="20824"/>
              </a:xfrm>
              <a:custGeom>
                <a:avLst/>
                <a:gdLst/>
                <a:ahLst/>
                <a:cxnLst/>
                <a:rect l="l" t="t" r="r" b="b"/>
                <a:pathLst>
                  <a:path w="20840" h="20824" extrusionOk="0">
                    <a:moveTo>
                      <a:pt x="20819" y="11053"/>
                    </a:moveTo>
                    <a:cubicBezTo>
                      <a:pt x="21181" y="5266"/>
                      <a:pt x="16841" y="383"/>
                      <a:pt x="11053" y="21"/>
                    </a:cubicBezTo>
                    <a:cubicBezTo>
                      <a:pt x="5266" y="-340"/>
                      <a:pt x="383" y="4000"/>
                      <a:pt x="21" y="9787"/>
                    </a:cubicBezTo>
                    <a:cubicBezTo>
                      <a:pt x="-340" y="15575"/>
                      <a:pt x="4000" y="20458"/>
                      <a:pt x="9787" y="20819"/>
                    </a:cubicBezTo>
                    <a:cubicBezTo>
                      <a:pt x="15394" y="21000"/>
                      <a:pt x="20277" y="16660"/>
                      <a:pt x="20819" y="1105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1" name="Google Shape;1041;p21"/>
              <p:cNvSpPr/>
              <p:nvPr/>
            </p:nvSpPr>
            <p:spPr>
              <a:xfrm>
                <a:off x="12085698" y="4487280"/>
                <a:ext cx="44569" cy="44569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69" extrusionOk="0">
                    <a:moveTo>
                      <a:pt x="44530" y="23732"/>
                    </a:moveTo>
                    <a:cubicBezTo>
                      <a:pt x="45253" y="11433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3136" y="45253"/>
                      <a:pt x="43626" y="36030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2" name="Google Shape;1042;p21"/>
              <p:cNvSpPr/>
              <p:nvPr/>
            </p:nvSpPr>
            <p:spPr>
              <a:xfrm>
                <a:off x="11572431" y="4260848"/>
                <a:ext cx="42221" cy="42221"/>
              </a:xfrm>
              <a:custGeom>
                <a:avLst/>
                <a:gdLst/>
                <a:ahLst/>
                <a:cxnLst/>
                <a:rect l="l" t="t" r="r" b="b"/>
                <a:pathLst>
                  <a:path w="42221" h="42221" extrusionOk="0">
                    <a:moveTo>
                      <a:pt x="42180" y="22467"/>
                    </a:moveTo>
                    <a:cubicBezTo>
                      <a:pt x="42904" y="10893"/>
                      <a:pt x="34042" y="765"/>
                      <a:pt x="22467" y="41"/>
                    </a:cubicBezTo>
                    <a:cubicBezTo>
                      <a:pt x="10893" y="-682"/>
                      <a:pt x="765" y="8180"/>
                      <a:pt x="41" y="19754"/>
                    </a:cubicBezTo>
                    <a:cubicBezTo>
                      <a:pt x="-682" y="31329"/>
                      <a:pt x="8180" y="41457"/>
                      <a:pt x="19755" y="42180"/>
                    </a:cubicBezTo>
                    <a:cubicBezTo>
                      <a:pt x="31329" y="42904"/>
                      <a:pt x="41457" y="34042"/>
                      <a:pt x="42180" y="2246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3" name="Google Shape;1043;p21"/>
              <p:cNvSpPr/>
              <p:nvPr/>
            </p:nvSpPr>
            <p:spPr>
              <a:xfrm>
                <a:off x="11857668" y="4669971"/>
                <a:ext cx="9608" cy="9596"/>
              </a:xfrm>
              <a:custGeom>
                <a:avLst/>
                <a:gdLst/>
                <a:ahLst/>
                <a:cxnLst/>
                <a:rect l="l" t="t" r="r" b="b"/>
                <a:pathLst>
                  <a:path w="9608" h="9596" extrusionOk="0">
                    <a:moveTo>
                      <a:pt x="9597" y="5075"/>
                    </a:moveTo>
                    <a:cubicBezTo>
                      <a:pt x="9777" y="2363"/>
                      <a:pt x="7788" y="192"/>
                      <a:pt x="5075" y="11"/>
                    </a:cubicBezTo>
                    <a:cubicBezTo>
                      <a:pt x="2363" y="-169"/>
                      <a:pt x="192" y="1820"/>
                      <a:pt x="11" y="4533"/>
                    </a:cubicBezTo>
                    <a:cubicBezTo>
                      <a:pt x="-169" y="7246"/>
                      <a:pt x="1820" y="9416"/>
                      <a:pt x="4533" y="9597"/>
                    </a:cubicBezTo>
                    <a:cubicBezTo>
                      <a:pt x="7245" y="9597"/>
                      <a:pt x="9597" y="7608"/>
                      <a:pt x="9597" y="507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4" name="Google Shape;1044;p21"/>
              <p:cNvSpPr/>
              <p:nvPr/>
            </p:nvSpPr>
            <p:spPr>
              <a:xfrm>
                <a:off x="12007752" y="5131305"/>
                <a:ext cx="25936" cy="25916"/>
              </a:xfrm>
              <a:custGeom>
                <a:avLst/>
                <a:gdLst/>
                <a:ahLst/>
                <a:cxnLst/>
                <a:rect l="l" t="t" r="r" b="b"/>
                <a:pathLst>
                  <a:path w="25936" h="25916" extrusionOk="0">
                    <a:moveTo>
                      <a:pt x="25899" y="13782"/>
                    </a:moveTo>
                    <a:cubicBezTo>
                      <a:pt x="26442" y="6729"/>
                      <a:pt x="21017" y="580"/>
                      <a:pt x="13782" y="37"/>
                    </a:cubicBezTo>
                    <a:cubicBezTo>
                      <a:pt x="6548" y="-505"/>
                      <a:pt x="580" y="4920"/>
                      <a:pt x="37" y="12155"/>
                    </a:cubicBezTo>
                    <a:cubicBezTo>
                      <a:pt x="-505" y="19389"/>
                      <a:pt x="4921" y="25357"/>
                      <a:pt x="12155" y="25899"/>
                    </a:cubicBezTo>
                    <a:cubicBezTo>
                      <a:pt x="19208" y="26261"/>
                      <a:pt x="25357" y="20836"/>
                      <a:pt x="25899" y="1378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5" name="Google Shape;1045;p21"/>
              <p:cNvSpPr/>
              <p:nvPr/>
            </p:nvSpPr>
            <p:spPr>
              <a:xfrm>
                <a:off x="11807341" y="5119164"/>
                <a:ext cx="65229" cy="65249"/>
              </a:xfrm>
              <a:custGeom>
                <a:avLst/>
                <a:gdLst/>
                <a:ahLst/>
                <a:cxnLst/>
                <a:rect l="l" t="t" r="r" b="b"/>
                <a:pathLst>
                  <a:path w="65229" h="65249" extrusionOk="0">
                    <a:moveTo>
                      <a:pt x="65169" y="34785"/>
                    </a:moveTo>
                    <a:cubicBezTo>
                      <a:pt x="66254" y="16880"/>
                      <a:pt x="52690" y="1327"/>
                      <a:pt x="34785" y="61"/>
                    </a:cubicBezTo>
                    <a:cubicBezTo>
                      <a:pt x="16880" y="-1025"/>
                      <a:pt x="1327" y="12540"/>
                      <a:pt x="61" y="30444"/>
                    </a:cubicBezTo>
                    <a:cubicBezTo>
                      <a:pt x="-1024" y="48349"/>
                      <a:pt x="12540" y="63902"/>
                      <a:pt x="30444" y="65168"/>
                    </a:cubicBezTo>
                    <a:cubicBezTo>
                      <a:pt x="48349" y="66434"/>
                      <a:pt x="64083" y="52689"/>
                      <a:pt x="65169" y="347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6" name="Google Shape;1046;p21"/>
              <p:cNvSpPr/>
              <p:nvPr/>
            </p:nvSpPr>
            <p:spPr>
              <a:xfrm>
                <a:off x="11852413" y="4664354"/>
                <a:ext cx="20299" cy="20323"/>
              </a:xfrm>
              <a:custGeom>
                <a:avLst/>
                <a:gdLst/>
                <a:ahLst/>
                <a:cxnLst/>
                <a:rect l="l" t="t" r="r" b="b"/>
                <a:pathLst>
                  <a:path w="20299" h="20323" extrusionOk="0">
                    <a:moveTo>
                      <a:pt x="20278" y="10873"/>
                    </a:moveTo>
                    <a:cubicBezTo>
                      <a:pt x="20639" y="5267"/>
                      <a:pt x="16479" y="384"/>
                      <a:pt x="10873" y="22"/>
                    </a:cubicBezTo>
                    <a:cubicBezTo>
                      <a:pt x="5267" y="-340"/>
                      <a:pt x="383" y="3820"/>
                      <a:pt x="22" y="9426"/>
                    </a:cubicBezTo>
                    <a:cubicBezTo>
                      <a:pt x="-340" y="15033"/>
                      <a:pt x="3820" y="19916"/>
                      <a:pt x="9426" y="20278"/>
                    </a:cubicBezTo>
                    <a:cubicBezTo>
                      <a:pt x="15033" y="20820"/>
                      <a:pt x="19916" y="16480"/>
                      <a:pt x="20278" y="1087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7" name="Google Shape;1047;p21"/>
              <p:cNvSpPr/>
              <p:nvPr/>
            </p:nvSpPr>
            <p:spPr>
              <a:xfrm>
                <a:off x="12459172" y="5168026"/>
                <a:ext cx="33337" cy="33358"/>
              </a:xfrm>
              <a:custGeom>
                <a:avLst/>
                <a:gdLst/>
                <a:ahLst/>
                <a:cxnLst/>
                <a:rect l="l" t="t" r="r" b="b"/>
                <a:pathLst>
                  <a:path w="33337" h="33358" extrusionOk="0">
                    <a:moveTo>
                      <a:pt x="33307" y="17754"/>
                    </a:moveTo>
                    <a:cubicBezTo>
                      <a:pt x="33850" y="8530"/>
                      <a:pt x="26978" y="573"/>
                      <a:pt x="17754" y="30"/>
                    </a:cubicBezTo>
                    <a:cubicBezTo>
                      <a:pt x="8530" y="-513"/>
                      <a:pt x="573" y="6360"/>
                      <a:pt x="30" y="15584"/>
                    </a:cubicBezTo>
                    <a:cubicBezTo>
                      <a:pt x="-513" y="24807"/>
                      <a:pt x="6360" y="32765"/>
                      <a:pt x="15584" y="33307"/>
                    </a:cubicBezTo>
                    <a:cubicBezTo>
                      <a:pt x="24807" y="34031"/>
                      <a:pt x="32765" y="26977"/>
                      <a:pt x="33307" y="1775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8" name="Google Shape;1048;p21"/>
              <p:cNvSpPr/>
              <p:nvPr/>
            </p:nvSpPr>
            <p:spPr>
              <a:xfrm>
                <a:off x="12011203" y="5134756"/>
                <a:ext cx="19035" cy="19035"/>
              </a:xfrm>
              <a:custGeom>
                <a:avLst/>
                <a:gdLst/>
                <a:ahLst/>
                <a:cxnLst/>
                <a:rect l="l" t="t" r="r" b="b"/>
                <a:pathLst>
                  <a:path w="19035" h="19035" extrusionOk="0">
                    <a:moveTo>
                      <a:pt x="19012" y="10151"/>
                    </a:moveTo>
                    <a:cubicBezTo>
                      <a:pt x="19374" y="4906"/>
                      <a:pt x="15395" y="384"/>
                      <a:pt x="10151" y="23"/>
                    </a:cubicBezTo>
                    <a:cubicBezTo>
                      <a:pt x="4906" y="-339"/>
                      <a:pt x="384" y="3640"/>
                      <a:pt x="23" y="8885"/>
                    </a:cubicBezTo>
                    <a:cubicBezTo>
                      <a:pt x="-339" y="14129"/>
                      <a:pt x="3640" y="18651"/>
                      <a:pt x="8885" y="19012"/>
                    </a:cubicBezTo>
                    <a:cubicBezTo>
                      <a:pt x="14129" y="19374"/>
                      <a:pt x="18651" y="15395"/>
                      <a:pt x="19012" y="1015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49" name="Google Shape;1049;p21"/>
              <p:cNvSpPr/>
              <p:nvPr/>
            </p:nvSpPr>
            <p:spPr>
              <a:xfrm>
                <a:off x="11820521" y="4632643"/>
                <a:ext cx="84083" cy="84083"/>
              </a:xfrm>
              <a:custGeom>
                <a:avLst/>
                <a:gdLst/>
                <a:ahLst/>
                <a:cxnLst/>
                <a:rect l="l" t="t" r="r" b="b"/>
                <a:pathLst>
                  <a:path w="84083" h="84083" extrusionOk="0">
                    <a:moveTo>
                      <a:pt x="84000" y="44755"/>
                    </a:moveTo>
                    <a:cubicBezTo>
                      <a:pt x="85447" y="21605"/>
                      <a:pt x="67904" y="1530"/>
                      <a:pt x="44755" y="83"/>
                    </a:cubicBezTo>
                    <a:cubicBezTo>
                      <a:pt x="21605" y="-1363"/>
                      <a:pt x="1530" y="16179"/>
                      <a:pt x="83" y="39329"/>
                    </a:cubicBezTo>
                    <a:cubicBezTo>
                      <a:pt x="-1363" y="62478"/>
                      <a:pt x="16179" y="82553"/>
                      <a:pt x="39329" y="84000"/>
                    </a:cubicBezTo>
                    <a:cubicBezTo>
                      <a:pt x="62478" y="85447"/>
                      <a:pt x="82553" y="67904"/>
                      <a:pt x="84000" y="447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0" name="Google Shape;1050;p21"/>
              <p:cNvSpPr/>
              <p:nvPr/>
            </p:nvSpPr>
            <p:spPr>
              <a:xfrm>
                <a:off x="12466594" y="5175448"/>
                <a:ext cx="18492" cy="18492"/>
              </a:xfrm>
              <a:custGeom>
                <a:avLst/>
                <a:gdLst/>
                <a:ahLst/>
                <a:cxnLst/>
                <a:rect l="l" t="t" r="r" b="b"/>
                <a:pathLst>
                  <a:path w="18492" h="18492" extrusionOk="0">
                    <a:moveTo>
                      <a:pt x="18470" y="9789"/>
                    </a:moveTo>
                    <a:cubicBezTo>
                      <a:pt x="18832" y="4725"/>
                      <a:pt x="14853" y="204"/>
                      <a:pt x="9789" y="23"/>
                    </a:cubicBezTo>
                    <a:cubicBezTo>
                      <a:pt x="4725" y="-339"/>
                      <a:pt x="384" y="3640"/>
                      <a:pt x="23" y="8704"/>
                    </a:cubicBezTo>
                    <a:cubicBezTo>
                      <a:pt x="-339" y="13768"/>
                      <a:pt x="3640" y="18289"/>
                      <a:pt x="8704" y="18470"/>
                    </a:cubicBezTo>
                    <a:cubicBezTo>
                      <a:pt x="13768" y="18832"/>
                      <a:pt x="18108" y="14853"/>
                      <a:pt x="18470" y="978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1" name="Google Shape;1051;p21"/>
              <p:cNvSpPr/>
              <p:nvPr/>
            </p:nvSpPr>
            <p:spPr>
              <a:xfrm>
                <a:off x="12090772" y="4492535"/>
                <a:ext cx="34059" cy="34059"/>
              </a:xfrm>
              <a:custGeom>
                <a:avLst/>
                <a:gdLst/>
                <a:ahLst/>
                <a:cxnLst/>
                <a:rect l="l" t="t" r="r" b="b"/>
                <a:pathLst>
                  <a:path w="34059" h="34059" extrusionOk="0">
                    <a:moveTo>
                      <a:pt x="34030" y="18115"/>
                    </a:moveTo>
                    <a:cubicBezTo>
                      <a:pt x="34573" y="8711"/>
                      <a:pt x="27519" y="753"/>
                      <a:pt x="18115" y="29"/>
                    </a:cubicBezTo>
                    <a:cubicBezTo>
                      <a:pt x="8711" y="-513"/>
                      <a:pt x="753" y="6540"/>
                      <a:pt x="29" y="15945"/>
                    </a:cubicBezTo>
                    <a:cubicBezTo>
                      <a:pt x="-513" y="25349"/>
                      <a:pt x="6540" y="33306"/>
                      <a:pt x="15945" y="34030"/>
                    </a:cubicBezTo>
                    <a:cubicBezTo>
                      <a:pt x="25349" y="34573"/>
                      <a:pt x="33488" y="27519"/>
                      <a:pt x="34030" y="181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2" name="Google Shape;1052;p21"/>
              <p:cNvSpPr/>
              <p:nvPr/>
            </p:nvSpPr>
            <p:spPr>
              <a:xfrm>
                <a:off x="8783315" y="5508224"/>
                <a:ext cx="23729" cy="23750"/>
              </a:xfrm>
              <a:custGeom>
                <a:avLst/>
                <a:gdLst/>
                <a:ahLst/>
                <a:cxnLst/>
                <a:rect l="l" t="t" r="r" b="b"/>
                <a:pathLst>
                  <a:path w="23729" h="23750" extrusionOk="0">
                    <a:moveTo>
                      <a:pt x="23711" y="12679"/>
                    </a:moveTo>
                    <a:cubicBezTo>
                      <a:pt x="24073" y="6168"/>
                      <a:pt x="19189" y="381"/>
                      <a:pt x="12679" y="19"/>
                    </a:cubicBezTo>
                    <a:cubicBezTo>
                      <a:pt x="6168" y="-343"/>
                      <a:pt x="381" y="4540"/>
                      <a:pt x="19" y="11051"/>
                    </a:cubicBezTo>
                    <a:cubicBezTo>
                      <a:pt x="-343" y="17562"/>
                      <a:pt x="4540" y="23349"/>
                      <a:pt x="11051" y="23711"/>
                    </a:cubicBezTo>
                    <a:cubicBezTo>
                      <a:pt x="17562" y="24253"/>
                      <a:pt x="23349" y="19189"/>
                      <a:pt x="23711" y="1267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3" name="Google Shape;1053;p21"/>
              <p:cNvSpPr/>
              <p:nvPr/>
            </p:nvSpPr>
            <p:spPr>
              <a:xfrm>
                <a:off x="8172218" y="5359210"/>
                <a:ext cx="13038" cy="13038"/>
              </a:xfrm>
              <a:custGeom>
                <a:avLst/>
                <a:gdLst/>
                <a:ahLst/>
                <a:cxnLst/>
                <a:rect l="l" t="t" r="r" b="b"/>
                <a:pathLst>
                  <a:path w="13038" h="13038" extrusionOk="0">
                    <a:moveTo>
                      <a:pt x="13030" y="6881"/>
                    </a:moveTo>
                    <a:cubicBezTo>
                      <a:pt x="13211" y="3264"/>
                      <a:pt x="10498" y="190"/>
                      <a:pt x="6881" y="9"/>
                    </a:cubicBezTo>
                    <a:cubicBezTo>
                      <a:pt x="3264" y="-172"/>
                      <a:pt x="189" y="2540"/>
                      <a:pt x="9" y="6158"/>
                    </a:cubicBezTo>
                    <a:cubicBezTo>
                      <a:pt x="-172" y="9775"/>
                      <a:pt x="2540" y="12849"/>
                      <a:pt x="6158" y="13030"/>
                    </a:cubicBezTo>
                    <a:cubicBezTo>
                      <a:pt x="9775" y="13211"/>
                      <a:pt x="12849" y="10498"/>
                      <a:pt x="13030" y="68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4" name="Google Shape;1054;p21"/>
              <p:cNvSpPr/>
              <p:nvPr/>
            </p:nvSpPr>
            <p:spPr>
              <a:xfrm>
                <a:off x="8058236" y="5820526"/>
                <a:ext cx="52372" cy="52393"/>
              </a:xfrm>
              <a:custGeom>
                <a:avLst/>
                <a:gdLst/>
                <a:ahLst/>
                <a:cxnLst/>
                <a:rect l="l" t="t" r="r" b="b"/>
                <a:pathLst>
                  <a:path w="52372" h="52393" extrusionOk="0">
                    <a:moveTo>
                      <a:pt x="52320" y="27904"/>
                    </a:moveTo>
                    <a:cubicBezTo>
                      <a:pt x="53224" y="13436"/>
                      <a:pt x="42373" y="957"/>
                      <a:pt x="27904" y="53"/>
                    </a:cubicBezTo>
                    <a:cubicBezTo>
                      <a:pt x="13436" y="-852"/>
                      <a:pt x="957" y="10000"/>
                      <a:pt x="53" y="24468"/>
                    </a:cubicBezTo>
                    <a:cubicBezTo>
                      <a:pt x="-852" y="38936"/>
                      <a:pt x="10000" y="51415"/>
                      <a:pt x="24468" y="52320"/>
                    </a:cubicBezTo>
                    <a:cubicBezTo>
                      <a:pt x="38936" y="53405"/>
                      <a:pt x="51415" y="42373"/>
                      <a:pt x="52320" y="2790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5" name="Google Shape;1055;p21"/>
              <p:cNvSpPr/>
              <p:nvPr/>
            </p:nvSpPr>
            <p:spPr>
              <a:xfrm>
                <a:off x="8778422" y="5503330"/>
                <a:ext cx="33697" cy="33719"/>
              </a:xfrm>
              <a:custGeom>
                <a:avLst/>
                <a:gdLst/>
                <a:ahLst/>
                <a:cxnLst/>
                <a:rect l="l" t="t" r="r" b="b"/>
                <a:pathLst>
                  <a:path w="33697" h="33719" extrusionOk="0">
                    <a:moveTo>
                      <a:pt x="33668" y="17934"/>
                    </a:moveTo>
                    <a:cubicBezTo>
                      <a:pt x="34211" y="8529"/>
                      <a:pt x="27157" y="572"/>
                      <a:pt x="17934" y="29"/>
                    </a:cubicBezTo>
                    <a:cubicBezTo>
                      <a:pt x="8529" y="-513"/>
                      <a:pt x="572" y="6540"/>
                      <a:pt x="29" y="15764"/>
                    </a:cubicBezTo>
                    <a:cubicBezTo>
                      <a:pt x="-513" y="25168"/>
                      <a:pt x="6540" y="33126"/>
                      <a:pt x="15764" y="33668"/>
                    </a:cubicBezTo>
                    <a:cubicBezTo>
                      <a:pt x="24987" y="34392"/>
                      <a:pt x="32945" y="27339"/>
                      <a:pt x="33668" y="1793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6" name="Google Shape;1056;p21"/>
              <p:cNvSpPr/>
              <p:nvPr/>
            </p:nvSpPr>
            <p:spPr>
              <a:xfrm>
                <a:off x="8519277" y="6020955"/>
                <a:ext cx="10870" cy="10897"/>
              </a:xfrm>
              <a:custGeom>
                <a:avLst/>
                <a:gdLst/>
                <a:ahLst/>
                <a:cxnLst/>
                <a:rect l="l" t="t" r="r" b="b"/>
                <a:pathLst>
                  <a:path w="10870" h="10897" extrusionOk="0">
                    <a:moveTo>
                      <a:pt x="10861" y="5797"/>
                    </a:moveTo>
                    <a:cubicBezTo>
                      <a:pt x="11042" y="2723"/>
                      <a:pt x="8691" y="190"/>
                      <a:pt x="5797" y="10"/>
                    </a:cubicBezTo>
                    <a:cubicBezTo>
                      <a:pt x="2723" y="-171"/>
                      <a:pt x="191" y="2180"/>
                      <a:pt x="10" y="5074"/>
                    </a:cubicBezTo>
                    <a:cubicBezTo>
                      <a:pt x="-171" y="8148"/>
                      <a:pt x="2180" y="10680"/>
                      <a:pt x="5074" y="10861"/>
                    </a:cubicBezTo>
                    <a:cubicBezTo>
                      <a:pt x="8148" y="11223"/>
                      <a:pt x="10680" y="8871"/>
                      <a:pt x="10861" y="579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7" name="Google Shape;1057;p21"/>
              <p:cNvSpPr/>
              <p:nvPr/>
            </p:nvSpPr>
            <p:spPr>
              <a:xfrm>
                <a:off x="8063672" y="5825962"/>
                <a:ext cx="41499" cy="41522"/>
              </a:xfrm>
              <a:custGeom>
                <a:avLst/>
                <a:gdLst/>
                <a:ahLst/>
                <a:cxnLst/>
                <a:rect l="l" t="t" r="r" b="b"/>
                <a:pathLst>
                  <a:path w="41499" h="41522" extrusionOk="0">
                    <a:moveTo>
                      <a:pt x="41458" y="22106"/>
                    </a:moveTo>
                    <a:cubicBezTo>
                      <a:pt x="42181" y="10712"/>
                      <a:pt x="33500" y="765"/>
                      <a:pt x="22106" y="42"/>
                    </a:cubicBezTo>
                    <a:cubicBezTo>
                      <a:pt x="10713" y="-681"/>
                      <a:pt x="766" y="8000"/>
                      <a:pt x="42" y="19393"/>
                    </a:cubicBezTo>
                    <a:cubicBezTo>
                      <a:pt x="-681" y="30787"/>
                      <a:pt x="8000" y="40734"/>
                      <a:pt x="19394" y="41458"/>
                    </a:cubicBezTo>
                    <a:cubicBezTo>
                      <a:pt x="30787" y="42362"/>
                      <a:pt x="40734" y="33681"/>
                      <a:pt x="41458" y="2210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8" name="Google Shape;1058;p21"/>
              <p:cNvSpPr/>
              <p:nvPr/>
            </p:nvSpPr>
            <p:spPr>
              <a:xfrm>
                <a:off x="8772986" y="5497894"/>
                <a:ext cx="44569" cy="44569"/>
              </a:xfrm>
              <a:custGeom>
                <a:avLst/>
                <a:gdLst/>
                <a:ahLst/>
                <a:cxnLst/>
                <a:rect l="l" t="t" r="r" b="b"/>
                <a:pathLst>
                  <a:path w="44569" h="44569" extrusionOk="0">
                    <a:moveTo>
                      <a:pt x="44530" y="23732"/>
                    </a:moveTo>
                    <a:cubicBezTo>
                      <a:pt x="45253" y="11434"/>
                      <a:pt x="36030" y="763"/>
                      <a:pt x="23732" y="40"/>
                    </a:cubicBezTo>
                    <a:cubicBezTo>
                      <a:pt x="11434" y="-684"/>
                      <a:pt x="763" y="8540"/>
                      <a:pt x="40" y="20838"/>
                    </a:cubicBezTo>
                    <a:cubicBezTo>
                      <a:pt x="-684" y="33136"/>
                      <a:pt x="8540" y="43807"/>
                      <a:pt x="20838" y="44530"/>
                    </a:cubicBezTo>
                    <a:cubicBezTo>
                      <a:pt x="33136" y="45253"/>
                      <a:pt x="43626" y="36030"/>
                      <a:pt x="44530" y="237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59" name="Google Shape;1059;p21"/>
              <p:cNvSpPr/>
              <p:nvPr/>
            </p:nvSpPr>
            <p:spPr>
              <a:xfrm>
                <a:off x="8471278" y="5144462"/>
                <a:ext cx="84985" cy="85007"/>
              </a:xfrm>
              <a:custGeom>
                <a:avLst/>
                <a:gdLst/>
                <a:ahLst/>
                <a:cxnLst/>
                <a:rect l="l" t="t" r="r" b="b"/>
                <a:pathLst>
                  <a:path w="84985" h="85007" extrusionOk="0">
                    <a:moveTo>
                      <a:pt x="84903" y="45296"/>
                    </a:moveTo>
                    <a:cubicBezTo>
                      <a:pt x="86350" y="21785"/>
                      <a:pt x="68626" y="1710"/>
                      <a:pt x="45296" y="83"/>
                    </a:cubicBezTo>
                    <a:cubicBezTo>
                      <a:pt x="21785" y="-1364"/>
                      <a:pt x="1529" y="16359"/>
                      <a:pt x="83" y="39690"/>
                    </a:cubicBezTo>
                    <a:cubicBezTo>
                      <a:pt x="-1364" y="63201"/>
                      <a:pt x="16360" y="83276"/>
                      <a:pt x="39690" y="84903"/>
                    </a:cubicBezTo>
                    <a:cubicBezTo>
                      <a:pt x="63020" y="86531"/>
                      <a:pt x="83276" y="68807"/>
                      <a:pt x="84903" y="4529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0" name="Google Shape;1060;p21"/>
              <p:cNvSpPr/>
              <p:nvPr/>
            </p:nvSpPr>
            <p:spPr>
              <a:xfrm>
                <a:off x="8159702" y="5346694"/>
                <a:ext cx="38070" cy="38051"/>
              </a:xfrm>
              <a:custGeom>
                <a:avLst/>
                <a:gdLst/>
                <a:ahLst/>
                <a:cxnLst/>
                <a:rect l="l" t="t" r="r" b="b"/>
                <a:pathLst>
                  <a:path w="38070" h="38051" extrusionOk="0">
                    <a:moveTo>
                      <a:pt x="38025" y="20301"/>
                    </a:moveTo>
                    <a:cubicBezTo>
                      <a:pt x="38749" y="9812"/>
                      <a:pt x="30791" y="769"/>
                      <a:pt x="20301" y="46"/>
                    </a:cubicBezTo>
                    <a:cubicBezTo>
                      <a:pt x="9812" y="-678"/>
                      <a:pt x="769" y="7280"/>
                      <a:pt x="46" y="17769"/>
                    </a:cubicBezTo>
                    <a:cubicBezTo>
                      <a:pt x="-678" y="28259"/>
                      <a:pt x="7280" y="37302"/>
                      <a:pt x="17769" y="38025"/>
                    </a:cubicBezTo>
                    <a:cubicBezTo>
                      <a:pt x="28259" y="38567"/>
                      <a:pt x="37302" y="30610"/>
                      <a:pt x="38025" y="2030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1" name="Google Shape;1061;p21"/>
              <p:cNvSpPr/>
              <p:nvPr/>
            </p:nvSpPr>
            <p:spPr>
              <a:xfrm>
                <a:off x="8769716" y="5494805"/>
                <a:ext cx="50747" cy="50747"/>
              </a:xfrm>
              <a:custGeom>
                <a:avLst/>
                <a:gdLst/>
                <a:ahLst/>
                <a:cxnLst/>
                <a:rect l="l" t="t" r="r" b="b"/>
                <a:pathLst>
                  <a:path w="50747" h="50747" extrusionOk="0">
                    <a:moveTo>
                      <a:pt x="50694" y="27002"/>
                    </a:moveTo>
                    <a:cubicBezTo>
                      <a:pt x="51598" y="13076"/>
                      <a:pt x="41108" y="959"/>
                      <a:pt x="27002" y="54"/>
                    </a:cubicBezTo>
                    <a:cubicBezTo>
                      <a:pt x="13076" y="-850"/>
                      <a:pt x="959" y="9640"/>
                      <a:pt x="54" y="23746"/>
                    </a:cubicBezTo>
                    <a:cubicBezTo>
                      <a:pt x="-850" y="37672"/>
                      <a:pt x="9640" y="49789"/>
                      <a:pt x="23746" y="50694"/>
                    </a:cubicBezTo>
                    <a:cubicBezTo>
                      <a:pt x="37853" y="51598"/>
                      <a:pt x="49789" y="40928"/>
                      <a:pt x="50694" y="2700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2" name="Google Shape;1062;p21"/>
              <p:cNvSpPr/>
              <p:nvPr/>
            </p:nvSpPr>
            <p:spPr>
              <a:xfrm>
                <a:off x="8708577" y="5244131"/>
                <a:ext cx="61980" cy="61979"/>
              </a:xfrm>
              <a:custGeom>
                <a:avLst/>
                <a:gdLst/>
                <a:ahLst/>
                <a:cxnLst/>
                <a:rect l="l" t="t" r="r" b="b"/>
                <a:pathLst>
                  <a:path w="61980" h="61979" extrusionOk="0">
                    <a:moveTo>
                      <a:pt x="61916" y="32980"/>
                    </a:moveTo>
                    <a:cubicBezTo>
                      <a:pt x="63001" y="15979"/>
                      <a:pt x="50161" y="1149"/>
                      <a:pt x="32980" y="64"/>
                    </a:cubicBezTo>
                    <a:cubicBezTo>
                      <a:pt x="15979" y="-1021"/>
                      <a:pt x="1149" y="11820"/>
                      <a:pt x="64" y="29001"/>
                    </a:cubicBezTo>
                    <a:cubicBezTo>
                      <a:pt x="-1021" y="46001"/>
                      <a:pt x="11820" y="60831"/>
                      <a:pt x="29001" y="61916"/>
                    </a:cubicBezTo>
                    <a:cubicBezTo>
                      <a:pt x="46182" y="63002"/>
                      <a:pt x="60831" y="49980"/>
                      <a:pt x="61916" y="329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3" name="Google Shape;1063;p21"/>
              <p:cNvSpPr/>
              <p:nvPr/>
            </p:nvSpPr>
            <p:spPr>
              <a:xfrm>
                <a:off x="8486863" y="5160228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39839" y="54669"/>
                      <a:pt x="52680" y="43456"/>
                      <a:pt x="53765" y="286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4" name="Google Shape;1064;p21"/>
              <p:cNvSpPr/>
              <p:nvPr/>
            </p:nvSpPr>
            <p:spPr>
              <a:xfrm>
                <a:off x="8754853" y="5479762"/>
                <a:ext cx="80653" cy="80674"/>
              </a:xfrm>
              <a:custGeom>
                <a:avLst/>
                <a:gdLst/>
                <a:ahLst/>
                <a:cxnLst/>
                <a:rect l="l" t="t" r="r" b="b"/>
                <a:pathLst>
                  <a:path w="80653" h="80674" extrusionOk="0">
                    <a:moveTo>
                      <a:pt x="80567" y="42949"/>
                    </a:moveTo>
                    <a:cubicBezTo>
                      <a:pt x="82014" y="20704"/>
                      <a:pt x="65194" y="1534"/>
                      <a:pt x="42949" y="87"/>
                    </a:cubicBezTo>
                    <a:cubicBezTo>
                      <a:pt x="20704" y="-1360"/>
                      <a:pt x="1534" y="15459"/>
                      <a:pt x="87" y="37704"/>
                    </a:cubicBezTo>
                    <a:cubicBezTo>
                      <a:pt x="-1360" y="59950"/>
                      <a:pt x="15459" y="79120"/>
                      <a:pt x="37705" y="80567"/>
                    </a:cubicBezTo>
                    <a:cubicBezTo>
                      <a:pt x="59950" y="82195"/>
                      <a:pt x="79120" y="65194"/>
                      <a:pt x="80567" y="429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5" name="Google Shape;1065;p21"/>
              <p:cNvSpPr/>
              <p:nvPr/>
            </p:nvSpPr>
            <p:spPr>
              <a:xfrm>
                <a:off x="9537450" y="5420119"/>
                <a:ext cx="36447" cy="36426"/>
              </a:xfrm>
              <a:custGeom>
                <a:avLst/>
                <a:gdLst/>
                <a:ahLst/>
                <a:cxnLst/>
                <a:rect l="l" t="t" r="r" b="b"/>
                <a:pathLst>
                  <a:path w="36447" h="36426" extrusionOk="0">
                    <a:moveTo>
                      <a:pt x="36399" y="19399"/>
                    </a:moveTo>
                    <a:cubicBezTo>
                      <a:pt x="37123" y="9271"/>
                      <a:pt x="29527" y="590"/>
                      <a:pt x="19399" y="48"/>
                    </a:cubicBezTo>
                    <a:cubicBezTo>
                      <a:pt x="9271" y="-676"/>
                      <a:pt x="590" y="6920"/>
                      <a:pt x="48" y="17048"/>
                    </a:cubicBezTo>
                    <a:cubicBezTo>
                      <a:pt x="-676" y="27176"/>
                      <a:pt x="6920" y="35857"/>
                      <a:pt x="17048" y="36399"/>
                    </a:cubicBezTo>
                    <a:cubicBezTo>
                      <a:pt x="27176" y="36942"/>
                      <a:pt x="35857" y="29346"/>
                      <a:pt x="36399" y="1939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6" name="Google Shape;1066;p21"/>
              <p:cNvSpPr/>
              <p:nvPr/>
            </p:nvSpPr>
            <p:spPr>
              <a:xfrm>
                <a:off x="8487003" y="5988682"/>
                <a:ext cx="75599" cy="75578"/>
              </a:xfrm>
              <a:custGeom>
                <a:avLst/>
                <a:gdLst/>
                <a:ahLst/>
                <a:cxnLst/>
                <a:rect l="l" t="t" r="r" b="b"/>
                <a:pathLst>
                  <a:path w="75599" h="75578" extrusionOk="0">
                    <a:moveTo>
                      <a:pt x="75508" y="40241"/>
                    </a:moveTo>
                    <a:cubicBezTo>
                      <a:pt x="76954" y="19443"/>
                      <a:pt x="61039" y="1358"/>
                      <a:pt x="40241" y="91"/>
                    </a:cubicBezTo>
                    <a:cubicBezTo>
                      <a:pt x="19443" y="-1356"/>
                      <a:pt x="1357" y="14560"/>
                      <a:pt x="91" y="35358"/>
                    </a:cubicBezTo>
                    <a:cubicBezTo>
                      <a:pt x="-1356" y="56156"/>
                      <a:pt x="14560" y="74242"/>
                      <a:pt x="35358" y="75507"/>
                    </a:cubicBezTo>
                    <a:cubicBezTo>
                      <a:pt x="56156" y="76773"/>
                      <a:pt x="74061" y="61039"/>
                      <a:pt x="75508" y="4024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7" name="Google Shape;1067;p21"/>
              <p:cNvSpPr/>
              <p:nvPr/>
            </p:nvSpPr>
            <p:spPr>
              <a:xfrm>
                <a:off x="8760650" y="5485559"/>
                <a:ext cx="69059" cy="69060"/>
              </a:xfrm>
              <a:custGeom>
                <a:avLst/>
                <a:gdLst/>
                <a:ahLst/>
                <a:cxnLst/>
                <a:rect l="l" t="t" r="r" b="b"/>
                <a:pathLst>
                  <a:path w="69059" h="69060" extrusionOk="0">
                    <a:moveTo>
                      <a:pt x="68983" y="36791"/>
                    </a:moveTo>
                    <a:cubicBezTo>
                      <a:pt x="70249" y="17801"/>
                      <a:pt x="55780" y="1343"/>
                      <a:pt x="36791" y="77"/>
                    </a:cubicBezTo>
                    <a:cubicBezTo>
                      <a:pt x="17801" y="-1189"/>
                      <a:pt x="1343" y="13279"/>
                      <a:pt x="77" y="32269"/>
                    </a:cubicBezTo>
                    <a:cubicBezTo>
                      <a:pt x="-1189" y="51259"/>
                      <a:pt x="13279" y="67717"/>
                      <a:pt x="32269" y="68983"/>
                    </a:cubicBezTo>
                    <a:cubicBezTo>
                      <a:pt x="51259" y="70249"/>
                      <a:pt x="67717" y="55961"/>
                      <a:pt x="68983" y="367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8" name="Google Shape;1068;p21"/>
              <p:cNvSpPr/>
              <p:nvPr/>
            </p:nvSpPr>
            <p:spPr>
              <a:xfrm>
                <a:off x="9513722" y="5396210"/>
                <a:ext cx="84083" cy="84083"/>
              </a:xfrm>
              <a:custGeom>
                <a:avLst/>
                <a:gdLst/>
                <a:ahLst/>
                <a:cxnLst/>
                <a:rect l="l" t="t" r="r" b="b"/>
                <a:pathLst>
                  <a:path w="84083" h="84083" extrusionOk="0">
                    <a:moveTo>
                      <a:pt x="84000" y="44755"/>
                    </a:moveTo>
                    <a:cubicBezTo>
                      <a:pt x="85447" y="21605"/>
                      <a:pt x="67904" y="1530"/>
                      <a:pt x="44755" y="83"/>
                    </a:cubicBezTo>
                    <a:cubicBezTo>
                      <a:pt x="21605" y="-1363"/>
                      <a:pt x="1530" y="16179"/>
                      <a:pt x="83" y="39329"/>
                    </a:cubicBezTo>
                    <a:cubicBezTo>
                      <a:pt x="-1363" y="62478"/>
                      <a:pt x="16179" y="82553"/>
                      <a:pt x="39329" y="84000"/>
                    </a:cubicBezTo>
                    <a:cubicBezTo>
                      <a:pt x="62478" y="85447"/>
                      <a:pt x="82372" y="67904"/>
                      <a:pt x="84000" y="447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69" name="Google Shape;1069;p21"/>
              <p:cNvSpPr/>
              <p:nvPr/>
            </p:nvSpPr>
            <p:spPr>
              <a:xfrm>
                <a:off x="8730321" y="5265694"/>
                <a:ext cx="18673" cy="18674"/>
              </a:xfrm>
              <a:custGeom>
                <a:avLst/>
                <a:gdLst/>
                <a:ahLst/>
                <a:cxnLst/>
                <a:rect l="l" t="t" r="r" b="b"/>
                <a:pathLst>
                  <a:path w="18673" h="18674" extrusionOk="0">
                    <a:moveTo>
                      <a:pt x="18651" y="9970"/>
                    </a:moveTo>
                    <a:cubicBezTo>
                      <a:pt x="19012" y="4906"/>
                      <a:pt x="15034" y="385"/>
                      <a:pt x="9970" y="23"/>
                    </a:cubicBezTo>
                    <a:cubicBezTo>
                      <a:pt x="4906" y="-339"/>
                      <a:pt x="385" y="3640"/>
                      <a:pt x="23" y="8704"/>
                    </a:cubicBezTo>
                    <a:cubicBezTo>
                      <a:pt x="-339" y="13768"/>
                      <a:pt x="3640" y="18289"/>
                      <a:pt x="8704" y="18651"/>
                    </a:cubicBezTo>
                    <a:cubicBezTo>
                      <a:pt x="13949" y="19013"/>
                      <a:pt x="18289" y="15215"/>
                      <a:pt x="18651" y="997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070" name="Google Shape;1070;p21"/>
              <p:cNvSpPr/>
              <p:nvPr/>
            </p:nvSpPr>
            <p:spPr>
              <a:xfrm>
                <a:off x="12640218" y="6116256"/>
                <a:ext cx="22826" cy="22826"/>
              </a:xfrm>
              <a:custGeom>
                <a:avLst/>
                <a:gdLst/>
                <a:ahLst/>
                <a:cxnLst/>
                <a:rect l="l" t="t" r="r" b="b"/>
                <a:pathLst>
                  <a:path w="22826" h="22826" extrusionOk="0">
                    <a:moveTo>
                      <a:pt x="22807" y="12137"/>
                    </a:moveTo>
                    <a:cubicBezTo>
                      <a:pt x="23169" y="5807"/>
                      <a:pt x="18466" y="382"/>
                      <a:pt x="12136" y="20"/>
                    </a:cubicBezTo>
                    <a:cubicBezTo>
                      <a:pt x="5807" y="-342"/>
                      <a:pt x="381" y="4360"/>
                      <a:pt x="20" y="10690"/>
                    </a:cubicBezTo>
                    <a:cubicBezTo>
                      <a:pt x="-342" y="17020"/>
                      <a:pt x="4360" y="22445"/>
                      <a:pt x="10690" y="22807"/>
                    </a:cubicBezTo>
                    <a:cubicBezTo>
                      <a:pt x="17020" y="23169"/>
                      <a:pt x="22445" y="18467"/>
                      <a:pt x="22807" y="1213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</p:grpSp>
      <p:sp>
        <p:nvSpPr>
          <p:cNvPr id="1071" name="Google Shape;1071;p21"/>
          <p:cNvSpPr/>
          <p:nvPr/>
        </p:nvSpPr>
        <p:spPr>
          <a:xfrm>
            <a:off x="3417952" y="3016541"/>
            <a:ext cx="5356097" cy="67812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50000">
                <a:schemeClr val="accent1"/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072" name="Google Shape;1072;p21"/>
          <p:cNvSpPr/>
          <p:nvPr/>
        </p:nvSpPr>
        <p:spPr>
          <a:xfrm>
            <a:off x="3417952" y="4362143"/>
            <a:ext cx="5356097" cy="67812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50000">
                <a:schemeClr val="accent1"/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074" name="Google Shape;1074;p21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E285E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 sz="1800" b="0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66D45C9D-18FD-BB58-F9A5-2FA748DBF399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2313587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 preserve="1" userDrawn="1">
  <p:cSld name="16_Title and Content"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28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114808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" name="Google Shape;1077;p28"/>
          <p:cNvSpPr txBox="1">
            <a:spLocks noGrp="1"/>
          </p:cNvSpPr>
          <p:nvPr>
            <p:ph type="sldNum" idx="12"/>
          </p:nvPr>
        </p:nvSpPr>
        <p:spPr>
          <a:xfrm>
            <a:off x="11213201" y="6569267"/>
            <a:ext cx="6232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CD5C86D4-8570-B317-31FC-D08591D5DBA7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3" name="Google Shape;1091;p52">
            <a:extLst>
              <a:ext uri="{FF2B5EF4-FFF2-40B4-BE49-F238E27FC236}">
                <a16:creationId xmlns:a16="http://schemas.microsoft.com/office/drawing/2014/main" id="{AC38A96A-7E60-A41A-9EE5-6AA37A613422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01" y="6386332"/>
            <a:ext cx="1066742" cy="3214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16DDC54-5665-4AB8-B620-5009D8151AAB}"/>
              </a:ext>
            </a:extLst>
          </p:cNvPr>
          <p:cNvSpPr/>
          <p:nvPr userDrawn="1"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49818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 type="blank">
  <p:cSld name="1_Blank">
    <p:bg>
      <p:bgPr>
        <a:solidFill>
          <a:srgbClr val="CE285E"/>
        </a:solidFill>
        <a:effectLst/>
      </p:bgPr>
    </p:bg>
    <p:spTree>
      <p:nvGrpSpPr>
        <p:cNvPr id="1" name="Shape 29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4" name="Google Shape;2924;p33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25" name="Google Shape;2925;p33"/>
          <p:cNvSpPr/>
          <p:nvPr/>
        </p:nvSpPr>
        <p:spPr>
          <a:xfrm>
            <a:off x="5030710" y="6492240"/>
            <a:ext cx="2130582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/>
          </a:p>
        </p:txBody>
      </p:sp>
      <p:grpSp>
        <p:nvGrpSpPr>
          <p:cNvPr id="2926" name="Google Shape;2926;p33"/>
          <p:cNvGrpSpPr/>
          <p:nvPr/>
        </p:nvGrpSpPr>
        <p:grpSpPr>
          <a:xfrm>
            <a:off x="294867" y="218164"/>
            <a:ext cx="495697" cy="485115"/>
            <a:chOff x="602685" y="435448"/>
            <a:chExt cx="495697" cy="485115"/>
          </a:xfrm>
        </p:grpSpPr>
        <p:sp>
          <p:nvSpPr>
            <p:cNvPr id="2927" name="Google Shape;2927;p33"/>
            <p:cNvSpPr/>
            <p:nvPr/>
          </p:nvSpPr>
          <p:spPr>
            <a:xfrm rot="2646388">
              <a:off x="795824" y="460057"/>
              <a:ext cx="118872" cy="11887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28" name="Google Shape;2928;p33"/>
            <p:cNvSpPr/>
            <p:nvPr/>
          </p:nvSpPr>
          <p:spPr>
            <a:xfrm rot="-2781651">
              <a:off x="766648" y="548808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29" name="Google Shape;2929;p33"/>
            <p:cNvSpPr/>
            <p:nvPr/>
          </p:nvSpPr>
          <p:spPr>
            <a:xfrm rot="2630458">
              <a:off x="892255" y="546044"/>
              <a:ext cx="49220" cy="22648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30" name="Google Shape;2930;p33"/>
            <p:cNvSpPr/>
            <p:nvPr/>
          </p:nvSpPr>
          <p:spPr>
            <a:xfrm rot="2630458">
              <a:off x="931263" y="603605"/>
              <a:ext cx="54864" cy="34620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931" name="Google Shape;2931;p33"/>
            <p:cNvSpPr/>
            <p:nvPr/>
          </p:nvSpPr>
          <p:spPr>
            <a:xfrm rot="-2781651">
              <a:off x="720955" y="604652"/>
              <a:ext cx="54864" cy="35034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2932" name="Google Shape;2932;p33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2023</a:t>
            </a:r>
            <a:endParaRPr/>
          </a:p>
        </p:txBody>
      </p:sp>
      <p:pic>
        <p:nvPicPr>
          <p:cNvPr id="2933" name="Google Shape;2933;p33"/>
          <p:cNvPicPr preferRelativeResize="0"/>
          <p:nvPr/>
        </p:nvPicPr>
        <p:blipFill rotWithShape="1">
          <a:blip r:embed="rId2">
            <a:alphaModFix/>
          </a:blip>
          <a:srcRect l="22060" r="17687" b="21526"/>
          <a:stretch/>
        </p:blipFill>
        <p:spPr>
          <a:xfrm>
            <a:off x="6096000" y="780494"/>
            <a:ext cx="6096000" cy="5295900"/>
          </a:xfrm>
          <a:prstGeom prst="rect">
            <a:avLst/>
          </a:prstGeom>
          <a:noFill/>
          <a:ln w="127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pic>
    </p:spTree>
    <p:extLst>
      <p:ext uri="{BB962C8B-B14F-4D97-AF65-F5344CB8AC3E}">
        <p14:creationId xmlns:p14="http://schemas.microsoft.com/office/powerpoint/2010/main" val="27921596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">
  <p:cSld name="4_Title Slide">
    <p:spTree>
      <p:nvGrpSpPr>
        <p:cNvPr id="1" name="Shape 1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6" name="Google Shape;1106;p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9612" y="1397000"/>
            <a:ext cx="3315410" cy="999009"/>
          </a:xfrm>
          <a:prstGeom prst="rect">
            <a:avLst/>
          </a:prstGeom>
          <a:noFill/>
          <a:ln>
            <a:noFill/>
          </a:ln>
        </p:spPr>
      </p:pic>
      <p:sp>
        <p:nvSpPr>
          <p:cNvPr id="1107" name="Google Shape;1107;p53"/>
          <p:cNvSpPr txBox="1">
            <a:spLocks noGrp="1"/>
          </p:cNvSpPr>
          <p:nvPr>
            <p:ph type="ctrTitle"/>
          </p:nvPr>
        </p:nvSpPr>
        <p:spPr>
          <a:xfrm>
            <a:off x="479612" y="2965880"/>
            <a:ext cx="940397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1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8" name="Google Shape;1108;p53"/>
          <p:cNvSpPr txBox="1">
            <a:spLocks noGrp="1"/>
          </p:cNvSpPr>
          <p:nvPr>
            <p:ph type="subTitle" idx="1"/>
          </p:nvPr>
        </p:nvSpPr>
        <p:spPr>
          <a:xfrm>
            <a:off x="479612" y="3733844"/>
            <a:ext cx="502472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accent2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10" name="Google Shape;1110;p53"/>
          <p:cNvSpPr/>
          <p:nvPr/>
        </p:nvSpPr>
        <p:spPr>
          <a:xfrm>
            <a:off x="10477398" y="5718001"/>
            <a:ext cx="477907" cy="649771"/>
          </a:xfrm>
          <a:custGeom>
            <a:avLst/>
            <a:gdLst/>
            <a:ahLst/>
            <a:cxnLst/>
            <a:rect l="l" t="t" r="r" b="b"/>
            <a:pathLst>
              <a:path w="477907" h="649771" extrusionOk="0">
                <a:moveTo>
                  <a:pt x="295155" y="649771"/>
                </a:moveTo>
                <a:cubicBezTo>
                  <a:pt x="294250" y="649771"/>
                  <a:pt x="293346" y="649047"/>
                  <a:pt x="292803" y="648143"/>
                </a:cubicBezTo>
                <a:lnTo>
                  <a:pt x="181" y="3759"/>
                </a:lnTo>
                <a:cubicBezTo>
                  <a:pt x="-181" y="2855"/>
                  <a:pt x="0" y="1589"/>
                  <a:pt x="723" y="865"/>
                </a:cubicBezTo>
                <a:cubicBezTo>
                  <a:pt x="1447" y="142"/>
                  <a:pt x="2532" y="-220"/>
                  <a:pt x="3617" y="142"/>
                </a:cubicBezTo>
                <a:lnTo>
                  <a:pt x="476009" y="168879"/>
                </a:lnTo>
                <a:cubicBezTo>
                  <a:pt x="476732" y="169060"/>
                  <a:pt x="477275" y="169602"/>
                  <a:pt x="477637" y="170326"/>
                </a:cubicBezTo>
                <a:cubicBezTo>
                  <a:pt x="477998" y="171049"/>
                  <a:pt x="477998" y="171773"/>
                  <a:pt x="477637" y="172496"/>
                </a:cubicBezTo>
                <a:lnTo>
                  <a:pt x="297867" y="647962"/>
                </a:lnTo>
                <a:cubicBezTo>
                  <a:pt x="297506" y="649047"/>
                  <a:pt x="296601" y="649590"/>
                  <a:pt x="295516" y="649771"/>
                </a:cubicBezTo>
                <a:cubicBezTo>
                  <a:pt x="295335" y="649771"/>
                  <a:pt x="295335" y="649771"/>
                  <a:pt x="295155" y="649771"/>
                </a:cubicBezTo>
                <a:close/>
                <a:moveTo>
                  <a:pt x="7777" y="7376"/>
                </a:moveTo>
                <a:lnTo>
                  <a:pt x="295155" y="640005"/>
                </a:lnTo>
                <a:lnTo>
                  <a:pt x="471668" y="173039"/>
                </a:lnTo>
                <a:lnTo>
                  <a:pt x="7777" y="737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1" name="Google Shape;1111;p53"/>
          <p:cNvSpPr/>
          <p:nvPr/>
        </p:nvSpPr>
        <p:spPr>
          <a:xfrm>
            <a:off x="12225625" y="2550403"/>
            <a:ext cx="532328" cy="277143"/>
          </a:xfrm>
          <a:custGeom>
            <a:avLst/>
            <a:gdLst/>
            <a:ahLst/>
            <a:cxnLst/>
            <a:rect l="l" t="t" r="r" b="b"/>
            <a:pathLst>
              <a:path w="532328" h="277143" extrusionOk="0">
                <a:moveTo>
                  <a:pt x="2445" y="277143"/>
                </a:moveTo>
                <a:cubicBezTo>
                  <a:pt x="1360" y="277143"/>
                  <a:pt x="275" y="276239"/>
                  <a:pt x="94" y="275154"/>
                </a:cubicBezTo>
                <a:cubicBezTo>
                  <a:pt x="-268" y="273888"/>
                  <a:pt x="456" y="272622"/>
                  <a:pt x="1541" y="272079"/>
                </a:cubicBezTo>
                <a:lnTo>
                  <a:pt x="528370" y="255"/>
                </a:lnTo>
                <a:cubicBezTo>
                  <a:pt x="529636" y="-288"/>
                  <a:pt x="530902" y="74"/>
                  <a:pt x="531807" y="978"/>
                </a:cubicBezTo>
                <a:cubicBezTo>
                  <a:pt x="532530" y="2063"/>
                  <a:pt x="532530" y="3510"/>
                  <a:pt x="531626" y="4415"/>
                </a:cubicBezTo>
                <a:lnTo>
                  <a:pt x="270833" y="274249"/>
                </a:lnTo>
                <a:cubicBezTo>
                  <a:pt x="270291" y="274792"/>
                  <a:pt x="269568" y="274973"/>
                  <a:pt x="268844" y="274973"/>
                </a:cubicBezTo>
                <a:lnTo>
                  <a:pt x="2626" y="276962"/>
                </a:lnTo>
                <a:cubicBezTo>
                  <a:pt x="2445" y="277143"/>
                  <a:pt x="2445" y="277143"/>
                  <a:pt x="2445" y="277143"/>
                </a:cubicBezTo>
                <a:close/>
                <a:moveTo>
                  <a:pt x="516253" y="12553"/>
                </a:moveTo>
                <a:lnTo>
                  <a:pt x="13839" y="271717"/>
                </a:lnTo>
                <a:lnTo>
                  <a:pt x="267578" y="269728"/>
                </a:lnTo>
                <a:lnTo>
                  <a:pt x="516253" y="12553"/>
                </a:lnTo>
                <a:close/>
                <a:moveTo>
                  <a:pt x="268663" y="272441"/>
                </a:moveTo>
                <a:lnTo>
                  <a:pt x="268663" y="272441"/>
                </a:lnTo>
                <a:lnTo>
                  <a:pt x="268663" y="2724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2" name="Google Shape;1112;p53"/>
          <p:cNvSpPr/>
          <p:nvPr/>
        </p:nvSpPr>
        <p:spPr>
          <a:xfrm>
            <a:off x="11516226" y="1647471"/>
            <a:ext cx="1241602" cy="908431"/>
          </a:xfrm>
          <a:custGeom>
            <a:avLst/>
            <a:gdLst/>
            <a:ahLst/>
            <a:cxnLst/>
            <a:rect l="l" t="t" r="r" b="b"/>
            <a:pathLst>
              <a:path w="1241602" h="908431" extrusionOk="0">
                <a:moveTo>
                  <a:pt x="1238673" y="908432"/>
                </a:moveTo>
                <a:cubicBezTo>
                  <a:pt x="1238311" y="908432"/>
                  <a:pt x="1237769" y="908251"/>
                  <a:pt x="1237406" y="908070"/>
                </a:cubicBezTo>
                <a:lnTo>
                  <a:pt x="1266" y="124428"/>
                </a:lnTo>
                <a:cubicBezTo>
                  <a:pt x="543" y="123885"/>
                  <a:pt x="0" y="123162"/>
                  <a:pt x="0" y="122258"/>
                </a:cubicBezTo>
                <a:cubicBezTo>
                  <a:pt x="0" y="121353"/>
                  <a:pt x="362" y="120630"/>
                  <a:pt x="1085" y="120087"/>
                </a:cubicBezTo>
                <a:lnTo>
                  <a:pt x="151918" y="543"/>
                </a:lnTo>
                <a:cubicBezTo>
                  <a:pt x="153003" y="-181"/>
                  <a:pt x="154269" y="-181"/>
                  <a:pt x="155354" y="543"/>
                </a:cubicBezTo>
                <a:lnTo>
                  <a:pt x="1240662" y="903549"/>
                </a:lnTo>
                <a:cubicBezTo>
                  <a:pt x="1241747" y="904453"/>
                  <a:pt x="1241928" y="906081"/>
                  <a:pt x="1241024" y="907166"/>
                </a:cubicBezTo>
                <a:cubicBezTo>
                  <a:pt x="1240481" y="908070"/>
                  <a:pt x="1239577" y="908432"/>
                  <a:pt x="1238673" y="908432"/>
                </a:cubicBezTo>
                <a:close/>
                <a:moveTo>
                  <a:pt x="7415" y="121896"/>
                </a:moveTo>
                <a:lnTo>
                  <a:pt x="1205214" y="881123"/>
                </a:lnTo>
                <a:lnTo>
                  <a:pt x="153546" y="6149"/>
                </a:lnTo>
                <a:lnTo>
                  <a:pt x="7415" y="1218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3" name="Google Shape;1113;p53"/>
          <p:cNvSpPr/>
          <p:nvPr/>
        </p:nvSpPr>
        <p:spPr>
          <a:xfrm>
            <a:off x="11516323" y="1766931"/>
            <a:ext cx="1241651" cy="1060689"/>
          </a:xfrm>
          <a:custGeom>
            <a:avLst/>
            <a:gdLst/>
            <a:ahLst/>
            <a:cxnLst/>
            <a:rect l="l" t="t" r="r" b="b"/>
            <a:pathLst>
              <a:path w="1241651" h="1060689" extrusionOk="0">
                <a:moveTo>
                  <a:pt x="711747" y="1060615"/>
                </a:moveTo>
                <a:cubicBezTo>
                  <a:pt x="711024" y="1060615"/>
                  <a:pt x="710119" y="1060072"/>
                  <a:pt x="709758" y="1059349"/>
                </a:cubicBezTo>
                <a:lnTo>
                  <a:pt x="446" y="4244"/>
                </a:lnTo>
                <a:cubicBezTo>
                  <a:pt x="-277" y="3159"/>
                  <a:pt x="-96" y="1712"/>
                  <a:pt x="808" y="808"/>
                </a:cubicBezTo>
                <a:cubicBezTo>
                  <a:pt x="1712" y="-96"/>
                  <a:pt x="3159" y="-277"/>
                  <a:pt x="4244" y="446"/>
                </a:cubicBezTo>
                <a:lnTo>
                  <a:pt x="1240385" y="783908"/>
                </a:lnTo>
                <a:cubicBezTo>
                  <a:pt x="1241109" y="784450"/>
                  <a:pt x="1241651" y="785355"/>
                  <a:pt x="1241651" y="786259"/>
                </a:cubicBezTo>
                <a:cubicBezTo>
                  <a:pt x="1241651" y="787163"/>
                  <a:pt x="1241109" y="788067"/>
                  <a:pt x="1240204" y="788610"/>
                </a:cubicBezTo>
                <a:lnTo>
                  <a:pt x="713375" y="1060434"/>
                </a:lnTo>
                <a:cubicBezTo>
                  <a:pt x="712652" y="1060615"/>
                  <a:pt x="712109" y="1060796"/>
                  <a:pt x="711747" y="1060615"/>
                </a:cubicBezTo>
                <a:close/>
                <a:moveTo>
                  <a:pt x="12021" y="11840"/>
                </a:moveTo>
                <a:lnTo>
                  <a:pt x="712832" y="1054466"/>
                </a:lnTo>
                <a:lnTo>
                  <a:pt x="1233512" y="785897"/>
                </a:lnTo>
                <a:lnTo>
                  <a:pt x="12021" y="1184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4" name="Google Shape;1114;p53"/>
          <p:cNvSpPr/>
          <p:nvPr/>
        </p:nvSpPr>
        <p:spPr>
          <a:xfrm>
            <a:off x="8737035" y="5586119"/>
            <a:ext cx="850605" cy="232217"/>
          </a:xfrm>
          <a:custGeom>
            <a:avLst/>
            <a:gdLst/>
            <a:ahLst/>
            <a:cxnLst/>
            <a:rect l="l" t="t" r="r" b="b"/>
            <a:pathLst>
              <a:path w="850605" h="232217" extrusionOk="0">
                <a:moveTo>
                  <a:pt x="818548" y="232217"/>
                </a:moveTo>
                <a:cubicBezTo>
                  <a:pt x="818367" y="232217"/>
                  <a:pt x="818367" y="232217"/>
                  <a:pt x="818186" y="232217"/>
                </a:cubicBezTo>
                <a:lnTo>
                  <a:pt x="2170" y="68905"/>
                </a:lnTo>
                <a:cubicBezTo>
                  <a:pt x="904" y="68725"/>
                  <a:pt x="0" y="67459"/>
                  <a:pt x="0" y="66012"/>
                </a:cubicBezTo>
                <a:cubicBezTo>
                  <a:pt x="0" y="64746"/>
                  <a:pt x="1085" y="63661"/>
                  <a:pt x="2532" y="63480"/>
                </a:cubicBezTo>
                <a:lnTo>
                  <a:pt x="847665" y="0"/>
                </a:lnTo>
                <a:cubicBezTo>
                  <a:pt x="848389" y="0"/>
                  <a:pt x="849293" y="181"/>
                  <a:pt x="849835" y="904"/>
                </a:cubicBezTo>
                <a:cubicBezTo>
                  <a:pt x="850378" y="1447"/>
                  <a:pt x="850740" y="2351"/>
                  <a:pt x="850559" y="3074"/>
                </a:cubicBezTo>
                <a:lnTo>
                  <a:pt x="821441" y="229685"/>
                </a:lnTo>
                <a:cubicBezTo>
                  <a:pt x="821441" y="230408"/>
                  <a:pt x="820899" y="231132"/>
                  <a:pt x="820356" y="231494"/>
                </a:cubicBezTo>
                <a:cubicBezTo>
                  <a:pt x="819813" y="232036"/>
                  <a:pt x="819090" y="232217"/>
                  <a:pt x="818548" y="232217"/>
                </a:cubicBezTo>
                <a:close/>
                <a:moveTo>
                  <a:pt x="22426" y="67459"/>
                </a:moveTo>
                <a:lnTo>
                  <a:pt x="816377" y="226249"/>
                </a:lnTo>
                <a:lnTo>
                  <a:pt x="844591" y="5787"/>
                </a:lnTo>
                <a:lnTo>
                  <a:pt x="22426" y="6745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5" name="Google Shape;1115;p53"/>
          <p:cNvSpPr/>
          <p:nvPr/>
        </p:nvSpPr>
        <p:spPr>
          <a:xfrm>
            <a:off x="9553004" y="5586432"/>
            <a:ext cx="930000" cy="231903"/>
          </a:xfrm>
          <a:custGeom>
            <a:avLst/>
            <a:gdLst/>
            <a:ahLst/>
            <a:cxnLst/>
            <a:rect l="l" t="t" r="r" b="b"/>
            <a:pathLst>
              <a:path w="930000" h="231903" extrusionOk="0">
                <a:moveTo>
                  <a:pt x="2579" y="231903"/>
                </a:moveTo>
                <a:cubicBezTo>
                  <a:pt x="1856" y="231903"/>
                  <a:pt x="1313" y="231542"/>
                  <a:pt x="770" y="231180"/>
                </a:cubicBezTo>
                <a:cubicBezTo>
                  <a:pt x="228" y="230638"/>
                  <a:pt x="-134" y="229733"/>
                  <a:pt x="47" y="229010"/>
                </a:cubicBezTo>
                <a:lnTo>
                  <a:pt x="29165" y="2399"/>
                </a:lnTo>
                <a:cubicBezTo>
                  <a:pt x="29165" y="1676"/>
                  <a:pt x="29707" y="952"/>
                  <a:pt x="30250" y="591"/>
                </a:cubicBezTo>
                <a:cubicBezTo>
                  <a:pt x="30792" y="229"/>
                  <a:pt x="31516" y="-133"/>
                  <a:pt x="32239" y="48"/>
                </a:cubicBezTo>
                <a:lnTo>
                  <a:pt x="927650" y="131710"/>
                </a:lnTo>
                <a:cubicBezTo>
                  <a:pt x="928916" y="131891"/>
                  <a:pt x="930001" y="133157"/>
                  <a:pt x="930001" y="134423"/>
                </a:cubicBezTo>
                <a:cubicBezTo>
                  <a:pt x="930001" y="135870"/>
                  <a:pt x="928916" y="136955"/>
                  <a:pt x="927650" y="136955"/>
                </a:cubicBezTo>
                <a:lnTo>
                  <a:pt x="3122" y="231903"/>
                </a:lnTo>
                <a:cubicBezTo>
                  <a:pt x="2760" y="231903"/>
                  <a:pt x="2760" y="231903"/>
                  <a:pt x="2579" y="231903"/>
                </a:cubicBezTo>
                <a:close/>
                <a:moveTo>
                  <a:pt x="34048" y="5655"/>
                </a:moveTo>
                <a:lnTo>
                  <a:pt x="5834" y="226297"/>
                </a:lnTo>
                <a:lnTo>
                  <a:pt x="905405" y="133880"/>
                </a:lnTo>
                <a:lnTo>
                  <a:pt x="34048" y="56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6" name="Google Shape;1116;p53"/>
          <p:cNvSpPr/>
          <p:nvPr/>
        </p:nvSpPr>
        <p:spPr>
          <a:xfrm>
            <a:off x="9581960" y="5271675"/>
            <a:ext cx="900910" cy="451760"/>
          </a:xfrm>
          <a:custGeom>
            <a:avLst/>
            <a:gdLst/>
            <a:ahLst/>
            <a:cxnLst/>
            <a:rect l="l" t="t" r="r" b="b"/>
            <a:pathLst>
              <a:path w="900910" h="451760" extrusionOk="0">
                <a:moveTo>
                  <a:pt x="897970" y="451712"/>
                </a:moveTo>
                <a:cubicBezTo>
                  <a:pt x="897970" y="451712"/>
                  <a:pt x="897789" y="451712"/>
                  <a:pt x="897789" y="451712"/>
                </a:cubicBezTo>
                <a:lnTo>
                  <a:pt x="2379" y="320050"/>
                </a:lnTo>
                <a:cubicBezTo>
                  <a:pt x="1113" y="319870"/>
                  <a:pt x="208" y="318965"/>
                  <a:pt x="27" y="317699"/>
                </a:cubicBezTo>
                <a:cubicBezTo>
                  <a:pt x="-153" y="316433"/>
                  <a:pt x="570" y="315348"/>
                  <a:pt x="1836" y="314806"/>
                </a:cubicBezTo>
                <a:lnTo>
                  <a:pt x="829064" y="119"/>
                </a:lnTo>
                <a:cubicBezTo>
                  <a:pt x="829788" y="-62"/>
                  <a:pt x="830692" y="-62"/>
                  <a:pt x="831416" y="300"/>
                </a:cubicBezTo>
                <a:cubicBezTo>
                  <a:pt x="832139" y="661"/>
                  <a:pt x="832682" y="1385"/>
                  <a:pt x="832682" y="2289"/>
                </a:cubicBezTo>
                <a:lnTo>
                  <a:pt x="900864" y="448819"/>
                </a:lnTo>
                <a:cubicBezTo>
                  <a:pt x="901045" y="449723"/>
                  <a:pt x="900683" y="450446"/>
                  <a:pt x="900140" y="451170"/>
                </a:cubicBezTo>
                <a:cubicBezTo>
                  <a:pt x="899598" y="451532"/>
                  <a:pt x="898874" y="451893"/>
                  <a:pt x="897970" y="451712"/>
                </a:cubicBezTo>
                <a:close/>
                <a:moveTo>
                  <a:pt x="13411" y="316252"/>
                </a:moveTo>
                <a:lnTo>
                  <a:pt x="894895" y="445925"/>
                </a:lnTo>
                <a:lnTo>
                  <a:pt x="827799" y="6449"/>
                </a:lnTo>
                <a:lnTo>
                  <a:pt x="13411" y="3162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7" name="Google Shape;1117;p53"/>
          <p:cNvSpPr/>
          <p:nvPr/>
        </p:nvSpPr>
        <p:spPr>
          <a:xfrm>
            <a:off x="7438868" y="5835663"/>
            <a:ext cx="648244" cy="773982"/>
          </a:xfrm>
          <a:custGeom>
            <a:avLst/>
            <a:gdLst/>
            <a:ahLst/>
            <a:cxnLst/>
            <a:rect l="l" t="t" r="r" b="b"/>
            <a:pathLst>
              <a:path w="648244" h="773982" extrusionOk="0">
                <a:moveTo>
                  <a:pt x="2526" y="773911"/>
                </a:moveTo>
                <a:cubicBezTo>
                  <a:pt x="1983" y="773911"/>
                  <a:pt x="1441" y="773730"/>
                  <a:pt x="898" y="773188"/>
                </a:cubicBezTo>
                <a:cubicBezTo>
                  <a:pt x="-6" y="772465"/>
                  <a:pt x="-187" y="771198"/>
                  <a:pt x="175" y="770113"/>
                </a:cubicBezTo>
                <a:lnTo>
                  <a:pt x="350671" y="1663"/>
                </a:lnTo>
                <a:cubicBezTo>
                  <a:pt x="351032" y="758"/>
                  <a:pt x="351937" y="216"/>
                  <a:pt x="352841" y="35"/>
                </a:cubicBezTo>
                <a:cubicBezTo>
                  <a:pt x="353745" y="-146"/>
                  <a:pt x="354649" y="397"/>
                  <a:pt x="355192" y="1120"/>
                </a:cubicBezTo>
                <a:lnTo>
                  <a:pt x="647634" y="386702"/>
                </a:lnTo>
                <a:cubicBezTo>
                  <a:pt x="648176" y="387244"/>
                  <a:pt x="648357" y="388149"/>
                  <a:pt x="648176" y="388872"/>
                </a:cubicBezTo>
                <a:cubicBezTo>
                  <a:pt x="647995" y="389595"/>
                  <a:pt x="647634" y="390319"/>
                  <a:pt x="646910" y="390681"/>
                </a:cubicBezTo>
                <a:lnTo>
                  <a:pt x="4153" y="773550"/>
                </a:lnTo>
                <a:cubicBezTo>
                  <a:pt x="3611" y="773911"/>
                  <a:pt x="3068" y="774092"/>
                  <a:pt x="2526" y="773911"/>
                </a:cubicBezTo>
                <a:close/>
                <a:moveTo>
                  <a:pt x="353745" y="8174"/>
                </a:moveTo>
                <a:lnTo>
                  <a:pt x="8675" y="764507"/>
                </a:lnTo>
                <a:lnTo>
                  <a:pt x="641485" y="387606"/>
                </a:lnTo>
                <a:lnTo>
                  <a:pt x="353745" y="817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8" name="Google Shape;1118;p53"/>
          <p:cNvSpPr/>
          <p:nvPr/>
        </p:nvSpPr>
        <p:spPr>
          <a:xfrm>
            <a:off x="9553051" y="5717926"/>
            <a:ext cx="929840" cy="819487"/>
          </a:xfrm>
          <a:custGeom>
            <a:avLst/>
            <a:gdLst/>
            <a:ahLst/>
            <a:cxnLst/>
            <a:rect l="l" t="t" r="r" b="b"/>
            <a:pathLst>
              <a:path w="929840" h="819487" extrusionOk="0">
                <a:moveTo>
                  <a:pt x="679290" y="819487"/>
                </a:moveTo>
                <a:cubicBezTo>
                  <a:pt x="678566" y="819487"/>
                  <a:pt x="678024" y="819125"/>
                  <a:pt x="677481" y="818583"/>
                </a:cubicBezTo>
                <a:lnTo>
                  <a:pt x="723" y="99505"/>
                </a:lnTo>
                <a:cubicBezTo>
                  <a:pt x="0" y="98782"/>
                  <a:pt x="-181" y="97697"/>
                  <a:pt x="181" y="96793"/>
                </a:cubicBezTo>
                <a:cubicBezTo>
                  <a:pt x="543" y="95888"/>
                  <a:pt x="1447" y="95165"/>
                  <a:pt x="2351" y="94984"/>
                </a:cubicBezTo>
                <a:lnTo>
                  <a:pt x="926879" y="35"/>
                </a:lnTo>
                <a:cubicBezTo>
                  <a:pt x="927784" y="-145"/>
                  <a:pt x="928688" y="397"/>
                  <a:pt x="929230" y="940"/>
                </a:cubicBezTo>
                <a:cubicBezTo>
                  <a:pt x="929773" y="1663"/>
                  <a:pt x="929954" y="2567"/>
                  <a:pt x="929773" y="3472"/>
                </a:cubicBezTo>
                <a:lnTo>
                  <a:pt x="682183" y="817317"/>
                </a:lnTo>
                <a:cubicBezTo>
                  <a:pt x="681822" y="818221"/>
                  <a:pt x="681098" y="818945"/>
                  <a:pt x="680194" y="819125"/>
                </a:cubicBezTo>
                <a:cubicBezTo>
                  <a:pt x="679832" y="819487"/>
                  <a:pt x="679651" y="819487"/>
                  <a:pt x="679290" y="819487"/>
                </a:cubicBezTo>
                <a:close/>
                <a:moveTo>
                  <a:pt x="8319" y="99867"/>
                </a:moveTo>
                <a:lnTo>
                  <a:pt x="678205" y="811529"/>
                </a:lnTo>
                <a:lnTo>
                  <a:pt x="923262" y="6004"/>
                </a:lnTo>
                <a:lnTo>
                  <a:pt x="8319" y="998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19" name="Google Shape;1119;p53"/>
          <p:cNvSpPr/>
          <p:nvPr/>
        </p:nvSpPr>
        <p:spPr>
          <a:xfrm>
            <a:off x="10229741" y="6362415"/>
            <a:ext cx="545548" cy="361639"/>
          </a:xfrm>
          <a:custGeom>
            <a:avLst/>
            <a:gdLst/>
            <a:ahLst/>
            <a:cxnLst/>
            <a:rect l="l" t="t" r="r" b="b"/>
            <a:pathLst>
              <a:path w="545548" h="361639" extrusionOk="0">
                <a:moveTo>
                  <a:pt x="153432" y="361639"/>
                </a:moveTo>
                <a:cubicBezTo>
                  <a:pt x="152528" y="361639"/>
                  <a:pt x="151986" y="361278"/>
                  <a:pt x="151443" y="360735"/>
                </a:cubicBezTo>
                <a:lnTo>
                  <a:pt x="610" y="174093"/>
                </a:lnTo>
                <a:cubicBezTo>
                  <a:pt x="68" y="173370"/>
                  <a:pt x="-113" y="172466"/>
                  <a:pt x="68" y="171562"/>
                </a:cubicBezTo>
                <a:cubicBezTo>
                  <a:pt x="249" y="170657"/>
                  <a:pt x="972" y="170115"/>
                  <a:pt x="1876" y="169753"/>
                </a:cubicBezTo>
                <a:lnTo>
                  <a:pt x="542089" y="111"/>
                </a:lnTo>
                <a:cubicBezTo>
                  <a:pt x="543355" y="-250"/>
                  <a:pt x="544621" y="293"/>
                  <a:pt x="545163" y="1378"/>
                </a:cubicBezTo>
                <a:cubicBezTo>
                  <a:pt x="545887" y="2463"/>
                  <a:pt x="545525" y="3909"/>
                  <a:pt x="544621" y="4633"/>
                </a:cubicBezTo>
                <a:lnTo>
                  <a:pt x="155241" y="360916"/>
                </a:lnTo>
                <a:cubicBezTo>
                  <a:pt x="154879" y="361459"/>
                  <a:pt x="154156" y="361639"/>
                  <a:pt x="153432" y="361639"/>
                </a:cubicBezTo>
                <a:close/>
                <a:moveTo>
                  <a:pt x="7302" y="173551"/>
                </a:moveTo>
                <a:lnTo>
                  <a:pt x="153975" y="354948"/>
                </a:lnTo>
                <a:lnTo>
                  <a:pt x="532323" y="8793"/>
                </a:lnTo>
                <a:lnTo>
                  <a:pt x="7302" y="17355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0" name="Google Shape;1120;p53"/>
          <p:cNvSpPr/>
          <p:nvPr/>
        </p:nvSpPr>
        <p:spPr>
          <a:xfrm>
            <a:off x="10229924" y="5718143"/>
            <a:ext cx="545612" cy="819270"/>
          </a:xfrm>
          <a:custGeom>
            <a:avLst/>
            <a:gdLst/>
            <a:ahLst/>
            <a:cxnLst/>
            <a:rect l="l" t="t" r="r" b="b"/>
            <a:pathLst>
              <a:path w="545612" h="819270" extrusionOk="0">
                <a:moveTo>
                  <a:pt x="2416" y="819271"/>
                </a:moveTo>
                <a:cubicBezTo>
                  <a:pt x="1693" y="819271"/>
                  <a:pt x="1150" y="818909"/>
                  <a:pt x="788" y="818547"/>
                </a:cubicBezTo>
                <a:cubicBezTo>
                  <a:pt x="65" y="817824"/>
                  <a:pt x="-116" y="816738"/>
                  <a:pt x="65" y="815834"/>
                </a:cubicBezTo>
                <a:lnTo>
                  <a:pt x="247655" y="1989"/>
                </a:lnTo>
                <a:cubicBezTo>
                  <a:pt x="248017" y="904"/>
                  <a:pt x="248921" y="181"/>
                  <a:pt x="250006" y="0"/>
                </a:cubicBezTo>
                <a:cubicBezTo>
                  <a:pt x="251091" y="0"/>
                  <a:pt x="252176" y="543"/>
                  <a:pt x="252719" y="1628"/>
                </a:cubicBezTo>
                <a:lnTo>
                  <a:pt x="545341" y="646012"/>
                </a:lnTo>
                <a:cubicBezTo>
                  <a:pt x="545703" y="646735"/>
                  <a:pt x="545703" y="647459"/>
                  <a:pt x="545341" y="648182"/>
                </a:cubicBezTo>
                <a:cubicBezTo>
                  <a:pt x="544980" y="648906"/>
                  <a:pt x="544437" y="649448"/>
                  <a:pt x="543714" y="649629"/>
                </a:cubicBezTo>
                <a:lnTo>
                  <a:pt x="3501" y="819271"/>
                </a:lnTo>
                <a:cubicBezTo>
                  <a:pt x="3140" y="819271"/>
                  <a:pt x="2778" y="819271"/>
                  <a:pt x="2416" y="819271"/>
                </a:cubicBezTo>
                <a:close/>
                <a:moveTo>
                  <a:pt x="250730" y="10128"/>
                </a:moveTo>
                <a:lnTo>
                  <a:pt x="6576" y="812398"/>
                </a:lnTo>
                <a:lnTo>
                  <a:pt x="539012" y="645289"/>
                </a:lnTo>
                <a:lnTo>
                  <a:pt x="250730" y="1012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1" name="Google Shape;1121;p53"/>
          <p:cNvSpPr/>
          <p:nvPr/>
        </p:nvSpPr>
        <p:spPr>
          <a:xfrm>
            <a:off x="10770021" y="5886967"/>
            <a:ext cx="1132510" cy="480804"/>
          </a:xfrm>
          <a:custGeom>
            <a:avLst/>
            <a:gdLst/>
            <a:ahLst/>
            <a:cxnLst/>
            <a:rect l="l" t="t" r="r" b="b"/>
            <a:pathLst>
              <a:path w="1132510" h="480804" extrusionOk="0">
                <a:moveTo>
                  <a:pt x="2532" y="480804"/>
                </a:moveTo>
                <a:cubicBezTo>
                  <a:pt x="1809" y="480804"/>
                  <a:pt x="1085" y="480443"/>
                  <a:pt x="723" y="479900"/>
                </a:cubicBezTo>
                <a:cubicBezTo>
                  <a:pt x="0" y="479177"/>
                  <a:pt x="-181" y="478092"/>
                  <a:pt x="181" y="477187"/>
                </a:cubicBezTo>
                <a:lnTo>
                  <a:pt x="179950" y="1721"/>
                </a:lnTo>
                <a:cubicBezTo>
                  <a:pt x="180493" y="455"/>
                  <a:pt x="181759" y="-269"/>
                  <a:pt x="183025" y="93"/>
                </a:cubicBezTo>
                <a:lnTo>
                  <a:pt x="1130341" y="214767"/>
                </a:lnTo>
                <a:cubicBezTo>
                  <a:pt x="1131607" y="215129"/>
                  <a:pt x="1132511" y="216214"/>
                  <a:pt x="1132511" y="217480"/>
                </a:cubicBezTo>
                <a:cubicBezTo>
                  <a:pt x="1132511" y="218746"/>
                  <a:pt x="1131607" y="219831"/>
                  <a:pt x="1130521" y="220193"/>
                </a:cubicBezTo>
                <a:lnTo>
                  <a:pt x="3617" y="480804"/>
                </a:lnTo>
                <a:cubicBezTo>
                  <a:pt x="3074" y="480804"/>
                  <a:pt x="2894" y="480804"/>
                  <a:pt x="2532" y="480804"/>
                </a:cubicBezTo>
                <a:close/>
                <a:moveTo>
                  <a:pt x="184291" y="5700"/>
                </a:moveTo>
                <a:lnTo>
                  <a:pt x="7053" y="474293"/>
                </a:lnTo>
                <a:lnTo>
                  <a:pt x="1117681" y="217480"/>
                </a:lnTo>
                <a:lnTo>
                  <a:pt x="184291" y="570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2" name="Google Shape;1122;p53"/>
          <p:cNvSpPr/>
          <p:nvPr/>
        </p:nvSpPr>
        <p:spPr>
          <a:xfrm>
            <a:off x="10950107" y="5682851"/>
            <a:ext cx="952637" cy="424309"/>
          </a:xfrm>
          <a:custGeom>
            <a:avLst/>
            <a:gdLst/>
            <a:ahLst/>
            <a:cxnLst/>
            <a:rect l="l" t="t" r="r" b="b"/>
            <a:pathLst>
              <a:path w="952637" h="424309" extrusionOk="0">
                <a:moveTo>
                  <a:pt x="949531" y="424310"/>
                </a:moveTo>
                <a:cubicBezTo>
                  <a:pt x="949350" y="424310"/>
                  <a:pt x="949170" y="424310"/>
                  <a:pt x="949170" y="424310"/>
                </a:cubicBezTo>
                <a:lnTo>
                  <a:pt x="2035" y="209454"/>
                </a:lnTo>
                <a:cubicBezTo>
                  <a:pt x="949" y="209274"/>
                  <a:pt x="226" y="208369"/>
                  <a:pt x="45" y="207465"/>
                </a:cubicBezTo>
                <a:cubicBezTo>
                  <a:pt x="-136" y="206380"/>
                  <a:pt x="226" y="205295"/>
                  <a:pt x="1130" y="204752"/>
                </a:cubicBezTo>
                <a:lnTo>
                  <a:pt x="274763" y="568"/>
                </a:lnTo>
                <a:cubicBezTo>
                  <a:pt x="275667" y="-156"/>
                  <a:pt x="276933" y="-156"/>
                  <a:pt x="277838" y="387"/>
                </a:cubicBezTo>
                <a:lnTo>
                  <a:pt x="951340" y="419426"/>
                </a:lnTo>
                <a:cubicBezTo>
                  <a:pt x="952425" y="420150"/>
                  <a:pt x="952967" y="421597"/>
                  <a:pt x="952425" y="422682"/>
                </a:cubicBezTo>
                <a:cubicBezTo>
                  <a:pt x="951702" y="423767"/>
                  <a:pt x="950617" y="424310"/>
                  <a:pt x="949531" y="424310"/>
                </a:cubicBezTo>
                <a:close/>
                <a:moveTo>
                  <a:pt x="8726" y="205295"/>
                </a:moveTo>
                <a:lnTo>
                  <a:pt x="934520" y="415448"/>
                </a:lnTo>
                <a:lnTo>
                  <a:pt x="276210" y="5812"/>
                </a:lnTo>
                <a:lnTo>
                  <a:pt x="8726" y="20529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3" name="Google Shape;1123;p53"/>
          <p:cNvSpPr/>
          <p:nvPr/>
        </p:nvSpPr>
        <p:spPr>
          <a:xfrm>
            <a:off x="11223569" y="5526728"/>
            <a:ext cx="678816" cy="580432"/>
          </a:xfrm>
          <a:custGeom>
            <a:avLst/>
            <a:gdLst/>
            <a:ahLst/>
            <a:cxnLst/>
            <a:rect l="l" t="t" r="r" b="b"/>
            <a:pathLst>
              <a:path w="678816" h="580432" extrusionOk="0">
                <a:moveTo>
                  <a:pt x="676069" y="580433"/>
                </a:moveTo>
                <a:cubicBezTo>
                  <a:pt x="675707" y="580433"/>
                  <a:pt x="675165" y="580252"/>
                  <a:pt x="674803" y="580071"/>
                </a:cubicBezTo>
                <a:lnTo>
                  <a:pt x="1300" y="161031"/>
                </a:lnTo>
                <a:cubicBezTo>
                  <a:pt x="396" y="160489"/>
                  <a:pt x="-146" y="159404"/>
                  <a:pt x="35" y="158319"/>
                </a:cubicBezTo>
                <a:cubicBezTo>
                  <a:pt x="215" y="157234"/>
                  <a:pt x="939" y="156329"/>
                  <a:pt x="2024" y="156148"/>
                </a:cubicBezTo>
                <a:lnTo>
                  <a:pt x="615844" y="71"/>
                </a:lnTo>
                <a:cubicBezTo>
                  <a:pt x="616568" y="-110"/>
                  <a:pt x="617472" y="71"/>
                  <a:pt x="618014" y="433"/>
                </a:cubicBezTo>
                <a:cubicBezTo>
                  <a:pt x="618738" y="794"/>
                  <a:pt x="619100" y="1518"/>
                  <a:pt x="619100" y="2422"/>
                </a:cubicBezTo>
                <a:lnTo>
                  <a:pt x="678782" y="577720"/>
                </a:lnTo>
                <a:cubicBezTo>
                  <a:pt x="678962" y="578805"/>
                  <a:pt x="678420" y="579710"/>
                  <a:pt x="677515" y="580252"/>
                </a:cubicBezTo>
                <a:cubicBezTo>
                  <a:pt x="677154" y="580252"/>
                  <a:pt x="676611" y="580433"/>
                  <a:pt x="676069" y="580433"/>
                </a:cubicBezTo>
                <a:close/>
                <a:moveTo>
                  <a:pt x="9439" y="159585"/>
                </a:moveTo>
                <a:lnTo>
                  <a:pt x="672994" y="572475"/>
                </a:lnTo>
                <a:lnTo>
                  <a:pt x="614216" y="5858"/>
                </a:lnTo>
                <a:lnTo>
                  <a:pt x="9439" y="1595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4" name="Google Shape;1124;p53"/>
          <p:cNvSpPr/>
          <p:nvPr/>
        </p:nvSpPr>
        <p:spPr>
          <a:xfrm>
            <a:off x="12312393" y="4298293"/>
            <a:ext cx="496810" cy="478321"/>
          </a:xfrm>
          <a:custGeom>
            <a:avLst/>
            <a:gdLst/>
            <a:ahLst/>
            <a:cxnLst/>
            <a:rect l="l" t="t" r="r" b="b"/>
            <a:pathLst>
              <a:path w="496810" h="478321" extrusionOk="0">
                <a:moveTo>
                  <a:pt x="409229" y="478321"/>
                </a:moveTo>
                <a:cubicBezTo>
                  <a:pt x="408505" y="478321"/>
                  <a:pt x="407782" y="477960"/>
                  <a:pt x="407420" y="477417"/>
                </a:cubicBezTo>
                <a:lnTo>
                  <a:pt x="678" y="4483"/>
                </a:lnTo>
                <a:cubicBezTo>
                  <a:pt x="-226" y="3398"/>
                  <a:pt x="-226" y="1951"/>
                  <a:pt x="678" y="866"/>
                </a:cubicBezTo>
                <a:cubicBezTo>
                  <a:pt x="1583" y="-219"/>
                  <a:pt x="3210" y="-219"/>
                  <a:pt x="4295" y="504"/>
                </a:cubicBezTo>
                <a:lnTo>
                  <a:pt x="495677" y="362394"/>
                </a:lnTo>
                <a:cubicBezTo>
                  <a:pt x="496220" y="362755"/>
                  <a:pt x="496581" y="363479"/>
                  <a:pt x="496762" y="364202"/>
                </a:cubicBezTo>
                <a:cubicBezTo>
                  <a:pt x="496943" y="364926"/>
                  <a:pt x="496581" y="365649"/>
                  <a:pt x="496220" y="366192"/>
                </a:cubicBezTo>
                <a:lnTo>
                  <a:pt x="411760" y="477056"/>
                </a:lnTo>
                <a:cubicBezTo>
                  <a:pt x="411218" y="477779"/>
                  <a:pt x="410495" y="478141"/>
                  <a:pt x="409771" y="478141"/>
                </a:cubicBezTo>
                <a:cubicBezTo>
                  <a:pt x="409410" y="478321"/>
                  <a:pt x="409229" y="478321"/>
                  <a:pt x="409229" y="478321"/>
                </a:cubicBezTo>
                <a:close/>
                <a:moveTo>
                  <a:pt x="20030" y="18951"/>
                </a:moveTo>
                <a:lnTo>
                  <a:pt x="409229" y="471268"/>
                </a:lnTo>
                <a:lnTo>
                  <a:pt x="490071" y="365107"/>
                </a:lnTo>
                <a:lnTo>
                  <a:pt x="20030" y="1895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5" name="Google Shape;1125;p53"/>
          <p:cNvSpPr/>
          <p:nvPr/>
        </p:nvSpPr>
        <p:spPr>
          <a:xfrm>
            <a:off x="10380595" y="6362367"/>
            <a:ext cx="1550807" cy="921793"/>
          </a:xfrm>
          <a:custGeom>
            <a:avLst/>
            <a:gdLst/>
            <a:ahLst/>
            <a:cxnLst/>
            <a:rect l="l" t="t" r="r" b="b"/>
            <a:pathLst>
              <a:path w="1550807" h="921793" extrusionOk="0">
                <a:moveTo>
                  <a:pt x="1547980" y="921794"/>
                </a:moveTo>
                <a:cubicBezTo>
                  <a:pt x="1547799" y="921794"/>
                  <a:pt x="1547437" y="921794"/>
                  <a:pt x="1547256" y="921614"/>
                </a:cubicBezTo>
                <a:lnTo>
                  <a:pt x="1855" y="361507"/>
                </a:lnTo>
                <a:cubicBezTo>
                  <a:pt x="950" y="361145"/>
                  <a:pt x="227" y="360422"/>
                  <a:pt x="46" y="359518"/>
                </a:cubicBezTo>
                <a:cubicBezTo>
                  <a:pt x="-135" y="358614"/>
                  <a:pt x="227" y="357710"/>
                  <a:pt x="950" y="356986"/>
                </a:cubicBezTo>
                <a:lnTo>
                  <a:pt x="390330" y="702"/>
                </a:lnTo>
                <a:cubicBezTo>
                  <a:pt x="391234" y="-202"/>
                  <a:pt x="392862" y="-202"/>
                  <a:pt x="393766" y="522"/>
                </a:cubicBezTo>
                <a:lnTo>
                  <a:pt x="1549788" y="916911"/>
                </a:lnTo>
                <a:cubicBezTo>
                  <a:pt x="1550873" y="917815"/>
                  <a:pt x="1551054" y="919262"/>
                  <a:pt x="1550512" y="920347"/>
                </a:cubicBezTo>
                <a:cubicBezTo>
                  <a:pt x="1549969" y="921251"/>
                  <a:pt x="1549065" y="921794"/>
                  <a:pt x="1547980" y="921794"/>
                </a:cubicBezTo>
                <a:close/>
                <a:moveTo>
                  <a:pt x="7823" y="357890"/>
                </a:moveTo>
                <a:lnTo>
                  <a:pt x="1533511" y="910762"/>
                </a:lnTo>
                <a:lnTo>
                  <a:pt x="392320" y="6128"/>
                </a:lnTo>
                <a:lnTo>
                  <a:pt x="7823" y="35789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6" name="Google Shape;1126;p53"/>
          <p:cNvSpPr/>
          <p:nvPr/>
        </p:nvSpPr>
        <p:spPr>
          <a:xfrm>
            <a:off x="10770087" y="6101848"/>
            <a:ext cx="1161381" cy="1182312"/>
          </a:xfrm>
          <a:custGeom>
            <a:avLst/>
            <a:gdLst/>
            <a:ahLst/>
            <a:cxnLst/>
            <a:rect l="l" t="t" r="r" b="b"/>
            <a:pathLst>
              <a:path w="1161381" h="1182312" extrusionOk="0">
                <a:moveTo>
                  <a:pt x="1158488" y="1182313"/>
                </a:moveTo>
                <a:cubicBezTo>
                  <a:pt x="1157946" y="1182313"/>
                  <a:pt x="1157403" y="1182133"/>
                  <a:pt x="1157041" y="1181770"/>
                </a:cubicBezTo>
                <a:lnTo>
                  <a:pt x="1019" y="265381"/>
                </a:lnTo>
                <a:cubicBezTo>
                  <a:pt x="296" y="264658"/>
                  <a:pt x="-246" y="263754"/>
                  <a:pt x="115" y="262669"/>
                </a:cubicBezTo>
                <a:cubicBezTo>
                  <a:pt x="296" y="261584"/>
                  <a:pt x="1200" y="260860"/>
                  <a:pt x="2104" y="260679"/>
                </a:cubicBezTo>
                <a:lnTo>
                  <a:pt x="1129009" y="68"/>
                </a:lnTo>
                <a:cubicBezTo>
                  <a:pt x="1129732" y="-113"/>
                  <a:pt x="1130637" y="68"/>
                  <a:pt x="1131179" y="610"/>
                </a:cubicBezTo>
                <a:cubicBezTo>
                  <a:pt x="1131903" y="1153"/>
                  <a:pt x="1132264" y="1876"/>
                  <a:pt x="1132264" y="2600"/>
                </a:cubicBezTo>
                <a:lnTo>
                  <a:pt x="1161382" y="1179600"/>
                </a:lnTo>
                <a:cubicBezTo>
                  <a:pt x="1161382" y="1180685"/>
                  <a:pt x="1160839" y="1181590"/>
                  <a:pt x="1159935" y="1182133"/>
                </a:cubicBezTo>
                <a:cubicBezTo>
                  <a:pt x="1159393" y="1182133"/>
                  <a:pt x="1159031" y="1182313"/>
                  <a:pt x="1158488" y="1182313"/>
                </a:cubicBezTo>
                <a:close/>
                <a:moveTo>
                  <a:pt x="8796" y="264658"/>
                </a:moveTo>
                <a:lnTo>
                  <a:pt x="1155956" y="1173994"/>
                </a:lnTo>
                <a:lnTo>
                  <a:pt x="1127200" y="6036"/>
                </a:lnTo>
                <a:lnTo>
                  <a:pt x="8796" y="26465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7" name="Google Shape;1127;p53"/>
          <p:cNvSpPr/>
          <p:nvPr/>
        </p:nvSpPr>
        <p:spPr>
          <a:xfrm>
            <a:off x="11896925" y="6101882"/>
            <a:ext cx="411469" cy="1182279"/>
          </a:xfrm>
          <a:custGeom>
            <a:avLst/>
            <a:gdLst/>
            <a:ahLst/>
            <a:cxnLst/>
            <a:rect l="l" t="t" r="r" b="b"/>
            <a:pathLst>
              <a:path w="411469" h="1182279" extrusionOk="0">
                <a:moveTo>
                  <a:pt x="31650" y="1182279"/>
                </a:moveTo>
                <a:cubicBezTo>
                  <a:pt x="31288" y="1182279"/>
                  <a:pt x="30745" y="1182099"/>
                  <a:pt x="30384" y="1181918"/>
                </a:cubicBezTo>
                <a:cubicBezTo>
                  <a:pt x="29660" y="1181375"/>
                  <a:pt x="29118" y="1180651"/>
                  <a:pt x="29118" y="1179747"/>
                </a:cubicBezTo>
                <a:lnTo>
                  <a:pt x="0" y="2747"/>
                </a:lnTo>
                <a:cubicBezTo>
                  <a:pt x="0" y="1481"/>
                  <a:pt x="904" y="395"/>
                  <a:pt x="2170" y="34"/>
                </a:cubicBezTo>
                <a:cubicBezTo>
                  <a:pt x="3436" y="-147"/>
                  <a:pt x="4702" y="395"/>
                  <a:pt x="5245" y="1662"/>
                </a:cubicBezTo>
                <a:lnTo>
                  <a:pt x="411263" y="1013542"/>
                </a:lnTo>
                <a:cubicBezTo>
                  <a:pt x="411806" y="1014808"/>
                  <a:pt x="411263" y="1016436"/>
                  <a:pt x="409816" y="1016978"/>
                </a:cubicBezTo>
                <a:lnTo>
                  <a:pt x="32916" y="1182099"/>
                </a:lnTo>
                <a:cubicBezTo>
                  <a:pt x="32554" y="1182099"/>
                  <a:pt x="32011" y="1182279"/>
                  <a:pt x="31650" y="1182279"/>
                </a:cubicBezTo>
                <a:close/>
                <a:moveTo>
                  <a:pt x="5787" y="17396"/>
                </a:moveTo>
                <a:lnTo>
                  <a:pt x="34363" y="1175407"/>
                </a:lnTo>
                <a:lnTo>
                  <a:pt x="405295" y="1013000"/>
                </a:lnTo>
                <a:lnTo>
                  <a:pt x="5787" y="173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8" name="Google Shape;1128;p53"/>
          <p:cNvSpPr/>
          <p:nvPr/>
        </p:nvSpPr>
        <p:spPr>
          <a:xfrm>
            <a:off x="11667166" y="1647290"/>
            <a:ext cx="1578979" cy="908612"/>
          </a:xfrm>
          <a:custGeom>
            <a:avLst/>
            <a:gdLst/>
            <a:ahLst/>
            <a:cxnLst/>
            <a:rect l="l" t="t" r="r" b="b"/>
            <a:pathLst>
              <a:path w="1578979" h="908612" extrusionOk="0">
                <a:moveTo>
                  <a:pt x="1087733" y="908613"/>
                </a:moveTo>
                <a:cubicBezTo>
                  <a:pt x="1087191" y="908613"/>
                  <a:pt x="1086648" y="908432"/>
                  <a:pt x="1086106" y="908070"/>
                </a:cubicBezTo>
                <a:lnTo>
                  <a:pt x="978" y="4883"/>
                </a:lnTo>
                <a:cubicBezTo>
                  <a:pt x="74" y="4160"/>
                  <a:pt x="-288" y="2894"/>
                  <a:pt x="255" y="1809"/>
                </a:cubicBezTo>
                <a:cubicBezTo>
                  <a:pt x="617" y="723"/>
                  <a:pt x="1702" y="0"/>
                  <a:pt x="2787" y="0"/>
                </a:cubicBezTo>
                <a:lnTo>
                  <a:pt x="1576221" y="42320"/>
                </a:lnTo>
                <a:cubicBezTo>
                  <a:pt x="1577125" y="42501"/>
                  <a:pt x="1578029" y="42863"/>
                  <a:pt x="1578572" y="43767"/>
                </a:cubicBezTo>
                <a:cubicBezTo>
                  <a:pt x="1579115" y="44671"/>
                  <a:pt x="1579115" y="45575"/>
                  <a:pt x="1578572" y="46480"/>
                </a:cubicBezTo>
                <a:lnTo>
                  <a:pt x="1090446" y="907166"/>
                </a:lnTo>
                <a:cubicBezTo>
                  <a:pt x="1090084" y="907889"/>
                  <a:pt x="1089361" y="908251"/>
                  <a:pt x="1088637" y="908432"/>
                </a:cubicBezTo>
                <a:cubicBezTo>
                  <a:pt x="1088276" y="908613"/>
                  <a:pt x="1087914" y="908613"/>
                  <a:pt x="1087733" y="908613"/>
                </a:cubicBezTo>
                <a:close/>
                <a:moveTo>
                  <a:pt x="10383" y="5606"/>
                </a:moveTo>
                <a:lnTo>
                  <a:pt x="1087191" y="901559"/>
                </a:lnTo>
                <a:lnTo>
                  <a:pt x="1571519" y="47746"/>
                </a:lnTo>
                <a:lnTo>
                  <a:pt x="10383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29" name="Google Shape;1129;p53"/>
          <p:cNvSpPr/>
          <p:nvPr/>
        </p:nvSpPr>
        <p:spPr>
          <a:xfrm>
            <a:off x="11418169" y="3220227"/>
            <a:ext cx="800128" cy="326757"/>
          </a:xfrm>
          <a:custGeom>
            <a:avLst/>
            <a:gdLst/>
            <a:ahLst/>
            <a:cxnLst/>
            <a:rect l="l" t="t" r="r" b="b"/>
            <a:pathLst>
              <a:path w="800128" h="326757" extrusionOk="0">
                <a:moveTo>
                  <a:pt x="797241" y="326758"/>
                </a:moveTo>
                <a:cubicBezTo>
                  <a:pt x="797241" y="326758"/>
                  <a:pt x="797060" y="326758"/>
                  <a:pt x="797241" y="326758"/>
                </a:cubicBezTo>
                <a:lnTo>
                  <a:pt x="2385" y="231809"/>
                </a:lnTo>
                <a:cubicBezTo>
                  <a:pt x="1300" y="231628"/>
                  <a:pt x="215" y="230724"/>
                  <a:pt x="34" y="229639"/>
                </a:cubicBezTo>
                <a:cubicBezTo>
                  <a:pt x="-147" y="228554"/>
                  <a:pt x="396" y="227288"/>
                  <a:pt x="1481" y="226745"/>
                </a:cubicBezTo>
                <a:lnTo>
                  <a:pt x="431011" y="315"/>
                </a:lnTo>
                <a:cubicBezTo>
                  <a:pt x="431915" y="-227"/>
                  <a:pt x="433181" y="-46"/>
                  <a:pt x="434085" y="677"/>
                </a:cubicBezTo>
                <a:lnTo>
                  <a:pt x="799230" y="322056"/>
                </a:lnTo>
                <a:cubicBezTo>
                  <a:pt x="800134" y="322779"/>
                  <a:pt x="800315" y="324045"/>
                  <a:pt x="799954" y="325130"/>
                </a:cubicBezTo>
                <a:cubicBezTo>
                  <a:pt x="799411" y="326215"/>
                  <a:pt x="798326" y="326758"/>
                  <a:pt x="797241" y="326758"/>
                </a:cubicBezTo>
                <a:close/>
                <a:moveTo>
                  <a:pt x="11609" y="227469"/>
                </a:moveTo>
                <a:lnTo>
                  <a:pt x="789284" y="320428"/>
                </a:lnTo>
                <a:lnTo>
                  <a:pt x="431734" y="5922"/>
                </a:lnTo>
                <a:lnTo>
                  <a:pt x="11609" y="22746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0" name="Google Shape;1130;p53"/>
          <p:cNvSpPr/>
          <p:nvPr/>
        </p:nvSpPr>
        <p:spPr>
          <a:xfrm>
            <a:off x="7789351" y="5740322"/>
            <a:ext cx="391984" cy="486563"/>
          </a:xfrm>
          <a:custGeom>
            <a:avLst/>
            <a:gdLst/>
            <a:ahLst/>
            <a:cxnLst/>
            <a:rect l="l" t="t" r="r" b="b"/>
            <a:pathLst>
              <a:path w="391984" h="486563" extrusionOk="0">
                <a:moveTo>
                  <a:pt x="294981" y="486564"/>
                </a:moveTo>
                <a:cubicBezTo>
                  <a:pt x="294258" y="486564"/>
                  <a:pt x="293534" y="486202"/>
                  <a:pt x="292992" y="485478"/>
                </a:cubicBezTo>
                <a:lnTo>
                  <a:pt x="550" y="99897"/>
                </a:lnTo>
                <a:cubicBezTo>
                  <a:pt x="7" y="99173"/>
                  <a:pt x="-174" y="98269"/>
                  <a:pt x="188" y="97365"/>
                </a:cubicBezTo>
                <a:cubicBezTo>
                  <a:pt x="550" y="96461"/>
                  <a:pt x="1273" y="95918"/>
                  <a:pt x="1997" y="95556"/>
                </a:cubicBezTo>
                <a:lnTo>
                  <a:pt x="388664" y="65"/>
                </a:lnTo>
                <a:cubicBezTo>
                  <a:pt x="389568" y="-116"/>
                  <a:pt x="390472" y="65"/>
                  <a:pt x="391196" y="788"/>
                </a:cubicBezTo>
                <a:cubicBezTo>
                  <a:pt x="391919" y="1512"/>
                  <a:pt x="392100" y="2416"/>
                  <a:pt x="391919" y="3320"/>
                </a:cubicBezTo>
                <a:lnTo>
                  <a:pt x="297513" y="484393"/>
                </a:lnTo>
                <a:cubicBezTo>
                  <a:pt x="297332" y="485478"/>
                  <a:pt x="296428" y="486202"/>
                  <a:pt x="295524" y="486564"/>
                </a:cubicBezTo>
                <a:cubicBezTo>
                  <a:pt x="295524" y="486564"/>
                  <a:pt x="295162" y="486564"/>
                  <a:pt x="294981" y="486564"/>
                </a:cubicBezTo>
                <a:close/>
                <a:moveTo>
                  <a:pt x="7422" y="99897"/>
                </a:moveTo>
                <a:lnTo>
                  <a:pt x="293715" y="477521"/>
                </a:lnTo>
                <a:lnTo>
                  <a:pt x="386132" y="6395"/>
                </a:lnTo>
                <a:lnTo>
                  <a:pt x="7422" y="998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1" name="Google Shape;1131;p53"/>
          <p:cNvSpPr/>
          <p:nvPr/>
        </p:nvSpPr>
        <p:spPr>
          <a:xfrm>
            <a:off x="7789358" y="5296887"/>
            <a:ext cx="392092" cy="544417"/>
          </a:xfrm>
          <a:custGeom>
            <a:avLst/>
            <a:gdLst/>
            <a:ahLst/>
            <a:cxnLst/>
            <a:rect l="l" t="t" r="r" b="b"/>
            <a:pathLst>
              <a:path w="392092" h="544417" extrusionOk="0">
                <a:moveTo>
                  <a:pt x="2532" y="544417"/>
                </a:moveTo>
                <a:cubicBezTo>
                  <a:pt x="1809" y="544417"/>
                  <a:pt x="904" y="543875"/>
                  <a:pt x="543" y="543332"/>
                </a:cubicBezTo>
                <a:cubicBezTo>
                  <a:pt x="-181" y="542428"/>
                  <a:pt x="-181" y="541162"/>
                  <a:pt x="543" y="540258"/>
                </a:cubicBezTo>
                <a:lnTo>
                  <a:pt x="361890" y="1130"/>
                </a:lnTo>
                <a:cubicBezTo>
                  <a:pt x="362613" y="226"/>
                  <a:pt x="363698" y="-136"/>
                  <a:pt x="364784" y="45"/>
                </a:cubicBezTo>
                <a:cubicBezTo>
                  <a:pt x="365869" y="407"/>
                  <a:pt x="366773" y="1311"/>
                  <a:pt x="366773" y="2577"/>
                </a:cubicBezTo>
                <a:lnTo>
                  <a:pt x="392093" y="446213"/>
                </a:lnTo>
                <a:cubicBezTo>
                  <a:pt x="392093" y="447479"/>
                  <a:pt x="391369" y="448745"/>
                  <a:pt x="390103" y="448926"/>
                </a:cubicBezTo>
                <a:lnTo>
                  <a:pt x="3436" y="544417"/>
                </a:lnTo>
                <a:cubicBezTo>
                  <a:pt x="3075" y="544417"/>
                  <a:pt x="2894" y="544417"/>
                  <a:pt x="2532" y="544417"/>
                </a:cubicBezTo>
                <a:close/>
                <a:moveTo>
                  <a:pt x="361890" y="10716"/>
                </a:moveTo>
                <a:lnTo>
                  <a:pt x="8862" y="537364"/>
                </a:lnTo>
                <a:lnTo>
                  <a:pt x="386667" y="444043"/>
                </a:lnTo>
                <a:lnTo>
                  <a:pt x="361890" y="1071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2" name="Google Shape;1132;p53"/>
          <p:cNvSpPr/>
          <p:nvPr/>
        </p:nvSpPr>
        <p:spPr>
          <a:xfrm>
            <a:off x="11223604" y="5365565"/>
            <a:ext cx="619269" cy="322445"/>
          </a:xfrm>
          <a:custGeom>
            <a:avLst/>
            <a:gdLst/>
            <a:ahLst/>
            <a:cxnLst/>
            <a:rect l="l" t="t" r="r" b="b"/>
            <a:pathLst>
              <a:path w="619269" h="322445" extrusionOk="0">
                <a:moveTo>
                  <a:pt x="2532" y="322375"/>
                </a:moveTo>
                <a:cubicBezTo>
                  <a:pt x="1808" y="322375"/>
                  <a:pt x="1266" y="322013"/>
                  <a:pt x="723" y="321471"/>
                </a:cubicBezTo>
                <a:cubicBezTo>
                  <a:pt x="0" y="320747"/>
                  <a:pt x="-181" y="319662"/>
                  <a:pt x="181" y="318758"/>
                </a:cubicBezTo>
                <a:lnTo>
                  <a:pt x="100917" y="1901"/>
                </a:lnTo>
                <a:cubicBezTo>
                  <a:pt x="101278" y="454"/>
                  <a:pt x="102906" y="-270"/>
                  <a:pt x="104353" y="92"/>
                </a:cubicBezTo>
                <a:lnTo>
                  <a:pt x="617437" y="160691"/>
                </a:lnTo>
                <a:cubicBezTo>
                  <a:pt x="618522" y="161053"/>
                  <a:pt x="619427" y="162138"/>
                  <a:pt x="619246" y="163404"/>
                </a:cubicBezTo>
                <a:cubicBezTo>
                  <a:pt x="619246" y="164670"/>
                  <a:pt x="618342" y="165574"/>
                  <a:pt x="617257" y="165936"/>
                </a:cubicBezTo>
                <a:lnTo>
                  <a:pt x="3436" y="322013"/>
                </a:lnTo>
                <a:cubicBezTo>
                  <a:pt x="3074" y="322375"/>
                  <a:pt x="2713" y="322556"/>
                  <a:pt x="2532" y="322375"/>
                </a:cubicBezTo>
                <a:close/>
                <a:moveTo>
                  <a:pt x="105076" y="6241"/>
                </a:moveTo>
                <a:lnTo>
                  <a:pt x="6511" y="315864"/>
                </a:lnTo>
                <a:lnTo>
                  <a:pt x="606405" y="163223"/>
                </a:lnTo>
                <a:lnTo>
                  <a:pt x="105076" y="6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3" name="Google Shape;1133;p53"/>
          <p:cNvSpPr/>
          <p:nvPr/>
        </p:nvSpPr>
        <p:spPr>
          <a:xfrm>
            <a:off x="11389267" y="4298327"/>
            <a:ext cx="928173" cy="363625"/>
          </a:xfrm>
          <a:custGeom>
            <a:avLst/>
            <a:gdLst/>
            <a:ahLst/>
            <a:cxnLst/>
            <a:rect l="l" t="t" r="r" b="b"/>
            <a:pathLst>
              <a:path w="928173" h="363625" extrusionOk="0">
                <a:moveTo>
                  <a:pt x="204185" y="363626"/>
                </a:moveTo>
                <a:cubicBezTo>
                  <a:pt x="204004" y="363626"/>
                  <a:pt x="203823" y="363626"/>
                  <a:pt x="203461" y="363445"/>
                </a:cubicBezTo>
                <a:lnTo>
                  <a:pt x="1808" y="296348"/>
                </a:lnTo>
                <a:cubicBezTo>
                  <a:pt x="723" y="295986"/>
                  <a:pt x="0" y="294901"/>
                  <a:pt x="0" y="293816"/>
                </a:cubicBezTo>
                <a:cubicBezTo>
                  <a:pt x="0" y="292731"/>
                  <a:pt x="723" y="291646"/>
                  <a:pt x="1808" y="291284"/>
                </a:cubicBezTo>
                <a:lnTo>
                  <a:pt x="924709" y="109"/>
                </a:lnTo>
                <a:cubicBezTo>
                  <a:pt x="926156" y="-253"/>
                  <a:pt x="927422" y="289"/>
                  <a:pt x="927964" y="1736"/>
                </a:cubicBezTo>
                <a:cubicBezTo>
                  <a:pt x="928507" y="3002"/>
                  <a:pt x="927964" y="4449"/>
                  <a:pt x="926699" y="5172"/>
                </a:cubicBezTo>
                <a:lnTo>
                  <a:pt x="205270" y="363445"/>
                </a:lnTo>
                <a:cubicBezTo>
                  <a:pt x="205089" y="363626"/>
                  <a:pt x="204546" y="363626"/>
                  <a:pt x="204185" y="363626"/>
                </a:cubicBezTo>
                <a:close/>
                <a:moveTo>
                  <a:pt x="11394" y="293997"/>
                </a:moveTo>
                <a:lnTo>
                  <a:pt x="204004" y="358019"/>
                </a:lnTo>
                <a:lnTo>
                  <a:pt x="893421" y="15662"/>
                </a:lnTo>
                <a:lnTo>
                  <a:pt x="11394" y="2939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4" name="Google Shape;1134;p53"/>
          <p:cNvSpPr/>
          <p:nvPr/>
        </p:nvSpPr>
        <p:spPr>
          <a:xfrm>
            <a:off x="10409171" y="5271606"/>
            <a:ext cx="269818" cy="451816"/>
          </a:xfrm>
          <a:custGeom>
            <a:avLst/>
            <a:gdLst/>
            <a:ahLst/>
            <a:cxnLst/>
            <a:rect l="l" t="t" r="r" b="b"/>
            <a:pathLst>
              <a:path w="269818" h="451816" extrusionOk="0">
                <a:moveTo>
                  <a:pt x="70759" y="451782"/>
                </a:moveTo>
                <a:cubicBezTo>
                  <a:pt x="70578" y="451782"/>
                  <a:pt x="70578" y="451782"/>
                  <a:pt x="70398" y="451782"/>
                </a:cubicBezTo>
                <a:cubicBezTo>
                  <a:pt x="69313" y="451601"/>
                  <a:pt x="68408" y="450697"/>
                  <a:pt x="68228" y="449612"/>
                </a:cubicBezTo>
                <a:lnTo>
                  <a:pt x="45" y="3082"/>
                </a:lnTo>
                <a:cubicBezTo>
                  <a:pt x="-136" y="2178"/>
                  <a:pt x="226" y="1093"/>
                  <a:pt x="1130" y="550"/>
                </a:cubicBezTo>
                <a:cubicBezTo>
                  <a:pt x="1854" y="7"/>
                  <a:pt x="2939" y="-174"/>
                  <a:pt x="3843" y="188"/>
                </a:cubicBezTo>
                <a:lnTo>
                  <a:pt x="268253" y="112318"/>
                </a:lnTo>
                <a:cubicBezTo>
                  <a:pt x="268976" y="112680"/>
                  <a:pt x="269518" y="113222"/>
                  <a:pt x="269699" y="113946"/>
                </a:cubicBezTo>
                <a:cubicBezTo>
                  <a:pt x="269880" y="114669"/>
                  <a:pt x="269880" y="115392"/>
                  <a:pt x="269518" y="116116"/>
                </a:cubicBezTo>
                <a:lnTo>
                  <a:pt x="73291" y="450516"/>
                </a:lnTo>
                <a:cubicBezTo>
                  <a:pt x="72749" y="451420"/>
                  <a:pt x="71845" y="451962"/>
                  <a:pt x="70759" y="451782"/>
                </a:cubicBezTo>
                <a:close/>
                <a:moveTo>
                  <a:pt x="6194" y="7061"/>
                </a:moveTo>
                <a:lnTo>
                  <a:pt x="72387" y="441292"/>
                </a:lnTo>
                <a:lnTo>
                  <a:pt x="263369" y="116116"/>
                </a:lnTo>
                <a:lnTo>
                  <a:pt x="6194" y="706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5" name="Google Shape;1135;p53"/>
          <p:cNvSpPr/>
          <p:nvPr/>
        </p:nvSpPr>
        <p:spPr>
          <a:xfrm>
            <a:off x="10477563" y="5383743"/>
            <a:ext cx="477787" cy="508562"/>
          </a:xfrm>
          <a:custGeom>
            <a:avLst/>
            <a:gdLst/>
            <a:ahLst/>
            <a:cxnLst/>
            <a:rect l="l" t="t" r="r" b="b"/>
            <a:pathLst>
              <a:path w="477787" h="508562" extrusionOk="0">
                <a:moveTo>
                  <a:pt x="474940" y="508563"/>
                </a:moveTo>
                <a:cubicBezTo>
                  <a:pt x="474759" y="508563"/>
                  <a:pt x="474398" y="508563"/>
                  <a:pt x="474217" y="508382"/>
                </a:cubicBezTo>
                <a:lnTo>
                  <a:pt x="1825" y="339645"/>
                </a:lnTo>
                <a:cubicBezTo>
                  <a:pt x="1101" y="339464"/>
                  <a:pt x="559" y="338740"/>
                  <a:pt x="197" y="338017"/>
                </a:cubicBezTo>
                <a:cubicBezTo>
                  <a:pt x="-164" y="337293"/>
                  <a:pt x="16" y="336389"/>
                  <a:pt x="378" y="335666"/>
                </a:cubicBezTo>
                <a:lnTo>
                  <a:pt x="196605" y="1266"/>
                </a:lnTo>
                <a:cubicBezTo>
                  <a:pt x="197148" y="362"/>
                  <a:pt x="198052" y="0"/>
                  <a:pt x="198956" y="0"/>
                </a:cubicBezTo>
                <a:cubicBezTo>
                  <a:pt x="199861" y="0"/>
                  <a:pt x="200765" y="543"/>
                  <a:pt x="201307" y="1447"/>
                </a:cubicBezTo>
                <a:lnTo>
                  <a:pt x="477472" y="504584"/>
                </a:lnTo>
                <a:cubicBezTo>
                  <a:pt x="478015" y="505488"/>
                  <a:pt x="477834" y="506754"/>
                  <a:pt x="477111" y="507659"/>
                </a:cubicBezTo>
                <a:cubicBezTo>
                  <a:pt x="476568" y="508201"/>
                  <a:pt x="475664" y="508563"/>
                  <a:pt x="474940" y="508563"/>
                </a:cubicBezTo>
                <a:close/>
                <a:moveTo>
                  <a:pt x="6527" y="335485"/>
                </a:moveTo>
                <a:lnTo>
                  <a:pt x="469153" y="500786"/>
                </a:lnTo>
                <a:lnTo>
                  <a:pt x="198775" y="7958"/>
                </a:lnTo>
                <a:lnTo>
                  <a:pt x="6527" y="3354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6" name="Google Shape;1136;p53"/>
          <p:cNvSpPr/>
          <p:nvPr/>
        </p:nvSpPr>
        <p:spPr>
          <a:xfrm>
            <a:off x="10673852" y="5383799"/>
            <a:ext cx="555177" cy="508505"/>
          </a:xfrm>
          <a:custGeom>
            <a:avLst/>
            <a:gdLst/>
            <a:ahLst/>
            <a:cxnLst/>
            <a:rect l="l" t="t" r="r" b="b"/>
            <a:pathLst>
              <a:path w="555177" h="508505" extrusionOk="0">
                <a:moveTo>
                  <a:pt x="278651" y="508506"/>
                </a:moveTo>
                <a:cubicBezTo>
                  <a:pt x="278470" y="508506"/>
                  <a:pt x="278470" y="508506"/>
                  <a:pt x="278289" y="508506"/>
                </a:cubicBezTo>
                <a:cubicBezTo>
                  <a:pt x="277565" y="508325"/>
                  <a:pt x="276842" y="507783"/>
                  <a:pt x="276480" y="507240"/>
                </a:cubicBezTo>
                <a:lnTo>
                  <a:pt x="315" y="4103"/>
                </a:lnTo>
                <a:cubicBezTo>
                  <a:pt x="-227" y="3018"/>
                  <a:pt x="-46" y="1752"/>
                  <a:pt x="677" y="848"/>
                </a:cubicBezTo>
                <a:cubicBezTo>
                  <a:pt x="1582" y="-57"/>
                  <a:pt x="2847" y="-237"/>
                  <a:pt x="3933" y="305"/>
                </a:cubicBezTo>
                <a:lnTo>
                  <a:pt x="553730" y="299258"/>
                </a:lnTo>
                <a:cubicBezTo>
                  <a:pt x="554635" y="299619"/>
                  <a:pt x="554996" y="300523"/>
                  <a:pt x="555177" y="301428"/>
                </a:cubicBezTo>
                <a:cubicBezTo>
                  <a:pt x="555177" y="302332"/>
                  <a:pt x="554815" y="303236"/>
                  <a:pt x="554092" y="303779"/>
                </a:cubicBezTo>
                <a:lnTo>
                  <a:pt x="280459" y="507963"/>
                </a:lnTo>
                <a:cubicBezTo>
                  <a:pt x="279917" y="508325"/>
                  <a:pt x="279193" y="508506"/>
                  <a:pt x="278651" y="508506"/>
                </a:cubicBezTo>
                <a:close/>
                <a:moveTo>
                  <a:pt x="9358" y="9348"/>
                </a:moveTo>
                <a:lnTo>
                  <a:pt x="279555" y="501814"/>
                </a:lnTo>
                <a:lnTo>
                  <a:pt x="547400" y="301970"/>
                </a:lnTo>
                <a:lnTo>
                  <a:pt x="9358" y="93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7" name="Google Shape;1137;p53"/>
          <p:cNvSpPr/>
          <p:nvPr/>
        </p:nvSpPr>
        <p:spPr>
          <a:xfrm>
            <a:off x="10673876" y="5365657"/>
            <a:ext cx="655897" cy="322353"/>
          </a:xfrm>
          <a:custGeom>
            <a:avLst/>
            <a:gdLst/>
            <a:ahLst/>
            <a:cxnLst/>
            <a:rect l="l" t="t" r="r" b="b"/>
            <a:pathLst>
              <a:path w="655897" h="322353" extrusionOk="0">
                <a:moveTo>
                  <a:pt x="552260" y="322283"/>
                </a:moveTo>
                <a:cubicBezTo>
                  <a:pt x="551899" y="322283"/>
                  <a:pt x="551537" y="322102"/>
                  <a:pt x="551175" y="321921"/>
                </a:cubicBezTo>
                <a:lnTo>
                  <a:pt x="1377" y="22969"/>
                </a:lnTo>
                <a:cubicBezTo>
                  <a:pt x="292" y="22426"/>
                  <a:pt x="-250" y="21160"/>
                  <a:pt x="112" y="19894"/>
                </a:cubicBezTo>
                <a:cubicBezTo>
                  <a:pt x="473" y="18628"/>
                  <a:pt x="1377" y="17905"/>
                  <a:pt x="2644" y="17905"/>
                </a:cubicBezTo>
                <a:lnTo>
                  <a:pt x="653177" y="0"/>
                </a:lnTo>
                <a:cubicBezTo>
                  <a:pt x="654082" y="0"/>
                  <a:pt x="654805" y="362"/>
                  <a:pt x="655347" y="1085"/>
                </a:cubicBezTo>
                <a:cubicBezTo>
                  <a:pt x="655890" y="1809"/>
                  <a:pt x="656071" y="2713"/>
                  <a:pt x="655709" y="3436"/>
                </a:cubicBezTo>
                <a:lnTo>
                  <a:pt x="554973" y="320293"/>
                </a:lnTo>
                <a:cubicBezTo>
                  <a:pt x="554792" y="321017"/>
                  <a:pt x="554250" y="321740"/>
                  <a:pt x="553346" y="321921"/>
                </a:cubicBezTo>
                <a:cubicBezTo>
                  <a:pt x="552984" y="322283"/>
                  <a:pt x="552622" y="322463"/>
                  <a:pt x="552260" y="322283"/>
                </a:cubicBezTo>
                <a:close/>
                <a:moveTo>
                  <a:pt x="12771" y="23149"/>
                </a:moveTo>
                <a:lnTo>
                  <a:pt x="550814" y="315772"/>
                </a:lnTo>
                <a:lnTo>
                  <a:pt x="649379" y="5606"/>
                </a:lnTo>
                <a:lnTo>
                  <a:pt x="12771" y="231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8" name="Google Shape;1138;p53"/>
          <p:cNvSpPr/>
          <p:nvPr/>
        </p:nvSpPr>
        <p:spPr>
          <a:xfrm>
            <a:off x="8150705" y="5296786"/>
            <a:ext cx="365687" cy="449027"/>
          </a:xfrm>
          <a:custGeom>
            <a:avLst/>
            <a:gdLst/>
            <a:ahLst/>
            <a:cxnLst/>
            <a:rect l="l" t="t" r="r" b="b"/>
            <a:pathLst>
              <a:path w="365687" h="449027" extrusionOk="0">
                <a:moveTo>
                  <a:pt x="27852" y="449028"/>
                </a:moveTo>
                <a:cubicBezTo>
                  <a:pt x="27490" y="449028"/>
                  <a:pt x="27128" y="448847"/>
                  <a:pt x="26767" y="448666"/>
                </a:cubicBezTo>
                <a:cubicBezTo>
                  <a:pt x="26043" y="448123"/>
                  <a:pt x="25501" y="447400"/>
                  <a:pt x="25320" y="446496"/>
                </a:cubicBezTo>
                <a:lnTo>
                  <a:pt x="0" y="2860"/>
                </a:lnTo>
                <a:cubicBezTo>
                  <a:pt x="0" y="1774"/>
                  <a:pt x="543" y="870"/>
                  <a:pt x="1447" y="328"/>
                </a:cubicBezTo>
                <a:cubicBezTo>
                  <a:pt x="2351" y="-215"/>
                  <a:pt x="3436" y="-34"/>
                  <a:pt x="4341" y="508"/>
                </a:cubicBezTo>
                <a:lnTo>
                  <a:pt x="364603" y="265460"/>
                </a:lnTo>
                <a:cubicBezTo>
                  <a:pt x="365326" y="266003"/>
                  <a:pt x="365688" y="266907"/>
                  <a:pt x="365688" y="267811"/>
                </a:cubicBezTo>
                <a:cubicBezTo>
                  <a:pt x="365688" y="268716"/>
                  <a:pt x="365145" y="269620"/>
                  <a:pt x="364241" y="269981"/>
                </a:cubicBezTo>
                <a:lnTo>
                  <a:pt x="29298" y="448666"/>
                </a:lnTo>
                <a:cubicBezTo>
                  <a:pt x="28937" y="448847"/>
                  <a:pt x="28394" y="449028"/>
                  <a:pt x="27852" y="449028"/>
                </a:cubicBezTo>
                <a:close/>
                <a:moveTo>
                  <a:pt x="5607" y="8104"/>
                </a:moveTo>
                <a:lnTo>
                  <a:pt x="30384" y="441793"/>
                </a:lnTo>
                <a:lnTo>
                  <a:pt x="357730" y="267088"/>
                </a:lnTo>
                <a:lnTo>
                  <a:pt x="5607" y="810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39" name="Google Shape;1139;p53"/>
          <p:cNvSpPr/>
          <p:nvPr/>
        </p:nvSpPr>
        <p:spPr>
          <a:xfrm>
            <a:off x="9671101" y="3931462"/>
            <a:ext cx="559634" cy="144884"/>
          </a:xfrm>
          <a:custGeom>
            <a:avLst/>
            <a:gdLst/>
            <a:ahLst/>
            <a:cxnLst/>
            <a:rect l="l" t="t" r="r" b="b"/>
            <a:pathLst>
              <a:path w="559634" h="144884" extrusionOk="0">
                <a:moveTo>
                  <a:pt x="18134" y="144884"/>
                </a:moveTo>
                <a:cubicBezTo>
                  <a:pt x="17591" y="144884"/>
                  <a:pt x="17229" y="144703"/>
                  <a:pt x="16868" y="144522"/>
                </a:cubicBezTo>
                <a:cubicBezTo>
                  <a:pt x="16144" y="144161"/>
                  <a:pt x="15782" y="143437"/>
                  <a:pt x="15782" y="142714"/>
                </a:cubicBezTo>
                <a:lnTo>
                  <a:pt x="48" y="33840"/>
                </a:lnTo>
                <a:cubicBezTo>
                  <a:pt x="-133" y="33116"/>
                  <a:pt x="229" y="32393"/>
                  <a:pt x="591" y="31669"/>
                </a:cubicBezTo>
                <a:cubicBezTo>
                  <a:pt x="1133" y="31127"/>
                  <a:pt x="1857" y="30765"/>
                  <a:pt x="2580" y="30765"/>
                </a:cubicBezTo>
                <a:lnTo>
                  <a:pt x="556718" y="20"/>
                </a:lnTo>
                <a:cubicBezTo>
                  <a:pt x="558165" y="-161"/>
                  <a:pt x="559250" y="924"/>
                  <a:pt x="559612" y="2371"/>
                </a:cubicBezTo>
                <a:cubicBezTo>
                  <a:pt x="559793" y="3818"/>
                  <a:pt x="558889" y="5084"/>
                  <a:pt x="557623" y="5445"/>
                </a:cubicBezTo>
                <a:lnTo>
                  <a:pt x="19219" y="144884"/>
                </a:lnTo>
                <a:cubicBezTo>
                  <a:pt x="18676" y="144884"/>
                  <a:pt x="18495" y="144884"/>
                  <a:pt x="18134" y="144884"/>
                </a:cubicBezTo>
                <a:close/>
                <a:moveTo>
                  <a:pt x="5655" y="35829"/>
                </a:moveTo>
                <a:lnTo>
                  <a:pt x="20665" y="138735"/>
                </a:lnTo>
                <a:lnTo>
                  <a:pt x="529952" y="6712"/>
                </a:lnTo>
                <a:lnTo>
                  <a:pt x="5655" y="3582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0" name="Google Shape;1140;p53"/>
          <p:cNvSpPr/>
          <p:nvPr/>
        </p:nvSpPr>
        <p:spPr>
          <a:xfrm>
            <a:off x="7614788" y="4827769"/>
            <a:ext cx="755067" cy="291926"/>
          </a:xfrm>
          <a:custGeom>
            <a:avLst/>
            <a:gdLst/>
            <a:ahLst/>
            <a:cxnLst/>
            <a:rect l="l" t="t" r="r" b="b"/>
            <a:pathLst>
              <a:path w="755067" h="291926" extrusionOk="0">
                <a:moveTo>
                  <a:pt x="287242" y="291927"/>
                </a:moveTo>
                <a:cubicBezTo>
                  <a:pt x="286700" y="291927"/>
                  <a:pt x="286338" y="291746"/>
                  <a:pt x="285795" y="291384"/>
                </a:cubicBezTo>
                <a:lnTo>
                  <a:pt x="1130" y="93891"/>
                </a:lnTo>
                <a:cubicBezTo>
                  <a:pt x="226" y="93348"/>
                  <a:pt x="-136" y="92083"/>
                  <a:pt x="45" y="90997"/>
                </a:cubicBezTo>
                <a:cubicBezTo>
                  <a:pt x="407" y="89912"/>
                  <a:pt x="1311" y="89189"/>
                  <a:pt x="2396" y="89008"/>
                </a:cubicBezTo>
                <a:lnTo>
                  <a:pt x="752038" y="27"/>
                </a:lnTo>
                <a:cubicBezTo>
                  <a:pt x="753304" y="-153"/>
                  <a:pt x="754570" y="570"/>
                  <a:pt x="754932" y="1836"/>
                </a:cubicBezTo>
                <a:cubicBezTo>
                  <a:pt x="755294" y="3102"/>
                  <a:pt x="754932" y="4368"/>
                  <a:pt x="753847" y="5091"/>
                </a:cubicBezTo>
                <a:lnTo>
                  <a:pt x="288689" y="291565"/>
                </a:lnTo>
                <a:cubicBezTo>
                  <a:pt x="288327" y="291746"/>
                  <a:pt x="287785" y="291927"/>
                  <a:pt x="287242" y="291927"/>
                </a:cubicBezTo>
                <a:close/>
                <a:moveTo>
                  <a:pt x="9992" y="93529"/>
                </a:moveTo>
                <a:lnTo>
                  <a:pt x="287423" y="285959"/>
                </a:lnTo>
                <a:lnTo>
                  <a:pt x="740464" y="6719"/>
                </a:lnTo>
                <a:lnTo>
                  <a:pt x="9992" y="9352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1" name="Google Shape;1141;p53"/>
          <p:cNvSpPr/>
          <p:nvPr/>
        </p:nvSpPr>
        <p:spPr>
          <a:xfrm>
            <a:off x="7789511" y="5114443"/>
            <a:ext cx="366634" cy="726861"/>
          </a:xfrm>
          <a:custGeom>
            <a:avLst/>
            <a:gdLst/>
            <a:ahLst/>
            <a:cxnLst/>
            <a:rect l="l" t="t" r="r" b="b"/>
            <a:pathLst>
              <a:path w="366634" h="726861" extrusionOk="0">
                <a:moveTo>
                  <a:pt x="2379" y="726861"/>
                </a:moveTo>
                <a:cubicBezTo>
                  <a:pt x="2017" y="726861"/>
                  <a:pt x="1836" y="726861"/>
                  <a:pt x="1655" y="726680"/>
                </a:cubicBezTo>
                <a:cubicBezTo>
                  <a:pt x="570" y="726138"/>
                  <a:pt x="-153" y="725053"/>
                  <a:pt x="28" y="723787"/>
                </a:cubicBezTo>
                <a:lnTo>
                  <a:pt x="109987" y="2177"/>
                </a:lnTo>
                <a:cubicBezTo>
                  <a:pt x="110168" y="1273"/>
                  <a:pt x="110711" y="369"/>
                  <a:pt x="111615" y="188"/>
                </a:cubicBezTo>
                <a:cubicBezTo>
                  <a:pt x="112519" y="-173"/>
                  <a:pt x="113423" y="7"/>
                  <a:pt x="114328" y="550"/>
                </a:cubicBezTo>
                <a:lnTo>
                  <a:pt x="365535" y="183032"/>
                </a:lnTo>
                <a:cubicBezTo>
                  <a:pt x="366620" y="183936"/>
                  <a:pt x="366982" y="185564"/>
                  <a:pt x="366258" y="186649"/>
                </a:cubicBezTo>
                <a:lnTo>
                  <a:pt x="4911" y="725776"/>
                </a:lnTo>
                <a:cubicBezTo>
                  <a:pt x="4187" y="726500"/>
                  <a:pt x="3283" y="726861"/>
                  <a:pt x="2379" y="726861"/>
                </a:cubicBezTo>
                <a:close/>
                <a:moveTo>
                  <a:pt x="114689" y="7241"/>
                </a:moveTo>
                <a:lnTo>
                  <a:pt x="7081" y="712574"/>
                </a:lnTo>
                <a:lnTo>
                  <a:pt x="360290" y="185564"/>
                </a:lnTo>
                <a:lnTo>
                  <a:pt x="114689" y="7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2" name="Google Shape;1142;p53"/>
          <p:cNvSpPr/>
          <p:nvPr/>
        </p:nvSpPr>
        <p:spPr>
          <a:xfrm>
            <a:off x="7899498" y="4827409"/>
            <a:ext cx="470396" cy="474667"/>
          </a:xfrm>
          <a:custGeom>
            <a:avLst/>
            <a:gdLst/>
            <a:ahLst/>
            <a:cxnLst/>
            <a:rect l="l" t="t" r="r" b="b"/>
            <a:pathLst>
              <a:path w="470396" h="474667" extrusionOk="0">
                <a:moveTo>
                  <a:pt x="253739" y="474587"/>
                </a:moveTo>
                <a:cubicBezTo>
                  <a:pt x="253196" y="474587"/>
                  <a:pt x="252835" y="474406"/>
                  <a:pt x="252292" y="474045"/>
                </a:cubicBezTo>
                <a:lnTo>
                  <a:pt x="1085" y="291562"/>
                </a:lnTo>
                <a:cubicBezTo>
                  <a:pt x="362" y="291020"/>
                  <a:pt x="0" y="290116"/>
                  <a:pt x="0" y="289211"/>
                </a:cubicBezTo>
                <a:cubicBezTo>
                  <a:pt x="0" y="288307"/>
                  <a:pt x="543" y="287584"/>
                  <a:pt x="1266" y="287041"/>
                </a:cubicBezTo>
                <a:lnTo>
                  <a:pt x="466243" y="387"/>
                </a:lnTo>
                <a:cubicBezTo>
                  <a:pt x="467147" y="-156"/>
                  <a:pt x="468594" y="-156"/>
                  <a:pt x="469498" y="568"/>
                </a:cubicBezTo>
                <a:cubicBezTo>
                  <a:pt x="470403" y="1291"/>
                  <a:pt x="470583" y="2557"/>
                  <a:pt x="470222" y="3642"/>
                </a:cubicBezTo>
                <a:lnTo>
                  <a:pt x="256271" y="473140"/>
                </a:lnTo>
                <a:cubicBezTo>
                  <a:pt x="255909" y="473864"/>
                  <a:pt x="255367" y="474406"/>
                  <a:pt x="254462" y="474587"/>
                </a:cubicBezTo>
                <a:cubicBezTo>
                  <a:pt x="254281" y="474587"/>
                  <a:pt x="253920" y="474768"/>
                  <a:pt x="253739" y="474587"/>
                </a:cubicBezTo>
                <a:close/>
                <a:moveTo>
                  <a:pt x="7415" y="289754"/>
                </a:moveTo>
                <a:lnTo>
                  <a:pt x="252835" y="467896"/>
                </a:lnTo>
                <a:lnTo>
                  <a:pt x="461541" y="9972"/>
                </a:lnTo>
                <a:lnTo>
                  <a:pt x="7415" y="2897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3" name="Google Shape;1143;p53"/>
          <p:cNvSpPr/>
          <p:nvPr/>
        </p:nvSpPr>
        <p:spPr>
          <a:xfrm>
            <a:off x="8150453" y="4827912"/>
            <a:ext cx="796909" cy="534490"/>
          </a:xfrm>
          <a:custGeom>
            <a:avLst/>
            <a:gdLst/>
            <a:ahLst/>
            <a:cxnLst/>
            <a:rect l="l" t="t" r="r" b="b"/>
            <a:pathLst>
              <a:path w="796909" h="534490" extrusionOk="0">
                <a:moveTo>
                  <a:pt x="794022" y="534490"/>
                </a:moveTo>
                <a:cubicBezTo>
                  <a:pt x="794022" y="534490"/>
                  <a:pt x="794022" y="534490"/>
                  <a:pt x="794022" y="534490"/>
                </a:cubicBezTo>
                <a:lnTo>
                  <a:pt x="2603" y="474266"/>
                </a:lnTo>
                <a:cubicBezTo>
                  <a:pt x="1699" y="474266"/>
                  <a:pt x="975" y="473723"/>
                  <a:pt x="433" y="473000"/>
                </a:cubicBezTo>
                <a:cubicBezTo>
                  <a:pt x="-110" y="472276"/>
                  <a:pt x="-110" y="471372"/>
                  <a:pt x="252" y="470468"/>
                </a:cubicBezTo>
                <a:lnTo>
                  <a:pt x="214022" y="1512"/>
                </a:lnTo>
                <a:cubicBezTo>
                  <a:pt x="214384" y="789"/>
                  <a:pt x="215107" y="246"/>
                  <a:pt x="216011" y="65"/>
                </a:cubicBezTo>
                <a:cubicBezTo>
                  <a:pt x="216916" y="-116"/>
                  <a:pt x="217639" y="65"/>
                  <a:pt x="218363" y="789"/>
                </a:cubicBezTo>
                <a:lnTo>
                  <a:pt x="796012" y="530150"/>
                </a:lnTo>
                <a:cubicBezTo>
                  <a:pt x="796916" y="530873"/>
                  <a:pt x="797097" y="532139"/>
                  <a:pt x="796735" y="533224"/>
                </a:cubicBezTo>
                <a:cubicBezTo>
                  <a:pt x="796193" y="533947"/>
                  <a:pt x="795288" y="534490"/>
                  <a:pt x="794022" y="534490"/>
                </a:cubicBezTo>
                <a:close/>
                <a:moveTo>
                  <a:pt x="6944" y="469021"/>
                </a:moveTo>
                <a:lnTo>
                  <a:pt x="786607" y="528341"/>
                </a:lnTo>
                <a:lnTo>
                  <a:pt x="217458" y="6757"/>
                </a:lnTo>
                <a:lnTo>
                  <a:pt x="6944" y="46902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4" name="Google Shape;1144;p53"/>
          <p:cNvSpPr/>
          <p:nvPr/>
        </p:nvSpPr>
        <p:spPr>
          <a:xfrm>
            <a:off x="8150747" y="5296752"/>
            <a:ext cx="796475" cy="270377"/>
          </a:xfrm>
          <a:custGeom>
            <a:avLst/>
            <a:gdLst/>
            <a:ahLst/>
            <a:cxnLst/>
            <a:rect l="l" t="t" r="r" b="b"/>
            <a:pathLst>
              <a:path w="796475" h="270377" extrusionOk="0">
                <a:moveTo>
                  <a:pt x="362752" y="270377"/>
                </a:moveTo>
                <a:cubicBezTo>
                  <a:pt x="362209" y="270377"/>
                  <a:pt x="361667" y="270197"/>
                  <a:pt x="361305" y="269835"/>
                </a:cubicBezTo>
                <a:lnTo>
                  <a:pt x="1043" y="4883"/>
                </a:lnTo>
                <a:cubicBezTo>
                  <a:pt x="139" y="4160"/>
                  <a:pt x="-223" y="2894"/>
                  <a:pt x="139" y="1808"/>
                </a:cubicBezTo>
                <a:cubicBezTo>
                  <a:pt x="500" y="723"/>
                  <a:pt x="1585" y="0"/>
                  <a:pt x="2851" y="0"/>
                </a:cubicBezTo>
                <a:cubicBezTo>
                  <a:pt x="2851" y="0"/>
                  <a:pt x="2851" y="0"/>
                  <a:pt x="2851" y="0"/>
                </a:cubicBezTo>
                <a:lnTo>
                  <a:pt x="794090" y="60225"/>
                </a:lnTo>
                <a:cubicBezTo>
                  <a:pt x="795356" y="60225"/>
                  <a:pt x="796260" y="61129"/>
                  <a:pt x="796441" y="62395"/>
                </a:cubicBezTo>
                <a:cubicBezTo>
                  <a:pt x="796622" y="63661"/>
                  <a:pt x="796079" y="64746"/>
                  <a:pt x="794994" y="65288"/>
                </a:cubicBezTo>
                <a:lnTo>
                  <a:pt x="364018" y="270016"/>
                </a:lnTo>
                <a:cubicBezTo>
                  <a:pt x="363656" y="270197"/>
                  <a:pt x="363294" y="270377"/>
                  <a:pt x="362752" y="270377"/>
                </a:cubicBezTo>
                <a:close/>
                <a:moveTo>
                  <a:pt x="11894" y="5968"/>
                </a:moveTo>
                <a:lnTo>
                  <a:pt x="363294" y="264409"/>
                </a:lnTo>
                <a:lnTo>
                  <a:pt x="783600" y="64746"/>
                </a:lnTo>
                <a:lnTo>
                  <a:pt x="11894" y="59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5" name="Google Shape;1145;p53"/>
          <p:cNvSpPr/>
          <p:nvPr/>
        </p:nvSpPr>
        <p:spPr>
          <a:xfrm>
            <a:off x="8511329" y="5357083"/>
            <a:ext cx="436319" cy="298122"/>
          </a:xfrm>
          <a:custGeom>
            <a:avLst/>
            <a:gdLst/>
            <a:ahLst/>
            <a:cxnLst/>
            <a:rect l="l" t="t" r="r" b="b"/>
            <a:pathLst>
              <a:path w="436319" h="298122" extrusionOk="0">
                <a:moveTo>
                  <a:pt x="228238" y="298122"/>
                </a:moveTo>
                <a:cubicBezTo>
                  <a:pt x="227877" y="298122"/>
                  <a:pt x="227696" y="298122"/>
                  <a:pt x="227515" y="297941"/>
                </a:cubicBezTo>
                <a:lnTo>
                  <a:pt x="1628" y="209865"/>
                </a:lnTo>
                <a:cubicBezTo>
                  <a:pt x="543" y="209504"/>
                  <a:pt x="0" y="208599"/>
                  <a:pt x="0" y="207514"/>
                </a:cubicBezTo>
                <a:cubicBezTo>
                  <a:pt x="0" y="206429"/>
                  <a:pt x="543" y="205525"/>
                  <a:pt x="1447" y="204982"/>
                </a:cubicBezTo>
                <a:lnTo>
                  <a:pt x="432423" y="255"/>
                </a:lnTo>
                <a:cubicBezTo>
                  <a:pt x="433508" y="-288"/>
                  <a:pt x="434774" y="74"/>
                  <a:pt x="435678" y="978"/>
                </a:cubicBezTo>
                <a:cubicBezTo>
                  <a:pt x="436402" y="1883"/>
                  <a:pt x="436583" y="3330"/>
                  <a:pt x="435859" y="4234"/>
                </a:cubicBezTo>
                <a:lnTo>
                  <a:pt x="230770" y="297037"/>
                </a:lnTo>
                <a:cubicBezTo>
                  <a:pt x="230047" y="297761"/>
                  <a:pt x="229143" y="298122"/>
                  <a:pt x="228238" y="298122"/>
                </a:cubicBezTo>
                <a:close/>
                <a:moveTo>
                  <a:pt x="9224" y="206972"/>
                </a:moveTo>
                <a:lnTo>
                  <a:pt x="227334" y="291973"/>
                </a:lnTo>
                <a:lnTo>
                  <a:pt x="425370" y="9298"/>
                </a:lnTo>
                <a:lnTo>
                  <a:pt x="9224" y="20697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6" name="Google Shape;1146;p53"/>
          <p:cNvSpPr/>
          <p:nvPr/>
        </p:nvSpPr>
        <p:spPr>
          <a:xfrm>
            <a:off x="8737010" y="5357121"/>
            <a:ext cx="850611" cy="298264"/>
          </a:xfrm>
          <a:custGeom>
            <a:avLst/>
            <a:gdLst/>
            <a:ahLst/>
            <a:cxnLst/>
            <a:rect l="l" t="t" r="r" b="b"/>
            <a:pathLst>
              <a:path w="850611" h="298264" extrusionOk="0">
                <a:moveTo>
                  <a:pt x="2557" y="298084"/>
                </a:moveTo>
                <a:cubicBezTo>
                  <a:pt x="1653" y="298084"/>
                  <a:pt x="929" y="297541"/>
                  <a:pt x="387" y="296818"/>
                </a:cubicBezTo>
                <a:cubicBezTo>
                  <a:pt x="-156" y="295914"/>
                  <a:pt x="-156" y="294828"/>
                  <a:pt x="568" y="293924"/>
                </a:cubicBezTo>
                <a:lnTo>
                  <a:pt x="205657" y="1121"/>
                </a:lnTo>
                <a:cubicBezTo>
                  <a:pt x="206380" y="216"/>
                  <a:pt x="207646" y="-326"/>
                  <a:pt x="208731" y="216"/>
                </a:cubicBezTo>
                <a:lnTo>
                  <a:pt x="848775" y="229540"/>
                </a:lnTo>
                <a:cubicBezTo>
                  <a:pt x="850041" y="229902"/>
                  <a:pt x="850765" y="231168"/>
                  <a:pt x="850584" y="232434"/>
                </a:cubicBezTo>
                <a:cubicBezTo>
                  <a:pt x="850403" y="233700"/>
                  <a:pt x="849318" y="234604"/>
                  <a:pt x="848052" y="234785"/>
                </a:cubicBezTo>
                <a:lnTo>
                  <a:pt x="2919" y="298265"/>
                </a:lnTo>
                <a:cubicBezTo>
                  <a:pt x="2738" y="298084"/>
                  <a:pt x="2557" y="298084"/>
                  <a:pt x="2557" y="298084"/>
                </a:cubicBezTo>
                <a:close/>
                <a:moveTo>
                  <a:pt x="208731" y="5823"/>
                </a:moveTo>
                <a:lnTo>
                  <a:pt x="8163" y="292297"/>
                </a:lnTo>
                <a:lnTo>
                  <a:pt x="835030" y="230263"/>
                </a:lnTo>
                <a:lnTo>
                  <a:pt x="208731" y="582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7" name="Google Shape;1147;p53"/>
          <p:cNvSpPr/>
          <p:nvPr/>
        </p:nvSpPr>
        <p:spPr>
          <a:xfrm>
            <a:off x="8521999" y="5812894"/>
            <a:ext cx="1300768" cy="1081344"/>
          </a:xfrm>
          <a:custGeom>
            <a:avLst/>
            <a:gdLst/>
            <a:ahLst/>
            <a:cxnLst/>
            <a:rect l="l" t="t" r="r" b="b"/>
            <a:pathLst>
              <a:path w="1300768" h="1081344" extrusionOk="0">
                <a:moveTo>
                  <a:pt x="1297993" y="1081345"/>
                </a:moveTo>
                <a:cubicBezTo>
                  <a:pt x="1297812" y="1081345"/>
                  <a:pt x="1297450" y="1081345"/>
                  <a:pt x="1297269" y="1081164"/>
                </a:cubicBezTo>
                <a:lnTo>
                  <a:pt x="1809" y="593400"/>
                </a:lnTo>
                <a:cubicBezTo>
                  <a:pt x="904" y="593038"/>
                  <a:pt x="181" y="592134"/>
                  <a:pt x="0" y="591049"/>
                </a:cubicBezTo>
                <a:cubicBezTo>
                  <a:pt x="0" y="589964"/>
                  <a:pt x="362" y="589059"/>
                  <a:pt x="1266" y="588516"/>
                </a:cubicBezTo>
                <a:lnTo>
                  <a:pt x="1032317" y="378"/>
                </a:lnTo>
                <a:cubicBezTo>
                  <a:pt x="1033041" y="16"/>
                  <a:pt x="1033945" y="-165"/>
                  <a:pt x="1034669" y="197"/>
                </a:cubicBezTo>
                <a:cubicBezTo>
                  <a:pt x="1035392" y="559"/>
                  <a:pt x="1035935" y="1282"/>
                  <a:pt x="1036296" y="2006"/>
                </a:cubicBezTo>
                <a:lnTo>
                  <a:pt x="1300706" y="1077909"/>
                </a:lnTo>
                <a:cubicBezTo>
                  <a:pt x="1300887" y="1078813"/>
                  <a:pt x="1300706" y="1079898"/>
                  <a:pt x="1299801" y="1080622"/>
                </a:cubicBezTo>
                <a:cubicBezTo>
                  <a:pt x="1299440" y="1081164"/>
                  <a:pt x="1298716" y="1081345"/>
                  <a:pt x="1297993" y="1081345"/>
                </a:cubicBezTo>
                <a:close/>
                <a:moveTo>
                  <a:pt x="9043" y="590325"/>
                </a:moveTo>
                <a:lnTo>
                  <a:pt x="1294376" y="1074292"/>
                </a:lnTo>
                <a:lnTo>
                  <a:pt x="1031956" y="6889"/>
                </a:lnTo>
                <a:lnTo>
                  <a:pt x="9043" y="5903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8" name="Google Shape;1148;p53"/>
          <p:cNvSpPr/>
          <p:nvPr/>
        </p:nvSpPr>
        <p:spPr>
          <a:xfrm>
            <a:off x="9552939" y="5812786"/>
            <a:ext cx="682113" cy="1081452"/>
          </a:xfrm>
          <a:custGeom>
            <a:avLst/>
            <a:gdLst/>
            <a:ahLst/>
            <a:cxnLst/>
            <a:rect l="l" t="t" r="r" b="b"/>
            <a:pathLst>
              <a:path w="682113" h="1081452" extrusionOk="0">
                <a:moveTo>
                  <a:pt x="267053" y="1081453"/>
                </a:moveTo>
                <a:cubicBezTo>
                  <a:pt x="266872" y="1081453"/>
                  <a:pt x="266691" y="1081453"/>
                  <a:pt x="266329" y="1081272"/>
                </a:cubicBezTo>
                <a:cubicBezTo>
                  <a:pt x="265425" y="1080910"/>
                  <a:pt x="264702" y="1080187"/>
                  <a:pt x="264521" y="1079283"/>
                </a:cubicBezTo>
                <a:lnTo>
                  <a:pt x="112" y="3380"/>
                </a:lnTo>
                <a:cubicBezTo>
                  <a:pt x="-250" y="2114"/>
                  <a:pt x="292" y="1029"/>
                  <a:pt x="1378" y="305"/>
                </a:cubicBezTo>
                <a:cubicBezTo>
                  <a:pt x="2463" y="-237"/>
                  <a:pt x="3729" y="-57"/>
                  <a:pt x="4633" y="848"/>
                </a:cubicBezTo>
                <a:lnTo>
                  <a:pt x="681391" y="719925"/>
                </a:lnTo>
                <a:cubicBezTo>
                  <a:pt x="681933" y="720467"/>
                  <a:pt x="682114" y="721191"/>
                  <a:pt x="682114" y="721915"/>
                </a:cubicBezTo>
                <a:cubicBezTo>
                  <a:pt x="682114" y="722638"/>
                  <a:pt x="681752" y="723361"/>
                  <a:pt x="681210" y="723904"/>
                </a:cubicBezTo>
                <a:lnTo>
                  <a:pt x="268862" y="1080730"/>
                </a:lnTo>
                <a:cubicBezTo>
                  <a:pt x="268500" y="1081272"/>
                  <a:pt x="267776" y="1081453"/>
                  <a:pt x="267053" y="1081453"/>
                </a:cubicBezTo>
                <a:close/>
                <a:moveTo>
                  <a:pt x="7888" y="12241"/>
                </a:moveTo>
                <a:lnTo>
                  <a:pt x="268862" y="1073857"/>
                </a:lnTo>
                <a:lnTo>
                  <a:pt x="675784" y="721734"/>
                </a:lnTo>
                <a:lnTo>
                  <a:pt x="7888" y="1224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49" name="Google Shape;1149;p53"/>
          <p:cNvSpPr/>
          <p:nvPr/>
        </p:nvSpPr>
        <p:spPr>
          <a:xfrm>
            <a:off x="11837424" y="5519022"/>
            <a:ext cx="186167" cy="588138"/>
          </a:xfrm>
          <a:custGeom>
            <a:avLst/>
            <a:gdLst/>
            <a:ahLst/>
            <a:cxnLst/>
            <a:rect l="l" t="t" r="r" b="b"/>
            <a:pathLst>
              <a:path w="186167" h="588138" extrusionOk="0">
                <a:moveTo>
                  <a:pt x="62214" y="588139"/>
                </a:moveTo>
                <a:cubicBezTo>
                  <a:pt x="60948" y="588139"/>
                  <a:pt x="59863" y="587054"/>
                  <a:pt x="59682" y="585788"/>
                </a:cubicBezTo>
                <a:lnTo>
                  <a:pt x="0" y="10490"/>
                </a:lnTo>
                <a:cubicBezTo>
                  <a:pt x="0" y="9766"/>
                  <a:pt x="181" y="9043"/>
                  <a:pt x="723" y="8500"/>
                </a:cubicBezTo>
                <a:cubicBezTo>
                  <a:pt x="1266" y="7958"/>
                  <a:pt x="1989" y="7596"/>
                  <a:pt x="2713" y="7596"/>
                </a:cubicBezTo>
                <a:lnTo>
                  <a:pt x="183386" y="0"/>
                </a:lnTo>
                <a:cubicBezTo>
                  <a:pt x="184291" y="0"/>
                  <a:pt x="185014" y="362"/>
                  <a:pt x="185557" y="904"/>
                </a:cubicBezTo>
                <a:cubicBezTo>
                  <a:pt x="186099" y="1628"/>
                  <a:pt x="186280" y="2351"/>
                  <a:pt x="186099" y="3256"/>
                </a:cubicBezTo>
                <a:lnTo>
                  <a:pt x="65107" y="586149"/>
                </a:lnTo>
                <a:cubicBezTo>
                  <a:pt x="64746" y="587234"/>
                  <a:pt x="63480" y="588139"/>
                  <a:pt x="62214" y="588139"/>
                </a:cubicBezTo>
                <a:cubicBezTo>
                  <a:pt x="62214" y="588139"/>
                  <a:pt x="62214" y="588139"/>
                  <a:pt x="62214" y="588139"/>
                </a:cubicBezTo>
                <a:close/>
                <a:moveTo>
                  <a:pt x="5606" y="12660"/>
                </a:moveTo>
                <a:lnTo>
                  <a:pt x="63299" y="567883"/>
                </a:lnTo>
                <a:lnTo>
                  <a:pt x="180131" y="5426"/>
                </a:lnTo>
                <a:lnTo>
                  <a:pt x="5606" y="1266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0" name="Google Shape;1150;p53"/>
          <p:cNvSpPr/>
          <p:nvPr/>
        </p:nvSpPr>
        <p:spPr>
          <a:xfrm>
            <a:off x="11897219" y="5518880"/>
            <a:ext cx="646079" cy="588280"/>
          </a:xfrm>
          <a:custGeom>
            <a:avLst/>
            <a:gdLst/>
            <a:ahLst/>
            <a:cxnLst/>
            <a:rect l="l" t="t" r="r" b="b"/>
            <a:pathLst>
              <a:path w="646079" h="588280" extrusionOk="0">
                <a:moveTo>
                  <a:pt x="2419" y="588281"/>
                </a:moveTo>
                <a:cubicBezTo>
                  <a:pt x="1695" y="588281"/>
                  <a:pt x="972" y="587919"/>
                  <a:pt x="610" y="587376"/>
                </a:cubicBezTo>
                <a:cubicBezTo>
                  <a:pt x="68" y="586653"/>
                  <a:pt x="-113" y="585929"/>
                  <a:pt x="68" y="585025"/>
                </a:cubicBezTo>
                <a:lnTo>
                  <a:pt x="121059" y="2131"/>
                </a:lnTo>
                <a:cubicBezTo>
                  <a:pt x="121240" y="1227"/>
                  <a:pt x="121964" y="323"/>
                  <a:pt x="123049" y="142"/>
                </a:cubicBezTo>
                <a:cubicBezTo>
                  <a:pt x="123953" y="-220"/>
                  <a:pt x="125038" y="142"/>
                  <a:pt x="125762" y="865"/>
                </a:cubicBezTo>
                <a:lnTo>
                  <a:pt x="645357" y="543609"/>
                </a:lnTo>
                <a:cubicBezTo>
                  <a:pt x="646080" y="544333"/>
                  <a:pt x="646261" y="545418"/>
                  <a:pt x="645899" y="546503"/>
                </a:cubicBezTo>
                <a:cubicBezTo>
                  <a:pt x="645537" y="547408"/>
                  <a:pt x="644633" y="548131"/>
                  <a:pt x="643548" y="548131"/>
                </a:cubicBezTo>
                <a:lnTo>
                  <a:pt x="2600" y="588281"/>
                </a:lnTo>
                <a:cubicBezTo>
                  <a:pt x="2600" y="588281"/>
                  <a:pt x="2419" y="588281"/>
                  <a:pt x="2419" y="588281"/>
                </a:cubicBezTo>
                <a:close/>
                <a:moveTo>
                  <a:pt x="125038" y="8280"/>
                </a:moveTo>
                <a:lnTo>
                  <a:pt x="5855" y="582674"/>
                </a:lnTo>
                <a:lnTo>
                  <a:pt x="637037" y="543067"/>
                </a:lnTo>
                <a:lnTo>
                  <a:pt x="125038" y="828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1" name="Google Shape;1151;p53"/>
          <p:cNvSpPr/>
          <p:nvPr/>
        </p:nvSpPr>
        <p:spPr>
          <a:xfrm>
            <a:off x="12017917" y="5518841"/>
            <a:ext cx="524867" cy="548169"/>
          </a:xfrm>
          <a:custGeom>
            <a:avLst/>
            <a:gdLst/>
            <a:ahLst/>
            <a:cxnLst/>
            <a:rect l="l" t="t" r="r" b="b"/>
            <a:pathLst>
              <a:path w="524867" h="548169" extrusionOk="0">
                <a:moveTo>
                  <a:pt x="522127" y="548170"/>
                </a:moveTo>
                <a:cubicBezTo>
                  <a:pt x="521403" y="548170"/>
                  <a:pt x="520861" y="547808"/>
                  <a:pt x="520318" y="547265"/>
                </a:cubicBezTo>
                <a:lnTo>
                  <a:pt x="723" y="4521"/>
                </a:lnTo>
                <a:cubicBezTo>
                  <a:pt x="0" y="3798"/>
                  <a:pt x="-181" y="2532"/>
                  <a:pt x="181" y="1447"/>
                </a:cubicBezTo>
                <a:cubicBezTo>
                  <a:pt x="723" y="362"/>
                  <a:pt x="1809" y="0"/>
                  <a:pt x="2894" y="0"/>
                </a:cubicBezTo>
                <a:lnTo>
                  <a:pt x="457924" y="40511"/>
                </a:lnTo>
                <a:cubicBezTo>
                  <a:pt x="459190" y="40692"/>
                  <a:pt x="460275" y="41597"/>
                  <a:pt x="460275" y="42862"/>
                </a:cubicBezTo>
                <a:lnTo>
                  <a:pt x="524840" y="545095"/>
                </a:lnTo>
                <a:cubicBezTo>
                  <a:pt x="525021" y="546180"/>
                  <a:pt x="524297" y="547446"/>
                  <a:pt x="523393" y="547808"/>
                </a:cubicBezTo>
                <a:cubicBezTo>
                  <a:pt x="523031" y="548170"/>
                  <a:pt x="522669" y="548170"/>
                  <a:pt x="522127" y="548170"/>
                </a:cubicBezTo>
                <a:close/>
                <a:moveTo>
                  <a:pt x="9766" y="5968"/>
                </a:moveTo>
                <a:lnTo>
                  <a:pt x="518691" y="537680"/>
                </a:lnTo>
                <a:lnTo>
                  <a:pt x="455573" y="45756"/>
                </a:lnTo>
                <a:lnTo>
                  <a:pt x="9766" y="59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2" name="Google Shape;1152;p53"/>
          <p:cNvSpPr/>
          <p:nvPr/>
        </p:nvSpPr>
        <p:spPr>
          <a:xfrm>
            <a:off x="12312147" y="4224077"/>
            <a:ext cx="453714" cy="81954"/>
          </a:xfrm>
          <a:custGeom>
            <a:avLst/>
            <a:gdLst/>
            <a:ahLst/>
            <a:cxnLst/>
            <a:rect l="l" t="t" r="r" b="b"/>
            <a:pathLst>
              <a:path w="453714" h="81954" extrusionOk="0">
                <a:moveTo>
                  <a:pt x="2552" y="79603"/>
                </a:moveTo>
                <a:cubicBezTo>
                  <a:pt x="1286" y="79603"/>
                  <a:pt x="201" y="78518"/>
                  <a:pt x="20" y="77071"/>
                </a:cubicBezTo>
                <a:cubicBezTo>
                  <a:pt x="-161" y="75625"/>
                  <a:pt x="924" y="74359"/>
                  <a:pt x="2190" y="74178"/>
                </a:cubicBezTo>
                <a:lnTo>
                  <a:pt x="450528" y="28"/>
                </a:lnTo>
                <a:cubicBezTo>
                  <a:pt x="451794" y="-153"/>
                  <a:pt x="453061" y="570"/>
                  <a:pt x="453603" y="1836"/>
                </a:cubicBezTo>
                <a:cubicBezTo>
                  <a:pt x="453965" y="3102"/>
                  <a:pt x="453422" y="4549"/>
                  <a:pt x="452337" y="5091"/>
                </a:cubicBezTo>
                <a:lnTo>
                  <a:pt x="304217" y="81593"/>
                </a:lnTo>
                <a:cubicBezTo>
                  <a:pt x="303856" y="81774"/>
                  <a:pt x="303313" y="81955"/>
                  <a:pt x="302951" y="81955"/>
                </a:cubicBezTo>
                <a:lnTo>
                  <a:pt x="2552" y="79603"/>
                </a:lnTo>
                <a:cubicBezTo>
                  <a:pt x="2733" y="79603"/>
                  <a:pt x="2733" y="79603"/>
                  <a:pt x="2552" y="79603"/>
                </a:cubicBezTo>
                <a:close/>
                <a:moveTo>
                  <a:pt x="434613" y="8166"/>
                </a:moveTo>
                <a:lnTo>
                  <a:pt x="34020" y="74539"/>
                </a:lnTo>
                <a:lnTo>
                  <a:pt x="302408" y="76710"/>
                </a:lnTo>
                <a:lnTo>
                  <a:pt x="434613" y="816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3" name="Google Shape;1153;p53"/>
          <p:cNvSpPr/>
          <p:nvPr/>
        </p:nvSpPr>
        <p:spPr>
          <a:xfrm>
            <a:off x="12312209" y="4298254"/>
            <a:ext cx="496708" cy="367380"/>
          </a:xfrm>
          <a:custGeom>
            <a:avLst/>
            <a:gdLst/>
            <a:ahLst/>
            <a:cxnLst/>
            <a:rect l="l" t="t" r="r" b="b"/>
            <a:pathLst>
              <a:path w="496708" h="367380" extrusionOk="0">
                <a:moveTo>
                  <a:pt x="493871" y="367315"/>
                </a:moveTo>
                <a:cubicBezTo>
                  <a:pt x="493329" y="367315"/>
                  <a:pt x="492786" y="367135"/>
                  <a:pt x="492425" y="366773"/>
                </a:cubicBezTo>
                <a:lnTo>
                  <a:pt x="1043" y="4883"/>
                </a:lnTo>
                <a:cubicBezTo>
                  <a:pt x="139" y="4160"/>
                  <a:pt x="-223" y="2894"/>
                  <a:pt x="139" y="1809"/>
                </a:cubicBezTo>
                <a:cubicBezTo>
                  <a:pt x="500" y="724"/>
                  <a:pt x="1585" y="0"/>
                  <a:pt x="2671" y="0"/>
                </a:cubicBezTo>
                <a:lnTo>
                  <a:pt x="302889" y="2351"/>
                </a:lnTo>
                <a:cubicBezTo>
                  <a:pt x="303974" y="2351"/>
                  <a:pt x="304697" y="2894"/>
                  <a:pt x="305240" y="3798"/>
                </a:cubicBezTo>
                <a:lnTo>
                  <a:pt x="496403" y="363337"/>
                </a:lnTo>
                <a:cubicBezTo>
                  <a:pt x="496946" y="364422"/>
                  <a:pt x="496765" y="365869"/>
                  <a:pt x="495861" y="366592"/>
                </a:cubicBezTo>
                <a:cubicBezTo>
                  <a:pt x="495137" y="367315"/>
                  <a:pt x="494595" y="367496"/>
                  <a:pt x="493871" y="367315"/>
                </a:cubicBezTo>
                <a:close/>
                <a:moveTo>
                  <a:pt x="10990" y="5606"/>
                </a:moveTo>
                <a:lnTo>
                  <a:pt x="486094" y="355560"/>
                </a:lnTo>
                <a:lnTo>
                  <a:pt x="301261" y="7777"/>
                </a:lnTo>
                <a:lnTo>
                  <a:pt x="10990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4" name="Google Shape;1154;p53"/>
          <p:cNvSpPr/>
          <p:nvPr/>
        </p:nvSpPr>
        <p:spPr>
          <a:xfrm>
            <a:off x="10225106" y="3577622"/>
            <a:ext cx="898800" cy="781941"/>
          </a:xfrm>
          <a:custGeom>
            <a:avLst/>
            <a:gdLst/>
            <a:ahLst/>
            <a:cxnLst/>
            <a:rect l="l" t="t" r="r" b="b"/>
            <a:pathLst>
              <a:path w="898800" h="781941" extrusionOk="0">
                <a:moveTo>
                  <a:pt x="895953" y="781942"/>
                </a:moveTo>
                <a:cubicBezTo>
                  <a:pt x="895592" y="781942"/>
                  <a:pt x="895230" y="781761"/>
                  <a:pt x="895049" y="781761"/>
                </a:cubicBezTo>
                <a:lnTo>
                  <a:pt x="1447" y="359104"/>
                </a:lnTo>
                <a:cubicBezTo>
                  <a:pt x="543" y="358743"/>
                  <a:pt x="0" y="357838"/>
                  <a:pt x="0" y="356934"/>
                </a:cubicBezTo>
                <a:cubicBezTo>
                  <a:pt x="0" y="356030"/>
                  <a:pt x="362" y="355125"/>
                  <a:pt x="1085" y="354583"/>
                </a:cubicBezTo>
                <a:lnTo>
                  <a:pt x="487584" y="470"/>
                </a:lnTo>
                <a:cubicBezTo>
                  <a:pt x="488307" y="-73"/>
                  <a:pt x="489031" y="-73"/>
                  <a:pt x="489754" y="108"/>
                </a:cubicBezTo>
                <a:cubicBezTo>
                  <a:pt x="490478" y="289"/>
                  <a:pt x="491201" y="832"/>
                  <a:pt x="491563" y="1555"/>
                </a:cubicBezTo>
                <a:lnTo>
                  <a:pt x="898485" y="778506"/>
                </a:lnTo>
                <a:cubicBezTo>
                  <a:pt x="899028" y="779591"/>
                  <a:pt x="898847" y="780857"/>
                  <a:pt x="898124" y="781580"/>
                </a:cubicBezTo>
                <a:cubicBezTo>
                  <a:pt x="897581" y="781580"/>
                  <a:pt x="896858" y="781942"/>
                  <a:pt x="895953" y="781942"/>
                </a:cubicBezTo>
                <a:close/>
                <a:moveTo>
                  <a:pt x="7958" y="356030"/>
                </a:moveTo>
                <a:lnTo>
                  <a:pt x="890166" y="773261"/>
                </a:lnTo>
                <a:lnTo>
                  <a:pt x="488307" y="6257"/>
                </a:lnTo>
                <a:lnTo>
                  <a:pt x="7958" y="3560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5" name="Google Shape;1155;p53"/>
          <p:cNvSpPr/>
          <p:nvPr/>
        </p:nvSpPr>
        <p:spPr>
          <a:xfrm>
            <a:off x="10711667" y="3430146"/>
            <a:ext cx="412647" cy="929418"/>
          </a:xfrm>
          <a:custGeom>
            <a:avLst/>
            <a:gdLst/>
            <a:ahLst/>
            <a:cxnLst/>
            <a:rect l="l" t="t" r="r" b="b"/>
            <a:pathLst>
              <a:path w="412647" h="929418" extrusionOk="0">
                <a:moveTo>
                  <a:pt x="409393" y="929418"/>
                </a:moveTo>
                <a:cubicBezTo>
                  <a:pt x="408488" y="929418"/>
                  <a:pt x="407584" y="928876"/>
                  <a:pt x="407222" y="927971"/>
                </a:cubicBezTo>
                <a:lnTo>
                  <a:pt x="299" y="151021"/>
                </a:lnTo>
                <a:cubicBezTo>
                  <a:pt x="-62" y="150297"/>
                  <a:pt x="-62" y="149574"/>
                  <a:pt x="119" y="148850"/>
                </a:cubicBezTo>
                <a:cubicBezTo>
                  <a:pt x="481" y="148127"/>
                  <a:pt x="1023" y="147585"/>
                  <a:pt x="1746" y="147223"/>
                </a:cubicBezTo>
                <a:lnTo>
                  <a:pt x="391850" y="188"/>
                </a:lnTo>
                <a:cubicBezTo>
                  <a:pt x="392754" y="-174"/>
                  <a:pt x="393658" y="7"/>
                  <a:pt x="394382" y="550"/>
                </a:cubicBezTo>
                <a:cubicBezTo>
                  <a:pt x="395105" y="1092"/>
                  <a:pt x="395467" y="1816"/>
                  <a:pt x="395647" y="2720"/>
                </a:cubicBezTo>
                <a:lnTo>
                  <a:pt x="412648" y="926705"/>
                </a:lnTo>
                <a:cubicBezTo>
                  <a:pt x="412648" y="927971"/>
                  <a:pt x="411743" y="929057"/>
                  <a:pt x="410658" y="929418"/>
                </a:cubicBezTo>
                <a:cubicBezTo>
                  <a:pt x="409935" y="929418"/>
                  <a:pt x="409754" y="929418"/>
                  <a:pt x="409393" y="929418"/>
                </a:cubicBezTo>
                <a:close/>
                <a:moveTo>
                  <a:pt x="6449" y="151202"/>
                </a:moveTo>
                <a:lnTo>
                  <a:pt x="406680" y="915312"/>
                </a:lnTo>
                <a:lnTo>
                  <a:pt x="390041" y="6699"/>
                </a:lnTo>
                <a:lnTo>
                  <a:pt x="6449" y="15120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6" name="Google Shape;1156;p53"/>
          <p:cNvSpPr/>
          <p:nvPr/>
        </p:nvSpPr>
        <p:spPr>
          <a:xfrm>
            <a:off x="11101527" y="3430334"/>
            <a:ext cx="321667" cy="929230"/>
          </a:xfrm>
          <a:custGeom>
            <a:avLst/>
            <a:gdLst/>
            <a:ahLst/>
            <a:cxnLst/>
            <a:rect l="l" t="t" r="r" b="b"/>
            <a:pathLst>
              <a:path w="321667" h="929230" extrusionOk="0">
                <a:moveTo>
                  <a:pt x="19532" y="929230"/>
                </a:moveTo>
                <a:cubicBezTo>
                  <a:pt x="19532" y="929230"/>
                  <a:pt x="19351" y="929230"/>
                  <a:pt x="19351" y="929230"/>
                </a:cubicBezTo>
                <a:cubicBezTo>
                  <a:pt x="18085" y="929049"/>
                  <a:pt x="17000" y="927964"/>
                  <a:pt x="17000" y="926698"/>
                </a:cubicBezTo>
                <a:lnTo>
                  <a:pt x="0" y="2713"/>
                </a:lnTo>
                <a:cubicBezTo>
                  <a:pt x="0" y="1989"/>
                  <a:pt x="362" y="1266"/>
                  <a:pt x="723" y="723"/>
                </a:cubicBezTo>
                <a:cubicBezTo>
                  <a:pt x="1266" y="181"/>
                  <a:pt x="1989" y="0"/>
                  <a:pt x="2713" y="0"/>
                </a:cubicBezTo>
                <a:lnTo>
                  <a:pt x="319208" y="16277"/>
                </a:lnTo>
                <a:cubicBezTo>
                  <a:pt x="320293" y="16458"/>
                  <a:pt x="320836" y="16819"/>
                  <a:pt x="321198" y="17362"/>
                </a:cubicBezTo>
                <a:cubicBezTo>
                  <a:pt x="321740" y="18085"/>
                  <a:pt x="321740" y="18990"/>
                  <a:pt x="321559" y="19713"/>
                </a:cubicBezTo>
                <a:lnTo>
                  <a:pt x="22064" y="927241"/>
                </a:lnTo>
                <a:cubicBezTo>
                  <a:pt x="21883" y="928507"/>
                  <a:pt x="20798" y="929230"/>
                  <a:pt x="19532" y="929230"/>
                </a:cubicBezTo>
                <a:close/>
                <a:moveTo>
                  <a:pt x="5606" y="5426"/>
                </a:moveTo>
                <a:lnTo>
                  <a:pt x="22245" y="910602"/>
                </a:lnTo>
                <a:lnTo>
                  <a:pt x="315772" y="21341"/>
                </a:lnTo>
                <a:lnTo>
                  <a:pt x="5606" y="542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7" name="Google Shape;1157;p53"/>
          <p:cNvSpPr/>
          <p:nvPr/>
        </p:nvSpPr>
        <p:spPr>
          <a:xfrm>
            <a:off x="11118534" y="4298254"/>
            <a:ext cx="1198905" cy="296676"/>
          </a:xfrm>
          <a:custGeom>
            <a:avLst/>
            <a:gdLst/>
            <a:ahLst/>
            <a:cxnLst/>
            <a:rect l="l" t="t" r="r" b="b"/>
            <a:pathLst>
              <a:path w="1198905" h="296676" extrusionOk="0">
                <a:moveTo>
                  <a:pt x="273265" y="296601"/>
                </a:moveTo>
                <a:cubicBezTo>
                  <a:pt x="272723" y="296601"/>
                  <a:pt x="272180" y="296420"/>
                  <a:pt x="271637" y="295878"/>
                </a:cubicBezTo>
                <a:lnTo>
                  <a:pt x="898" y="60406"/>
                </a:lnTo>
                <a:cubicBezTo>
                  <a:pt x="-6" y="59682"/>
                  <a:pt x="-187" y="58597"/>
                  <a:pt x="175" y="57512"/>
                </a:cubicBezTo>
                <a:cubicBezTo>
                  <a:pt x="536" y="56427"/>
                  <a:pt x="1441" y="55703"/>
                  <a:pt x="2526" y="55703"/>
                </a:cubicBezTo>
                <a:lnTo>
                  <a:pt x="1196166" y="0"/>
                </a:lnTo>
                <a:cubicBezTo>
                  <a:pt x="1197612" y="0"/>
                  <a:pt x="1198697" y="904"/>
                  <a:pt x="1198878" y="2170"/>
                </a:cubicBezTo>
                <a:cubicBezTo>
                  <a:pt x="1199059" y="3436"/>
                  <a:pt x="1198336" y="4883"/>
                  <a:pt x="1197070" y="5245"/>
                </a:cubicBezTo>
                <a:lnTo>
                  <a:pt x="274169" y="296420"/>
                </a:lnTo>
                <a:cubicBezTo>
                  <a:pt x="273988" y="296601"/>
                  <a:pt x="273627" y="296782"/>
                  <a:pt x="273265" y="296601"/>
                </a:cubicBezTo>
                <a:close/>
                <a:moveTo>
                  <a:pt x="9579" y="60948"/>
                </a:moveTo>
                <a:lnTo>
                  <a:pt x="273988" y="290995"/>
                </a:lnTo>
                <a:lnTo>
                  <a:pt x="1175729" y="6511"/>
                </a:lnTo>
                <a:lnTo>
                  <a:pt x="9579" y="609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8" name="Google Shape;1158;p53"/>
          <p:cNvSpPr/>
          <p:nvPr/>
        </p:nvSpPr>
        <p:spPr>
          <a:xfrm>
            <a:off x="11101747" y="3147886"/>
            <a:ext cx="338367" cy="303970"/>
          </a:xfrm>
          <a:custGeom>
            <a:avLst/>
            <a:gdLst/>
            <a:ahLst/>
            <a:cxnLst/>
            <a:rect l="l" t="t" r="r" b="b"/>
            <a:pathLst>
              <a:path w="338367" h="303970" extrusionOk="0">
                <a:moveTo>
                  <a:pt x="2493" y="287693"/>
                </a:moveTo>
                <a:cubicBezTo>
                  <a:pt x="1408" y="287693"/>
                  <a:pt x="503" y="286970"/>
                  <a:pt x="142" y="285885"/>
                </a:cubicBezTo>
                <a:cubicBezTo>
                  <a:pt x="-220" y="284800"/>
                  <a:pt x="142" y="283714"/>
                  <a:pt x="865" y="282991"/>
                </a:cubicBezTo>
                <a:lnTo>
                  <a:pt x="333999" y="677"/>
                </a:lnTo>
                <a:cubicBezTo>
                  <a:pt x="334904" y="-46"/>
                  <a:pt x="335989" y="-227"/>
                  <a:pt x="336893" y="315"/>
                </a:cubicBezTo>
                <a:cubicBezTo>
                  <a:pt x="337797" y="858"/>
                  <a:pt x="338521" y="1762"/>
                  <a:pt x="338340" y="2847"/>
                </a:cubicBezTo>
                <a:lnTo>
                  <a:pt x="321701" y="301438"/>
                </a:lnTo>
                <a:cubicBezTo>
                  <a:pt x="321701" y="302885"/>
                  <a:pt x="320435" y="303970"/>
                  <a:pt x="318807" y="303970"/>
                </a:cubicBezTo>
                <a:lnTo>
                  <a:pt x="2493" y="287693"/>
                </a:lnTo>
                <a:cubicBezTo>
                  <a:pt x="2493" y="287693"/>
                  <a:pt x="2493" y="287693"/>
                  <a:pt x="2493" y="287693"/>
                </a:cubicBezTo>
                <a:close/>
                <a:moveTo>
                  <a:pt x="332552" y="8816"/>
                </a:moveTo>
                <a:lnTo>
                  <a:pt x="9546" y="282629"/>
                </a:lnTo>
                <a:lnTo>
                  <a:pt x="316637" y="298544"/>
                </a:lnTo>
                <a:lnTo>
                  <a:pt x="332552" y="881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59" name="Google Shape;1159;p53"/>
          <p:cNvSpPr/>
          <p:nvPr/>
        </p:nvSpPr>
        <p:spPr>
          <a:xfrm>
            <a:off x="11434661" y="1766902"/>
            <a:ext cx="796011" cy="1386362"/>
          </a:xfrm>
          <a:custGeom>
            <a:avLst/>
            <a:gdLst/>
            <a:ahLst/>
            <a:cxnLst/>
            <a:rect l="l" t="t" r="r" b="b"/>
            <a:pathLst>
              <a:path w="796011" h="1386362" extrusionOk="0">
                <a:moveTo>
                  <a:pt x="2532" y="1386363"/>
                </a:moveTo>
                <a:cubicBezTo>
                  <a:pt x="1989" y="1386363"/>
                  <a:pt x="1628" y="1386182"/>
                  <a:pt x="1085" y="1385820"/>
                </a:cubicBezTo>
                <a:cubicBezTo>
                  <a:pt x="362" y="1385277"/>
                  <a:pt x="0" y="1384373"/>
                  <a:pt x="0" y="1383469"/>
                </a:cubicBezTo>
                <a:lnTo>
                  <a:pt x="81565" y="2464"/>
                </a:lnTo>
                <a:cubicBezTo>
                  <a:pt x="81565" y="1379"/>
                  <a:pt x="82470" y="294"/>
                  <a:pt x="83555" y="113"/>
                </a:cubicBezTo>
                <a:cubicBezTo>
                  <a:pt x="84640" y="-248"/>
                  <a:pt x="85906" y="294"/>
                  <a:pt x="86448" y="1198"/>
                </a:cubicBezTo>
                <a:lnTo>
                  <a:pt x="795579" y="1056484"/>
                </a:lnTo>
                <a:cubicBezTo>
                  <a:pt x="795941" y="1057208"/>
                  <a:pt x="796121" y="1057931"/>
                  <a:pt x="795941" y="1058835"/>
                </a:cubicBezTo>
                <a:cubicBezTo>
                  <a:pt x="795760" y="1059559"/>
                  <a:pt x="795217" y="1060282"/>
                  <a:pt x="794313" y="1060463"/>
                </a:cubicBezTo>
                <a:lnTo>
                  <a:pt x="3617" y="1386182"/>
                </a:lnTo>
                <a:cubicBezTo>
                  <a:pt x="3436" y="1386363"/>
                  <a:pt x="2894" y="1386363"/>
                  <a:pt x="2532" y="1386363"/>
                </a:cubicBezTo>
                <a:close/>
                <a:moveTo>
                  <a:pt x="86448" y="10784"/>
                </a:moveTo>
                <a:lnTo>
                  <a:pt x="5606" y="1379490"/>
                </a:lnTo>
                <a:lnTo>
                  <a:pt x="789430" y="1056665"/>
                </a:lnTo>
                <a:lnTo>
                  <a:pt x="86448" y="107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0" name="Google Shape;1160;p53"/>
          <p:cNvSpPr/>
          <p:nvPr/>
        </p:nvSpPr>
        <p:spPr>
          <a:xfrm>
            <a:off x="11418023" y="3147952"/>
            <a:ext cx="434989" cy="303974"/>
          </a:xfrm>
          <a:custGeom>
            <a:avLst/>
            <a:gdLst/>
            <a:ahLst/>
            <a:cxnLst/>
            <a:rect l="l" t="t" r="r" b="b"/>
            <a:pathLst>
              <a:path w="434989" h="303974" extrusionOk="0">
                <a:moveTo>
                  <a:pt x="2532" y="303903"/>
                </a:moveTo>
                <a:cubicBezTo>
                  <a:pt x="2170" y="303903"/>
                  <a:pt x="1628" y="303722"/>
                  <a:pt x="1266" y="303542"/>
                </a:cubicBezTo>
                <a:cubicBezTo>
                  <a:pt x="362" y="302999"/>
                  <a:pt x="0" y="302095"/>
                  <a:pt x="0" y="301190"/>
                </a:cubicBezTo>
                <a:lnTo>
                  <a:pt x="16639" y="2600"/>
                </a:lnTo>
                <a:cubicBezTo>
                  <a:pt x="16639" y="1876"/>
                  <a:pt x="17000" y="1153"/>
                  <a:pt x="17724" y="610"/>
                </a:cubicBezTo>
                <a:cubicBezTo>
                  <a:pt x="18266" y="68"/>
                  <a:pt x="18990" y="-113"/>
                  <a:pt x="19894" y="68"/>
                </a:cubicBezTo>
                <a:lnTo>
                  <a:pt x="432785" y="72229"/>
                </a:lnTo>
                <a:cubicBezTo>
                  <a:pt x="433870" y="72410"/>
                  <a:pt x="434774" y="73314"/>
                  <a:pt x="434955" y="74399"/>
                </a:cubicBezTo>
                <a:cubicBezTo>
                  <a:pt x="435136" y="75484"/>
                  <a:pt x="434593" y="76750"/>
                  <a:pt x="433508" y="77112"/>
                </a:cubicBezTo>
                <a:lnTo>
                  <a:pt x="3979" y="303542"/>
                </a:lnTo>
                <a:cubicBezTo>
                  <a:pt x="3617" y="303903"/>
                  <a:pt x="3074" y="304084"/>
                  <a:pt x="2532" y="303903"/>
                </a:cubicBezTo>
                <a:close/>
                <a:moveTo>
                  <a:pt x="21883" y="5855"/>
                </a:moveTo>
                <a:lnTo>
                  <a:pt x="5606" y="296669"/>
                </a:lnTo>
                <a:lnTo>
                  <a:pt x="423923" y="76207"/>
                </a:lnTo>
                <a:lnTo>
                  <a:pt x="21883" y="58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1" name="Google Shape;1161;p53"/>
          <p:cNvSpPr/>
          <p:nvPr/>
        </p:nvSpPr>
        <p:spPr>
          <a:xfrm>
            <a:off x="11434814" y="2822414"/>
            <a:ext cx="796067" cy="403192"/>
          </a:xfrm>
          <a:custGeom>
            <a:avLst/>
            <a:gdLst/>
            <a:ahLst/>
            <a:cxnLst/>
            <a:rect l="l" t="t" r="r" b="b"/>
            <a:pathLst>
              <a:path w="796067" h="403192" extrusionOk="0">
                <a:moveTo>
                  <a:pt x="415450" y="403193"/>
                </a:moveTo>
                <a:cubicBezTo>
                  <a:pt x="415270" y="403193"/>
                  <a:pt x="415270" y="403193"/>
                  <a:pt x="415089" y="403193"/>
                </a:cubicBezTo>
                <a:lnTo>
                  <a:pt x="2198" y="331032"/>
                </a:lnTo>
                <a:cubicBezTo>
                  <a:pt x="932" y="330851"/>
                  <a:pt x="209" y="329947"/>
                  <a:pt x="28" y="328681"/>
                </a:cubicBezTo>
                <a:cubicBezTo>
                  <a:pt x="-153" y="327415"/>
                  <a:pt x="570" y="326330"/>
                  <a:pt x="1656" y="325968"/>
                </a:cubicBezTo>
                <a:lnTo>
                  <a:pt x="792351" y="249"/>
                </a:lnTo>
                <a:cubicBezTo>
                  <a:pt x="793437" y="-293"/>
                  <a:pt x="794883" y="68"/>
                  <a:pt x="795607" y="1154"/>
                </a:cubicBezTo>
                <a:cubicBezTo>
                  <a:pt x="796330" y="2239"/>
                  <a:pt x="796149" y="3686"/>
                  <a:pt x="795426" y="4590"/>
                </a:cubicBezTo>
                <a:lnTo>
                  <a:pt x="417621" y="402469"/>
                </a:lnTo>
                <a:cubicBezTo>
                  <a:pt x="416897" y="402831"/>
                  <a:pt x="416174" y="403193"/>
                  <a:pt x="415450" y="403193"/>
                </a:cubicBezTo>
                <a:close/>
                <a:moveTo>
                  <a:pt x="12145" y="327234"/>
                </a:moveTo>
                <a:lnTo>
                  <a:pt x="414546" y="397586"/>
                </a:lnTo>
                <a:lnTo>
                  <a:pt x="782766" y="9835"/>
                </a:lnTo>
                <a:lnTo>
                  <a:pt x="12145" y="32723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2" name="Google Shape;1162;p53"/>
          <p:cNvSpPr/>
          <p:nvPr/>
        </p:nvSpPr>
        <p:spPr>
          <a:xfrm>
            <a:off x="11847867" y="2822159"/>
            <a:ext cx="424512" cy="644164"/>
          </a:xfrm>
          <a:custGeom>
            <a:avLst/>
            <a:gdLst/>
            <a:ahLst/>
            <a:cxnLst/>
            <a:rect l="l" t="t" r="r" b="b"/>
            <a:pathLst>
              <a:path w="424512" h="644164" extrusionOk="0">
                <a:moveTo>
                  <a:pt x="421438" y="644165"/>
                </a:moveTo>
                <a:cubicBezTo>
                  <a:pt x="421076" y="644165"/>
                  <a:pt x="420714" y="643984"/>
                  <a:pt x="420353" y="643803"/>
                </a:cubicBezTo>
                <a:lnTo>
                  <a:pt x="1313" y="402905"/>
                </a:lnTo>
                <a:cubicBezTo>
                  <a:pt x="590" y="402543"/>
                  <a:pt x="47" y="401820"/>
                  <a:pt x="47" y="400915"/>
                </a:cubicBezTo>
                <a:cubicBezTo>
                  <a:pt x="-134" y="400192"/>
                  <a:pt x="228" y="399288"/>
                  <a:pt x="770" y="398745"/>
                </a:cubicBezTo>
                <a:lnTo>
                  <a:pt x="378575" y="865"/>
                </a:lnTo>
                <a:cubicBezTo>
                  <a:pt x="379299" y="142"/>
                  <a:pt x="380384" y="-220"/>
                  <a:pt x="381469" y="142"/>
                </a:cubicBezTo>
                <a:cubicBezTo>
                  <a:pt x="382554" y="504"/>
                  <a:pt x="383097" y="1408"/>
                  <a:pt x="383278" y="2493"/>
                </a:cubicBezTo>
                <a:lnTo>
                  <a:pt x="424513" y="641271"/>
                </a:lnTo>
                <a:cubicBezTo>
                  <a:pt x="424513" y="642175"/>
                  <a:pt x="424151" y="643260"/>
                  <a:pt x="423247" y="643803"/>
                </a:cubicBezTo>
                <a:cubicBezTo>
                  <a:pt x="422523" y="644165"/>
                  <a:pt x="421980" y="644165"/>
                  <a:pt x="421438" y="644165"/>
                </a:cubicBezTo>
                <a:close/>
                <a:moveTo>
                  <a:pt x="6739" y="400011"/>
                </a:moveTo>
                <a:lnTo>
                  <a:pt x="418544" y="636569"/>
                </a:lnTo>
                <a:lnTo>
                  <a:pt x="378033" y="9004"/>
                </a:lnTo>
                <a:lnTo>
                  <a:pt x="6739" y="40001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3" name="Google Shape;1163;p53"/>
          <p:cNvSpPr/>
          <p:nvPr/>
        </p:nvSpPr>
        <p:spPr>
          <a:xfrm>
            <a:off x="11847696" y="3220166"/>
            <a:ext cx="424572" cy="326818"/>
          </a:xfrm>
          <a:custGeom>
            <a:avLst/>
            <a:gdLst/>
            <a:ahLst/>
            <a:cxnLst/>
            <a:rect l="l" t="t" r="r" b="b"/>
            <a:pathLst>
              <a:path w="424572" h="326818" extrusionOk="0">
                <a:moveTo>
                  <a:pt x="367714" y="326819"/>
                </a:moveTo>
                <a:cubicBezTo>
                  <a:pt x="367171" y="326819"/>
                  <a:pt x="366628" y="326638"/>
                  <a:pt x="366086" y="326095"/>
                </a:cubicBezTo>
                <a:lnTo>
                  <a:pt x="941" y="4717"/>
                </a:lnTo>
                <a:cubicBezTo>
                  <a:pt x="-144" y="3813"/>
                  <a:pt x="-325" y="2185"/>
                  <a:pt x="579" y="1100"/>
                </a:cubicBezTo>
                <a:cubicBezTo>
                  <a:pt x="1302" y="15"/>
                  <a:pt x="2930" y="-347"/>
                  <a:pt x="4196" y="376"/>
                </a:cubicBezTo>
                <a:lnTo>
                  <a:pt x="423236" y="241274"/>
                </a:lnTo>
                <a:cubicBezTo>
                  <a:pt x="423959" y="241636"/>
                  <a:pt x="424321" y="242360"/>
                  <a:pt x="424502" y="243083"/>
                </a:cubicBezTo>
                <a:cubicBezTo>
                  <a:pt x="424683" y="243806"/>
                  <a:pt x="424502" y="244530"/>
                  <a:pt x="424140" y="245253"/>
                </a:cubicBezTo>
                <a:lnTo>
                  <a:pt x="370245" y="325733"/>
                </a:lnTo>
                <a:cubicBezTo>
                  <a:pt x="369884" y="326457"/>
                  <a:pt x="369160" y="326819"/>
                  <a:pt x="368437" y="326819"/>
                </a:cubicBezTo>
                <a:cubicBezTo>
                  <a:pt x="368075" y="326819"/>
                  <a:pt x="367894" y="326819"/>
                  <a:pt x="367714" y="326819"/>
                </a:cubicBezTo>
                <a:close/>
                <a:moveTo>
                  <a:pt x="24633" y="18462"/>
                </a:moveTo>
                <a:lnTo>
                  <a:pt x="367352" y="320127"/>
                </a:lnTo>
                <a:lnTo>
                  <a:pt x="417991" y="244530"/>
                </a:lnTo>
                <a:lnTo>
                  <a:pt x="24633" y="1846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4" name="Google Shape;1164;p53"/>
          <p:cNvSpPr/>
          <p:nvPr/>
        </p:nvSpPr>
        <p:spPr>
          <a:xfrm>
            <a:off x="12225538" y="2820096"/>
            <a:ext cx="271650" cy="646255"/>
          </a:xfrm>
          <a:custGeom>
            <a:avLst/>
            <a:gdLst/>
            <a:ahLst/>
            <a:cxnLst/>
            <a:rect l="l" t="t" r="r" b="b"/>
            <a:pathLst>
              <a:path w="271650" h="646255" extrusionOk="0">
                <a:moveTo>
                  <a:pt x="43766" y="646228"/>
                </a:moveTo>
                <a:cubicBezTo>
                  <a:pt x="43766" y="646228"/>
                  <a:pt x="43586" y="646228"/>
                  <a:pt x="43586" y="646228"/>
                </a:cubicBezTo>
                <a:cubicBezTo>
                  <a:pt x="42320" y="646047"/>
                  <a:pt x="41415" y="644962"/>
                  <a:pt x="41235" y="643696"/>
                </a:cubicBezTo>
                <a:lnTo>
                  <a:pt x="0" y="4918"/>
                </a:lnTo>
                <a:cubicBezTo>
                  <a:pt x="0" y="4195"/>
                  <a:pt x="180" y="3471"/>
                  <a:pt x="723" y="2929"/>
                </a:cubicBezTo>
                <a:cubicBezTo>
                  <a:pt x="1266" y="2386"/>
                  <a:pt x="1989" y="2024"/>
                  <a:pt x="2713" y="2024"/>
                </a:cubicBezTo>
                <a:lnTo>
                  <a:pt x="268931" y="35"/>
                </a:lnTo>
                <a:cubicBezTo>
                  <a:pt x="270016" y="-146"/>
                  <a:pt x="270558" y="397"/>
                  <a:pt x="271101" y="1120"/>
                </a:cubicBezTo>
                <a:cubicBezTo>
                  <a:pt x="271643" y="1844"/>
                  <a:pt x="271824" y="2748"/>
                  <a:pt x="271462" y="3652"/>
                </a:cubicBezTo>
                <a:lnTo>
                  <a:pt x="46479" y="644419"/>
                </a:lnTo>
                <a:cubicBezTo>
                  <a:pt x="46118" y="645685"/>
                  <a:pt x="44852" y="646409"/>
                  <a:pt x="43766" y="646228"/>
                </a:cubicBezTo>
                <a:close/>
                <a:moveTo>
                  <a:pt x="5425" y="7450"/>
                </a:moveTo>
                <a:lnTo>
                  <a:pt x="45575" y="630132"/>
                </a:lnTo>
                <a:lnTo>
                  <a:pt x="264771" y="5461"/>
                </a:lnTo>
                <a:lnTo>
                  <a:pt x="5425" y="745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5" name="Google Shape;1165;p53"/>
          <p:cNvSpPr/>
          <p:nvPr/>
        </p:nvSpPr>
        <p:spPr>
          <a:xfrm>
            <a:off x="12212988" y="3461119"/>
            <a:ext cx="580801" cy="341086"/>
          </a:xfrm>
          <a:custGeom>
            <a:avLst/>
            <a:gdLst/>
            <a:ahLst/>
            <a:cxnLst/>
            <a:rect l="l" t="t" r="r" b="b"/>
            <a:pathLst>
              <a:path w="580801" h="341086" extrusionOk="0">
                <a:moveTo>
                  <a:pt x="577901" y="341051"/>
                </a:moveTo>
                <a:cubicBezTo>
                  <a:pt x="577539" y="341051"/>
                  <a:pt x="577358" y="340870"/>
                  <a:pt x="576997" y="340870"/>
                </a:cubicBezTo>
                <a:lnTo>
                  <a:pt x="1518" y="85504"/>
                </a:lnTo>
                <a:cubicBezTo>
                  <a:pt x="794" y="85142"/>
                  <a:pt x="252" y="84600"/>
                  <a:pt x="71" y="83876"/>
                </a:cubicBezTo>
                <a:cubicBezTo>
                  <a:pt x="-110" y="83153"/>
                  <a:pt x="71" y="82248"/>
                  <a:pt x="433" y="81706"/>
                </a:cubicBezTo>
                <a:lnTo>
                  <a:pt x="54327" y="1226"/>
                </a:lnTo>
                <a:cubicBezTo>
                  <a:pt x="55231" y="-40"/>
                  <a:pt x="56859" y="-402"/>
                  <a:pt x="57944" y="502"/>
                </a:cubicBezTo>
                <a:lnTo>
                  <a:pt x="579528" y="336349"/>
                </a:lnTo>
                <a:cubicBezTo>
                  <a:pt x="580795" y="337072"/>
                  <a:pt x="581157" y="338700"/>
                  <a:pt x="580433" y="339966"/>
                </a:cubicBezTo>
                <a:cubicBezTo>
                  <a:pt x="579891" y="340689"/>
                  <a:pt x="578986" y="341232"/>
                  <a:pt x="577901" y="341051"/>
                </a:cubicBezTo>
                <a:close/>
                <a:moveTo>
                  <a:pt x="6582" y="81887"/>
                </a:moveTo>
                <a:lnTo>
                  <a:pt x="547336" y="321881"/>
                </a:lnTo>
                <a:lnTo>
                  <a:pt x="57221" y="6290"/>
                </a:lnTo>
                <a:lnTo>
                  <a:pt x="6582" y="8188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6" name="Google Shape;1166;p53"/>
          <p:cNvSpPr/>
          <p:nvPr/>
        </p:nvSpPr>
        <p:spPr>
          <a:xfrm>
            <a:off x="12266818" y="2820312"/>
            <a:ext cx="527103" cy="981929"/>
          </a:xfrm>
          <a:custGeom>
            <a:avLst/>
            <a:gdLst/>
            <a:ahLst/>
            <a:cxnLst/>
            <a:rect l="l" t="t" r="r" b="b"/>
            <a:pathLst>
              <a:path w="527103" h="981929" extrusionOk="0">
                <a:moveTo>
                  <a:pt x="524071" y="981859"/>
                </a:moveTo>
                <a:cubicBezTo>
                  <a:pt x="523710" y="981859"/>
                  <a:pt x="523167" y="981678"/>
                  <a:pt x="522806" y="981497"/>
                </a:cubicBezTo>
                <a:lnTo>
                  <a:pt x="1221" y="645650"/>
                </a:lnTo>
                <a:cubicBezTo>
                  <a:pt x="136" y="644927"/>
                  <a:pt x="-226" y="643661"/>
                  <a:pt x="136" y="642576"/>
                </a:cubicBezTo>
                <a:lnTo>
                  <a:pt x="225119" y="1809"/>
                </a:lnTo>
                <a:cubicBezTo>
                  <a:pt x="225481" y="723"/>
                  <a:pt x="226566" y="0"/>
                  <a:pt x="227651" y="0"/>
                </a:cubicBezTo>
                <a:cubicBezTo>
                  <a:pt x="228917" y="181"/>
                  <a:pt x="229821" y="723"/>
                  <a:pt x="230183" y="1989"/>
                </a:cubicBezTo>
                <a:lnTo>
                  <a:pt x="526965" y="978603"/>
                </a:lnTo>
                <a:cubicBezTo>
                  <a:pt x="527327" y="979688"/>
                  <a:pt x="526965" y="980774"/>
                  <a:pt x="526061" y="981497"/>
                </a:cubicBezTo>
                <a:cubicBezTo>
                  <a:pt x="525337" y="981859"/>
                  <a:pt x="524614" y="982040"/>
                  <a:pt x="524071" y="981859"/>
                </a:cubicBezTo>
                <a:close/>
                <a:moveTo>
                  <a:pt x="5923" y="642214"/>
                </a:moveTo>
                <a:lnTo>
                  <a:pt x="519550" y="972997"/>
                </a:lnTo>
                <a:lnTo>
                  <a:pt x="227289" y="11213"/>
                </a:lnTo>
                <a:lnTo>
                  <a:pt x="5923" y="64221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7" name="Google Shape;1167;p53"/>
          <p:cNvSpPr/>
          <p:nvPr/>
        </p:nvSpPr>
        <p:spPr>
          <a:xfrm>
            <a:off x="8942124" y="4957027"/>
            <a:ext cx="912491" cy="634698"/>
          </a:xfrm>
          <a:custGeom>
            <a:avLst/>
            <a:gdLst/>
            <a:ahLst/>
            <a:cxnLst/>
            <a:rect l="l" t="t" r="r" b="b"/>
            <a:pathLst>
              <a:path w="912491" h="634698" extrusionOk="0">
                <a:moveTo>
                  <a:pt x="642576" y="634699"/>
                </a:moveTo>
                <a:cubicBezTo>
                  <a:pt x="642395" y="634699"/>
                  <a:pt x="642033" y="634699"/>
                  <a:pt x="641853" y="634518"/>
                </a:cubicBezTo>
                <a:lnTo>
                  <a:pt x="1809" y="405194"/>
                </a:lnTo>
                <a:cubicBezTo>
                  <a:pt x="723" y="404832"/>
                  <a:pt x="0" y="403928"/>
                  <a:pt x="0" y="402843"/>
                </a:cubicBezTo>
                <a:cubicBezTo>
                  <a:pt x="0" y="401758"/>
                  <a:pt x="543" y="400673"/>
                  <a:pt x="1628" y="400311"/>
                </a:cubicBezTo>
                <a:lnTo>
                  <a:pt x="908794" y="261"/>
                </a:lnTo>
                <a:cubicBezTo>
                  <a:pt x="909879" y="-281"/>
                  <a:pt x="910964" y="80"/>
                  <a:pt x="911687" y="804"/>
                </a:cubicBezTo>
                <a:cubicBezTo>
                  <a:pt x="912411" y="1527"/>
                  <a:pt x="912773" y="2793"/>
                  <a:pt x="912230" y="3697"/>
                </a:cubicBezTo>
                <a:lnTo>
                  <a:pt x="645108" y="633071"/>
                </a:lnTo>
                <a:cubicBezTo>
                  <a:pt x="644746" y="634156"/>
                  <a:pt x="643661" y="634699"/>
                  <a:pt x="642576" y="634699"/>
                </a:cubicBezTo>
                <a:close/>
                <a:moveTo>
                  <a:pt x="9766" y="402301"/>
                </a:moveTo>
                <a:lnTo>
                  <a:pt x="641129" y="628550"/>
                </a:lnTo>
                <a:lnTo>
                  <a:pt x="904634" y="7676"/>
                </a:lnTo>
                <a:lnTo>
                  <a:pt x="9766" y="40230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8" name="Google Shape;1168;p53"/>
          <p:cNvSpPr/>
          <p:nvPr/>
        </p:nvSpPr>
        <p:spPr>
          <a:xfrm>
            <a:off x="9582169" y="4956988"/>
            <a:ext cx="832654" cy="634737"/>
          </a:xfrm>
          <a:custGeom>
            <a:avLst/>
            <a:gdLst/>
            <a:ahLst/>
            <a:cxnLst/>
            <a:rect l="l" t="t" r="r" b="b"/>
            <a:pathLst>
              <a:path w="832654" h="634737" extrusionOk="0">
                <a:moveTo>
                  <a:pt x="2532" y="634737"/>
                </a:moveTo>
                <a:cubicBezTo>
                  <a:pt x="1809" y="634737"/>
                  <a:pt x="1266" y="634375"/>
                  <a:pt x="723" y="633833"/>
                </a:cubicBezTo>
                <a:cubicBezTo>
                  <a:pt x="0" y="633109"/>
                  <a:pt x="-181" y="631843"/>
                  <a:pt x="181" y="630939"/>
                </a:cubicBezTo>
                <a:lnTo>
                  <a:pt x="267303" y="1566"/>
                </a:lnTo>
                <a:cubicBezTo>
                  <a:pt x="267665" y="842"/>
                  <a:pt x="268207" y="300"/>
                  <a:pt x="268931" y="119"/>
                </a:cubicBezTo>
                <a:cubicBezTo>
                  <a:pt x="269654" y="-62"/>
                  <a:pt x="270378" y="-62"/>
                  <a:pt x="271101" y="300"/>
                </a:cubicBezTo>
                <a:lnTo>
                  <a:pt x="831207" y="314987"/>
                </a:lnTo>
                <a:cubicBezTo>
                  <a:pt x="832112" y="315529"/>
                  <a:pt x="832654" y="316433"/>
                  <a:pt x="832654" y="317519"/>
                </a:cubicBezTo>
                <a:cubicBezTo>
                  <a:pt x="832654" y="318604"/>
                  <a:pt x="831931" y="319508"/>
                  <a:pt x="830846" y="319869"/>
                </a:cubicBezTo>
                <a:lnTo>
                  <a:pt x="3617" y="634556"/>
                </a:lnTo>
                <a:cubicBezTo>
                  <a:pt x="3255" y="634737"/>
                  <a:pt x="2894" y="634737"/>
                  <a:pt x="2532" y="634737"/>
                </a:cubicBezTo>
                <a:close/>
                <a:moveTo>
                  <a:pt x="270920" y="6449"/>
                </a:moveTo>
                <a:lnTo>
                  <a:pt x="7415" y="627322"/>
                </a:lnTo>
                <a:lnTo>
                  <a:pt x="823431" y="316976"/>
                </a:lnTo>
                <a:lnTo>
                  <a:pt x="270920" y="64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69" name="Google Shape;1169;p53"/>
          <p:cNvSpPr/>
          <p:nvPr/>
        </p:nvSpPr>
        <p:spPr>
          <a:xfrm>
            <a:off x="11896931" y="6101781"/>
            <a:ext cx="757350" cy="1017260"/>
          </a:xfrm>
          <a:custGeom>
            <a:avLst/>
            <a:gdLst/>
            <a:ahLst/>
            <a:cxnLst/>
            <a:rect l="l" t="t" r="r" b="b"/>
            <a:pathLst>
              <a:path w="757350" h="1017260" extrusionOk="0">
                <a:moveTo>
                  <a:pt x="408544" y="1017260"/>
                </a:moveTo>
                <a:lnTo>
                  <a:pt x="408544" y="1017260"/>
                </a:lnTo>
                <a:cubicBezTo>
                  <a:pt x="407459" y="1017260"/>
                  <a:pt x="406555" y="1016537"/>
                  <a:pt x="406193" y="1015632"/>
                </a:cubicBezTo>
                <a:lnTo>
                  <a:pt x="175" y="3752"/>
                </a:lnTo>
                <a:cubicBezTo>
                  <a:pt x="-187" y="2667"/>
                  <a:pt x="-6" y="1581"/>
                  <a:pt x="898" y="677"/>
                </a:cubicBezTo>
                <a:cubicBezTo>
                  <a:pt x="1802" y="-46"/>
                  <a:pt x="3068" y="-227"/>
                  <a:pt x="3973" y="315"/>
                </a:cubicBezTo>
                <a:lnTo>
                  <a:pt x="755965" y="400908"/>
                </a:lnTo>
                <a:cubicBezTo>
                  <a:pt x="756689" y="401270"/>
                  <a:pt x="757051" y="401813"/>
                  <a:pt x="757231" y="402536"/>
                </a:cubicBezTo>
                <a:cubicBezTo>
                  <a:pt x="757412" y="403259"/>
                  <a:pt x="757412" y="403983"/>
                  <a:pt x="757051" y="404525"/>
                </a:cubicBezTo>
                <a:lnTo>
                  <a:pt x="411076" y="1015813"/>
                </a:lnTo>
                <a:cubicBezTo>
                  <a:pt x="410534" y="1016718"/>
                  <a:pt x="409629" y="1017260"/>
                  <a:pt x="408544" y="1017260"/>
                </a:cubicBezTo>
                <a:close/>
                <a:moveTo>
                  <a:pt x="8132" y="8454"/>
                </a:moveTo>
                <a:lnTo>
                  <a:pt x="409268" y="1008217"/>
                </a:lnTo>
                <a:lnTo>
                  <a:pt x="751082" y="404163"/>
                </a:lnTo>
                <a:lnTo>
                  <a:pt x="8132" y="84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0" name="Google Shape;1170;p53"/>
          <p:cNvSpPr/>
          <p:nvPr/>
        </p:nvSpPr>
        <p:spPr>
          <a:xfrm>
            <a:off x="9686630" y="4070888"/>
            <a:ext cx="397799" cy="210908"/>
          </a:xfrm>
          <a:custGeom>
            <a:avLst/>
            <a:gdLst/>
            <a:ahLst/>
            <a:cxnLst/>
            <a:rect l="l" t="t" r="r" b="b"/>
            <a:pathLst>
              <a:path w="397799" h="210908" extrusionOk="0">
                <a:moveTo>
                  <a:pt x="243864" y="210908"/>
                </a:moveTo>
                <a:cubicBezTo>
                  <a:pt x="243322" y="210908"/>
                  <a:pt x="242779" y="210727"/>
                  <a:pt x="242237" y="210185"/>
                </a:cubicBezTo>
                <a:lnTo>
                  <a:pt x="977" y="4734"/>
                </a:lnTo>
                <a:cubicBezTo>
                  <a:pt x="-109" y="3830"/>
                  <a:pt x="-289" y="2383"/>
                  <a:pt x="434" y="1298"/>
                </a:cubicBezTo>
                <a:cubicBezTo>
                  <a:pt x="1158" y="213"/>
                  <a:pt x="2604" y="-330"/>
                  <a:pt x="3870" y="213"/>
                </a:cubicBezTo>
                <a:lnTo>
                  <a:pt x="396144" y="170216"/>
                </a:lnTo>
                <a:cubicBezTo>
                  <a:pt x="397229" y="170759"/>
                  <a:pt x="397952" y="171844"/>
                  <a:pt x="397771" y="172929"/>
                </a:cubicBezTo>
                <a:cubicBezTo>
                  <a:pt x="397591" y="174014"/>
                  <a:pt x="396867" y="175099"/>
                  <a:pt x="395782" y="175280"/>
                </a:cubicBezTo>
                <a:lnTo>
                  <a:pt x="244769" y="210727"/>
                </a:lnTo>
                <a:cubicBezTo>
                  <a:pt x="244407" y="210908"/>
                  <a:pt x="244045" y="210908"/>
                  <a:pt x="243864" y="210908"/>
                </a:cubicBezTo>
                <a:close/>
                <a:moveTo>
                  <a:pt x="18339" y="12330"/>
                </a:moveTo>
                <a:lnTo>
                  <a:pt x="244769" y="205302"/>
                </a:lnTo>
                <a:lnTo>
                  <a:pt x="386558" y="172025"/>
                </a:lnTo>
                <a:lnTo>
                  <a:pt x="18339" y="123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1" name="Google Shape;1171;p53"/>
          <p:cNvSpPr/>
          <p:nvPr/>
        </p:nvSpPr>
        <p:spPr>
          <a:xfrm>
            <a:off x="9686702" y="3931524"/>
            <a:ext cx="543705" cy="314853"/>
          </a:xfrm>
          <a:custGeom>
            <a:avLst/>
            <a:gdLst/>
            <a:ahLst/>
            <a:cxnLst/>
            <a:rect l="l" t="t" r="r" b="b"/>
            <a:pathLst>
              <a:path w="543705" h="314853" extrusionOk="0">
                <a:moveTo>
                  <a:pt x="394805" y="314825"/>
                </a:moveTo>
                <a:cubicBezTo>
                  <a:pt x="394444" y="314825"/>
                  <a:pt x="394263" y="314645"/>
                  <a:pt x="393901" y="314645"/>
                </a:cubicBezTo>
                <a:lnTo>
                  <a:pt x="1628" y="144641"/>
                </a:lnTo>
                <a:cubicBezTo>
                  <a:pt x="543" y="144099"/>
                  <a:pt x="0" y="143194"/>
                  <a:pt x="0" y="141929"/>
                </a:cubicBezTo>
                <a:cubicBezTo>
                  <a:pt x="0" y="140662"/>
                  <a:pt x="904" y="139758"/>
                  <a:pt x="1989" y="139577"/>
                </a:cubicBezTo>
                <a:lnTo>
                  <a:pt x="540393" y="139"/>
                </a:lnTo>
                <a:cubicBezTo>
                  <a:pt x="541298" y="-223"/>
                  <a:pt x="542564" y="139"/>
                  <a:pt x="543106" y="1043"/>
                </a:cubicBezTo>
                <a:cubicBezTo>
                  <a:pt x="543829" y="1766"/>
                  <a:pt x="543829" y="3032"/>
                  <a:pt x="543468" y="3937"/>
                </a:cubicBezTo>
                <a:lnTo>
                  <a:pt x="397338" y="313559"/>
                </a:lnTo>
                <a:cubicBezTo>
                  <a:pt x="396976" y="314283"/>
                  <a:pt x="395891" y="315006"/>
                  <a:pt x="394805" y="314825"/>
                </a:cubicBezTo>
                <a:close/>
                <a:moveTo>
                  <a:pt x="11032" y="142833"/>
                </a:moveTo>
                <a:lnTo>
                  <a:pt x="393720" y="308676"/>
                </a:lnTo>
                <a:lnTo>
                  <a:pt x="536234" y="6649"/>
                </a:lnTo>
                <a:lnTo>
                  <a:pt x="11032" y="14283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2" name="Google Shape;1172;p53"/>
          <p:cNvSpPr/>
          <p:nvPr/>
        </p:nvSpPr>
        <p:spPr>
          <a:xfrm>
            <a:off x="9849110" y="4241057"/>
            <a:ext cx="234929" cy="721294"/>
          </a:xfrm>
          <a:custGeom>
            <a:avLst/>
            <a:gdLst/>
            <a:ahLst/>
            <a:cxnLst/>
            <a:rect l="l" t="t" r="r" b="b"/>
            <a:pathLst>
              <a:path w="234929" h="721294" extrusionOk="0">
                <a:moveTo>
                  <a:pt x="2532" y="721294"/>
                </a:moveTo>
                <a:cubicBezTo>
                  <a:pt x="2351" y="721294"/>
                  <a:pt x="2351" y="721294"/>
                  <a:pt x="2170" y="721294"/>
                </a:cubicBezTo>
                <a:cubicBezTo>
                  <a:pt x="904" y="720933"/>
                  <a:pt x="0" y="719667"/>
                  <a:pt x="0" y="718401"/>
                </a:cubicBezTo>
                <a:lnTo>
                  <a:pt x="78672" y="37846"/>
                </a:lnTo>
                <a:cubicBezTo>
                  <a:pt x="78853" y="36761"/>
                  <a:pt x="79576" y="35856"/>
                  <a:pt x="80661" y="35494"/>
                </a:cubicBezTo>
                <a:lnTo>
                  <a:pt x="231675" y="47"/>
                </a:lnTo>
                <a:cubicBezTo>
                  <a:pt x="232579" y="-134"/>
                  <a:pt x="233664" y="228"/>
                  <a:pt x="234207" y="770"/>
                </a:cubicBezTo>
                <a:cubicBezTo>
                  <a:pt x="234930" y="1494"/>
                  <a:pt x="235111" y="2579"/>
                  <a:pt x="234749" y="3483"/>
                </a:cubicBezTo>
                <a:lnTo>
                  <a:pt x="4883" y="719486"/>
                </a:lnTo>
                <a:cubicBezTo>
                  <a:pt x="4883" y="720571"/>
                  <a:pt x="3798" y="721294"/>
                  <a:pt x="2532" y="721294"/>
                </a:cubicBezTo>
                <a:close/>
                <a:moveTo>
                  <a:pt x="83916" y="40197"/>
                </a:moveTo>
                <a:lnTo>
                  <a:pt x="8500" y="691454"/>
                </a:lnTo>
                <a:lnTo>
                  <a:pt x="228419" y="6196"/>
                </a:lnTo>
                <a:lnTo>
                  <a:pt x="83916" y="401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3" name="Google Shape;1173;p53"/>
          <p:cNvSpPr/>
          <p:nvPr/>
        </p:nvSpPr>
        <p:spPr>
          <a:xfrm>
            <a:off x="10078995" y="3931182"/>
            <a:ext cx="1045068" cy="428381"/>
          </a:xfrm>
          <a:custGeom>
            <a:avLst/>
            <a:gdLst/>
            <a:ahLst/>
            <a:cxnLst/>
            <a:rect l="l" t="t" r="r" b="b"/>
            <a:pathLst>
              <a:path w="1045068" h="428381" extrusionOk="0">
                <a:moveTo>
                  <a:pt x="1042064" y="428382"/>
                </a:moveTo>
                <a:cubicBezTo>
                  <a:pt x="1042064" y="428382"/>
                  <a:pt x="1042064" y="428382"/>
                  <a:pt x="1042064" y="428382"/>
                </a:cubicBezTo>
                <a:lnTo>
                  <a:pt x="2332" y="315167"/>
                </a:lnTo>
                <a:cubicBezTo>
                  <a:pt x="1428" y="314986"/>
                  <a:pt x="704" y="314625"/>
                  <a:pt x="342" y="313720"/>
                </a:cubicBezTo>
                <a:cubicBezTo>
                  <a:pt x="-19" y="312997"/>
                  <a:pt x="-200" y="312093"/>
                  <a:pt x="342" y="311188"/>
                </a:cubicBezTo>
                <a:lnTo>
                  <a:pt x="146473" y="1566"/>
                </a:lnTo>
                <a:cubicBezTo>
                  <a:pt x="146835" y="842"/>
                  <a:pt x="147377" y="480"/>
                  <a:pt x="147920" y="119"/>
                </a:cubicBezTo>
                <a:cubicBezTo>
                  <a:pt x="148643" y="-62"/>
                  <a:pt x="149367" y="-62"/>
                  <a:pt x="149909" y="300"/>
                </a:cubicBezTo>
                <a:lnTo>
                  <a:pt x="1043511" y="422957"/>
                </a:lnTo>
                <a:cubicBezTo>
                  <a:pt x="1044777" y="423499"/>
                  <a:pt x="1045320" y="424765"/>
                  <a:pt x="1044958" y="426031"/>
                </a:cubicBezTo>
                <a:cubicBezTo>
                  <a:pt x="1044596" y="427659"/>
                  <a:pt x="1043330" y="428382"/>
                  <a:pt x="1042064" y="428382"/>
                </a:cubicBezTo>
                <a:close/>
                <a:moveTo>
                  <a:pt x="6672" y="310284"/>
                </a:moveTo>
                <a:lnTo>
                  <a:pt x="1026692" y="421329"/>
                </a:lnTo>
                <a:lnTo>
                  <a:pt x="150090" y="6630"/>
                </a:lnTo>
                <a:lnTo>
                  <a:pt x="6672" y="3102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4" name="Google Shape;1174;p53"/>
          <p:cNvSpPr/>
          <p:nvPr/>
        </p:nvSpPr>
        <p:spPr>
          <a:xfrm>
            <a:off x="10167956" y="3097608"/>
            <a:ext cx="548893" cy="839186"/>
          </a:xfrm>
          <a:custGeom>
            <a:avLst/>
            <a:gdLst/>
            <a:ahLst/>
            <a:cxnLst/>
            <a:rect l="l" t="t" r="r" b="b"/>
            <a:pathLst>
              <a:path w="548893" h="839186" extrusionOk="0">
                <a:moveTo>
                  <a:pt x="59682" y="839118"/>
                </a:moveTo>
                <a:cubicBezTo>
                  <a:pt x="59320" y="839118"/>
                  <a:pt x="58958" y="838938"/>
                  <a:pt x="58778" y="838938"/>
                </a:cubicBezTo>
                <a:cubicBezTo>
                  <a:pt x="57873" y="838576"/>
                  <a:pt x="57331" y="837672"/>
                  <a:pt x="57150" y="836586"/>
                </a:cubicBezTo>
                <a:lnTo>
                  <a:pt x="0" y="2847"/>
                </a:lnTo>
                <a:cubicBezTo>
                  <a:pt x="0" y="1762"/>
                  <a:pt x="543" y="677"/>
                  <a:pt x="1447" y="315"/>
                </a:cubicBezTo>
                <a:cubicBezTo>
                  <a:pt x="2351" y="-227"/>
                  <a:pt x="3617" y="-46"/>
                  <a:pt x="4340" y="677"/>
                </a:cubicBezTo>
                <a:lnTo>
                  <a:pt x="547989" y="480303"/>
                </a:lnTo>
                <a:cubicBezTo>
                  <a:pt x="548531" y="480846"/>
                  <a:pt x="548893" y="481569"/>
                  <a:pt x="548893" y="482473"/>
                </a:cubicBezTo>
                <a:cubicBezTo>
                  <a:pt x="548893" y="483378"/>
                  <a:pt x="548531" y="484101"/>
                  <a:pt x="547808" y="484463"/>
                </a:cubicBezTo>
                <a:lnTo>
                  <a:pt x="61310" y="838576"/>
                </a:lnTo>
                <a:cubicBezTo>
                  <a:pt x="60767" y="839118"/>
                  <a:pt x="60224" y="839299"/>
                  <a:pt x="59682" y="839118"/>
                </a:cubicBezTo>
                <a:close/>
                <a:moveTo>
                  <a:pt x="5787" y="8996"/>
                </a:moveTo>
                <a:lnTo>
                  <a:pt x="62214" y="831342"/>
                </a:lnTo>
                <a:lnTo>
                  <a:pt x="542021" y="481931"/>
                </a:lnTo>
                <a:lnTo>
                  <a:pt x="5787" y="89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5" name="Google Shape;1175;p53"/>
          <p:cNvSpPr/>
          <p:nvPr/>
        </p:nvSpPr>
        <p:spPr>
          <a:xfrm>
            <a:off x="10167910" y="2904393"/>
            <a:ext cx="548939" cy="678220"/>
          </a:xfrm>
          <a:custGeom>
            <a:avLst/>
            <a:gdLst/>
            <a:ahLst/>
            <a:cxnLst/>
            <a:rect l="l" t="t" r="r" b="b"/>
            <a:pathLst>
              <a:path w="548939" h="678220" extrusionOk="0">
                <a:moveTo>
                  <a:pt x="546227" y="678220"/>
                </a:moveTo>
                <a:cubicBezTo>
                  <a:pt x="545684" y="678220"/>
                  <a:pt x="545142" y="678040"/>
                  <a:pt x="544599" y="677497"/>
                </a:cubicBezTo>
                <a:lnTo>
                  <a:pt x="950" y="197871"/>
                </a:lnTo>
                <a:cubicBezTo>
                  <a:pt x="227" y="197328"/>
                  <a:pt x="-135" y="196243"/>
                  <a:pt x="46" y="195339"/>
                </a:cubicBezTo>
                <a:cubicBezTo>
                  <a:pt x="227" y="194435"/>
                  <a:pt x="769" y="193711"/>
                  <a:pt x="1674" y="193350"/>
                </a:cubicBezTo>
                <a:lnTo>
                  <a:pt x="512045" y="197"/>
                </a:lnTo>
                <a:cubicBezTo>
                  <a:pt x="512769" y="-165"/>
                  <a:pt x="513673" y="16"/>
                  <a:pt x="514396" y="378"/>
                </a:cubicBezTo>
                <a:cubicBezTo>
                  <a:pt x="515120" y="921"/>
                  <a:pt x="515481" y="1644"/>
                  <a:pt x="515662" y="2548"/>
                </a:cubicBezTo>
                <a:lnTo>
                  <a:pt x="548939" y="675327"/>
                </a:lnTo>
                <a:cubicBezTo>
                  <a:pt x="548939" y="676412"/>
                  <a:pt x="548397" y="677497"/>
                  <a:pt x="547493" y="677859"/>
                </a:cubicBezTo>
                <a:cubicBezTo>
                  <a:pt x="547131" y="678220"/>
                  <a:pt x="546588" y="678220"/>
                  <a:pt x="546227" y="678220"/>
                </a:cubicBezTo>
                <a:close/>
                <a:moveTo>
                  <a:pt x="7823" y="196786"/>
                </a:moveTo>
                <a:lnTo>
                  <a:pt x="543333" y="669178"/>
                </a:lnTo>
                <a:lnTo>
                  <a:pt x="510417" y="6527"/>
                </a:lnTo>
                <a:lnTo>
                  <a:pt x="7823" y="19678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6" name="Google Shape;1176;p53"/>
          <p:cNvSpPr/>
          <p:nvPr/>
        </p:nvSpPr>
        <p:spPr>
          <a:xfrm>
            <a:off x="10500480" y="1766981"/>
            <a:ext cx="1021558" cy="1142888"/>
          </a:xfrm>
          <a:custGeom>
            <a:avLst/>
            <a:gdLst/>
            <a:ahLst/>
            <a:cxnLst/>
            <a:rect l="l" t="t" r="r" b="b"/>
            <a:pathLst>
              <a:path w="1021558" h="1142888" extrusionOk="0">
                <a:moveTo>
                  <a:pt x="180380" y="1142854"/>
                </a:moveTo>
                <a:cubicBezTo>
                  <a:pt x="180199" y="1142854"/>
                  <a:pt x="180018" y="1142854"/>
                  <a:pt x="180018" y="1142854"/>
                </a:cubicBezTo>
                <a:cubicBezTo>
                  <a:pt x="178933" y="1142673"/>
                  <a:pt x="178209" y="1141769"/>
                  <a:pt x="178029" y="1140684"/>
                </a:cubicBezTo>
                <a:lnTo>
                  <a:pt x="68" y="141644"/>
                </a:lnTo>
                <a:cubicBezTo>
                  <a:pt x="-113" y="140920"/>
                  <a:pt x="68" y="140197"/>
                  <a:pt x="610" y="139654"/>
                </a:cubicBezTo>
                <a:cubicBezTo>
                  <a:pt x="972" y="139112"/>
                  <a:pt x="1696" y="138750"/>
                  <a:pt x="2419" y="138569"/>
                </a:cubicBezTo>
                <a:lnTo>
                  <a:pt x="1018460" y="35"/>
                </a:lnTo>
                <a:cubicBezTo>
                  <a:pt x="1019545" y="-146"/>
                  <a:pt x="1020630" y="396"/>
                  <a:pt x="1021172" y="1301"/>
                </a:cubicBezTo>
                <a:cubicBezTo>
                  <a:pt x="1021715" y="2205"/>
                  <a:pt x="1021715" y="3471"/>
                  <a:pt x="1020992" y="4194"/>
                </a:cubicBezTo>
                <a:lnTo>
                  <a:pt x="182912" y="1141769"/>
                </a:lnTo>
                <a:cubicBezTo>
                  <a:pt x="182007" y="1142492"/>
                  <a:pt x="181103" y="1143035"/>
                  <a:pt x="180380" y="1142854"/>
                </a:cubicBezTo>
                <a:close/>
                <a:moveTo>
                  <a:pt x="5674" y="143452"/>
                </a:moveTo>
                <a:lnTo>
                  <a:pt x="182007" y="1133630"/>
                </a:lnTo>
                <a:lnTo>
                  <a:pt x="1012491" y="6184"/>
                </a:lnTo>
                <a:lnTo>
                  <a:pt x="5674" y="1434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7" name="Google Shape;1177;p53"/>
          <p:cNvSpPr/>
          <p:nvPr/>
        </p:nvSpPr>
        <p:spPr>
          <a:xfrm>
            <a:off x="10678328" y="2904421"/>
            <a:ext cx="428873" cy="678192"/>
          </a:xfrm>
          <a:custGeom>
            <a:avLst/>
            <a:gdLst/>
            <a:ahLst/>
            <a:cxnLst/>
            <a:rect l="l" t="t" r="r" b="b"/>
            <a:pathLst>
              <a:path w="428873" h="678192" extrusionOk="0">
                <a:moveTo>
                  <a:pt x="35809" y="678193"/>
                </a:moveTo>
                <a:cubicBezTo>
                  <a:pt x="35267" y="678193"/>
                  <a:pt x="34905" y="678012"/>
                  <a:pt x="34543" y="677831"/>
                </a:cubicBezTo>
                <a:cubicBezTo>
                  <a:pt x="33820" y="677288"/>
                  <a:pt x="33458" y="676565"/>
                  <a:pt x="33277" y="675661"/>
                </a:cubicBezTo>
                <a:lnTo>
                  <a:pt x="0" y="2882"/>
                </a:lnTo>
                <a:cubicBezTo>
                  <a:pt x="0" y="1797"/>
                  <a:pt x="724" y="712"/>
                  <a:pt x="1809" y="169"/>
                </a:cubicBezTo>
                <a:cubicBezTo>
                  <a:pt x="2894" y="-192"/>
                  <a:pt x="4160" y="-12"/>
                  <a:pt x="4883" y="1074"/>
                </a:cubicBezTo>
                <a:lnTo>
                  <a:pt x="428264" y="526817"/>
                </a:lnTo>
                <a:cubicBezTo>
                  <a:pt x="428806" y="527541"/>
                  <a:pt x="428987" y="528445"/>
                  <a:pt x="428806" y="529168"/>
                </a:cubicBezTo>
                <a:cubicBezTo>
                  <a:pt x="428625" y="530073"/>
                  <a:pt x="427902" y="530615"/>
                  <a:pt x="427179" y="530977"/>
                </a:cubicBezTo>
                <a:lnTo>
                  <a:pt x="37075" y="678012"/>
                </a:lnTo>
                <a:cubicBezTo>
                  <a:pt x="36533" y="678193"/>
                  <a:pt x="36171" y="678193"/>
                  <a:pt x="35809" y="678193"/>
                </a:cubicBezTo>
                <a:close/>
                <a:moveTo>
                  <a:pt x="5787" y="11020"/>
                </a:moveTo>
                <a:lnTo>
                  <a:pt x="38522" y="671863"/>
                </a:lnTo>
                <a:lnTo>
                  <a:pt x="421572" y="527360"/>
                </a:lnTo>
                <a:lnTo>
                  <a:pt x="5787" y="110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8" name="Google Shape;1178;p53"/>
          <p:cNvSpPr/>
          <p:nvPr/>
        </p:nvSpPr>
        <p:spPr>
          <a:xfrm>
            <a:off x="10678303" y="2904296"/>
            <a:ext cx="761830" cy="531282"/>
          </a:xfrm>
          <a:custGeom>
            <a:avLst/>
            <a:gdLst/>
            <a:ahLst/>
            <a:cxnLst/>
            <a:rect l="l" t="t" r="r" b="b"/>
            <a:pathLst>
              <a:path w="761830" h="531282" extrusionOk="0">
                <a:moveTo>
                  <a:pt x="425937" y="531283"/>
                </a:moveTo>
                <a:cubicBezTo>
                  <a:pt x="425214" y="531102"/>
                  <a:pt x="424490" y="530921"/>
                  <a:pt x="423948" y="530198"/>
                </a:cubicBezTo>
                <a:lnTo>
                  <a:pt x="568" y="4454"/>
                </a:lnTo>
                <a:cubicBezTo>
                  <a:pt x="-156" y="3549"/>
                  <a:pt x="-156" y="2284"/>
                  <a:pt x="387" y="1198"/>
                </a:cubicBezTo>
                <a:cubicBezTo>
                  <a:pt x="1110" y="294"/>
                  <a:pt x="2376" y="-248"/>
                  <a:pt x="3461" y="113"/>
                </a:cubicBezTo>
                <a:lnTo>
                  <a:pt x="759976" y="243543"/>
                </a:lnTo>
                <a:cubicBezTo>
                  <a:pt x="760880" y="243905"/>
                  <a:pt x="761603" y="244628"/>
                  <a:pt x="761784" y="245533"/>
                </a:cubicBezTo>
                <a:cubicBezTo>
                  <a:pt x="761965" y="246437"/>
                  <a:pt x="761603" y="247522"/>
                  <a:pt x="760880" y="248065"/>
                </a:cubicBezTo>
                <a:lnTo>
                  <a:pt x="427746" y="530379"/>
                </a:lnTo>
                <a:cubicBezTo>
                  <a:pt x="427203" y="531102"/>
                  <a:pt x="426480" y="531283"/>
                  <a:pt x="425937" y="531283"/>
                </a:cubicBezTo>
                <a:close/>
                <a:moveTo>
                  <a:pt x="10334" y="8252"/>
                </a:moveTo>
                <a:lnTo>
                  <a:pt x="426299" y="524772"/>
                </a:lnTo>
                <a:lnTo>
                  <a:pt x="753646" y="247341"/>
                </a:lnTo>
                <a:lnTo>
                  <a:pt x="10334" y="825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79" name="Google Shape;1179;p53"/>
          <p:cNvSpPr/>
          <p:nvPr/>
        </p:nvSpPr>
        <p:spPr>
          <a:xfrm>
            <a:off x="10678039" y="1766877"/>
            <a:ext cx="843432" cy="1386455"/>
          </a:xfrm>
          <a:custGeom>
            <a:avLst/>
            <a:gdLst/>
            <a:ahLst/>
            <a:cxnLst/>
            <a:rect l="l" t="t" r="r" b="b"/>
            <a:pathLst>
              <a:path w="843432" h="1386455" extrusionOk="0">
                <a:moveTo>
                  <a:pt x="759154" y="1386388"/>
                </a:moveTo>
                <a:cubicBezTo>
                  <a:pt x="758974" y="1386388"/>
                  <a:pt x="758793" y="1386388"/>
                  <a:pt x="758431" y="1386207"/>
                </a:cubicBezTo>
                <a:lnTo>
                  <a:pt x="1917" y="1142777"/>
                </a:lnTo>
                <a:cubicBezTo>
                  <a:pt x="1012" y="1142596"/>
                  <a:pt x="470" y="1141873"/>
                  <a:pt x="108" y="1140968"/>
                </a:cubicBezTo>
                <a:cubicBezTo>
                  <a:pt x="-73" y="1140064"/>
                  <a:pt x="-73" y="1139160"/>
                  <a:pt x="470" y="1138617"/>
                </a:cubicBezTo>
                <a:lnTo>
                  <a:pt x="838550" y="1043"/>
                </a:lnTo>
                <a:cubicBezTo>
                  <a:pt x="839273" y="139"/>
                  <a:pt x="840539" y="-223"/>
                  <a:pt x="841624" y="139"/>
                </a:cubicBezTo>
                <a:cubicBezTo>
                  <a:pt x="842709" y="500"/>
                  <a:pt x="843433" y="1585"/>
                  <a:pt x="843433" y="2851"/>
                </a:cubicBezTo>
                <a:lnTo>
                  <a:pt x="761867" y="1383856"/>
                </a:lnTo>
                <a:cubicBezTo>
                  <a:pt x="761867" y="1384760"/>
                  <a:pt x="761325" y="1385484"/>
                  <a:pt x="760782" y="1385845"/>
                </a:cubicBezTo>
                <a:cubicBezTo>
                  <a:pt x="760421" y="1386388"/>
                  <a:pt x="759878" y="1386569"/>
                  <a:pt x="759154" y="1386388"/>
                </a:cubicBezTo>
                <a:close/>
                <a:moveTo>
                  <a:pt x="7342" y="1138979"/>
                </a:moveTo>
                <a:lnTo>
                  <a:pt x="756984" y="1380239"/>
                </a:lnTo>
                <a:lnTo>
                  <a:pt x="837826" y="11713"/>
                </a:lnTo>
                <a:lnTo>
                  <a:pt x="7342" y="113897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0" name="Google Shape;1180;p53"/>
          <p:cNvSpPr/>
          <p:nvPr/>
        </p:nvSpPr>
        <p:spPr>
          <a:xfrm>
            <a:off x="9849223" y="4241004"/>
            <a:ext cx="991831" cy="721347"/>
          </a:xfrm>
          <a:custGeom>
            <a:avLst/>
            <a:gdLst/>
            <a:ahLst/>
            <a:cxnLst/>
            <a:rect l="l" t="t" r="r" b="b"/>
            <a:pathLst>
              <a:path w="991831" h="721347" extrusionOk="0">
                <a:moveTo>
                  <a:pt x="2419" y="721348"/>
                </a:moveTo>
                <a:cubicBezTo>
                  <a:pt x="1695" y="721348"/>
                  <a:pt x="972" y="720986"/>
                  <a:pt x="610" y="720444"/>
                </a:cubicBezTo>
                <a:cubicBezTo>
                  <a:pt x="68" y="719720"/>
                  <a:pt x="-113" y="718816"/>
                  <a:pt x="68" y="717912"/>
                </a:cubicBezTo>
                <a:lnTo>
                  <a:pt x="229934" y="1909"/>
                </a:lnTo>
                <a:cubicBezTo>
                  <a:pt x="230115" y="1005"/>
                  <a:pt x="230838" y="462"/>
                  <a:pt x="231742" y="101"/>
                </a:cubicBezTo>
                <a:cubicBezTo>
                  <a:pt x="232647" y="-80"/>
                  <a:pt x="233551" y="-80"/>
                  <a:pt x="234274" y="643"/>
                </a:cubicBezTo>
                <a:lnTo>
                  <a:pt x="990789" y="593303"/>
                </a:lnTo>
                <a:cubicBezTo>
                  <a:pt x="991693" y="594027"/>
                  <a:pt x="992055" y="595112"/>
                  <a:pt x="991693" y="596197"/>
                </a:cubicBezTo>
                <a:cubicBezTo>
                  <a:pt x="991331" y="597282"/>
                  <a:pt x="990427" y="598005"/>
                  <a:pt x="989342" y="598186"/>
                </a:cubicBezTo>
                <a:lnTo>
                  <a:pt x="2962" y="721348"/>
                </a:lnTo>
                <a:cubicBezTo>
                  <a:pt x="2781" y="721348"/>
                  <a:pt x="2600" y="721348"/>
                  <a:pt x="2419" y="721348"/>
                </a:cubicBezTo>
                <a:close/>
                <a:moveTo>
                  <a:pt x="233913" y="7154"/>
                </a:moveTo>
                <a:lnTo>
                  <a:pt x="6579" y="715380"/>
                </a:lnTo>
                <a:lnTo>
                  <a:pt x="982289" y="593484"/>
                </a:lnTo>
                <a:lnTo>
                  <a:pt x="233913" y="71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1" name="Google Shape;1181;p53"/>
          <p:cNvSpPr/>
          <p:nvPr/>
        </p:nvSpPr>
        <p:spPr>
          <a:xfrm>
            <a:off x="9849360" y="4833736"/>
            <a:ext cx="991861" cy="443302"/>
          </a:xfrm>
          <a:custGeom>
            <a:avLst/>
            <a:gdLst/>
            <a:ahLst/>
            <a:cxnLst/>
            <a:rect l="l" t="t" r="r" b="b"/>
            <a:pathLst>
              <a:path w="991861" h="443302" extrusionOk="0">
                <a:moveTo>
                  <a:pt x="562569" y="443302"/>
                </a:moveTo>
                <a:cubicBezTo>
                  <a:pt x="562207" y="443302"/>
                  <a:pt x="561846" y="443121"/>
                  <a:pt x="561484" y="442940"/>
                </a:cubicBezTo>
                <a:lnTo>
                  <a:pt x="1377" y="128254"/>
                </a:lnTo>
                <a:cubicBezTo>
                  <a:pt x="292" y="127711"/>
                  <a:pt x="-250" y="126445"/>
                  <a:pt x="112" y="125360"/>
                </a:cubicBezTo>
                <a:cubicBezTo>
                  <a:pt x="292" y="124275"/>
                  <a:pt x="1197" y="123371"/>
                  <a:pt x="2463" y="123190"/>
                </a:cubicBezTo>
                <a:lnTo>
                  <a:pt x="988843" y="28"/>
                </a:lnTo>
                <a:cubicBezTo>
                  <a:pt x="989928" y="-153"/>
                  <a:pt x="991013" y="570"/>
                  <a:pt x="991556" y="1475"/>
                </a:cubicBezTo>
                <a:cubicBezTo>
                  <a:pt x="992098" y="2560"/>
                  <a:pt x="991918" y="3826"/>
                  <a:pt x="991013" y="4549"/>
                </a:cubicBezTo>
                <a:lnTo>
                  <a:pt x="564739" y="442398"/>
                </a:lnTo>
                <a:cubicBezTo>
                  <a:pt x="564016" y="442940"/>
                  <a:pt x="563293" y="443302"/>
                  <a:pt x="562569" y="443302"/>
                </a:cubicBezTo>
                <a:close/>
                <a:moveTo>
                  <a:pt x="10963" y="127530"/>
                </a:moveTo>
                <a:lnTo>
                  <a:pt x="562207" y="437153"/>
                </a:lnTo>
                <a:lnTo>
                  <a:pt x="981609" y="6177"/>
                </a:lnTo>
                <a:lnTo>
                  <a:pt x="10963" y="1275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2" name="Google Shape;1182;p53"/>
          <p:cNvSpPr/>
          <p:nvPr/>
        </p:nvSpPr>
        <p:spPr>
          <a:xfrm>
            <a:off x="10079018" y="4241104"/>
            <a:ext cx="1044825" cy="597904"/>
          </a:xfrm>
          <a:custGeom>
            <a:avLst/>
            <a:gdLst/>
            <a:ahLst/>
            <a:cxnLst/>
            <a:rect l="l" t="t" r="r" b="b"/>
            <a:pathLst>
              <a:path w="1044825" h="597904" extrusionOk="0">
                <a:moveTo>
                  <a:pt x="759004" y="597905"/>
                </a:moveTo>
                <a:cubicBezTo>
                  <a:pt x="758461" y="597905"/>
                  <a:pt x="757919" y="597724"/>
                  <a:pt x="757557" y="597362"/>
                </a:cubicBezTo>
                <a:lnTo>
                  <a:pt x="1043" y="4702"/>
                </a:lnTo>
                <a:cubicBezTo>
                  <a:pt x="139" y="3979"/>
                  <a:pt x="-223" y="2713"/>
                  <a:pt x="139" y="1628"/>
                </a:cubicBezTo>
                <a:cubicBezTo>
                  <a:pt x="500" y="543"/>
                  <a:pt x="1766" y="0"/>
                  <a:pt x="2851" y="0"/>
                </a:cubicBezTo>
                <a:lnTo>
                  <a:pt x="1042403" y="113034"/>
                </a:lnTo>
                <a:cubicBezTo>
                  <a:pt x="1043307" y="113215"/>
                  <a:pt x="1044031" y="113757"/>
                  <a:pt x="1044573" y="114481"/>
                </a:cubicBezTo>
                <a:cubicBezTo>
                  <a:pt x="1044935" y="115385"/>
                  <a:pt x="1044935" y="116289"/>
                  <a:pt x="1044392" y="117013"/>
                </a:cubicBezTo>
                <a:lnTo>
                  <a:pt x="761355" y="596639"/>
                </a:lnTo>
                <a:cubicBezTo>
                  <a:pt x="760993" y="597362"/>
                  <a:pt x="760270" y="597724"/>
                  <a:pt x="759547" y="597905"/>
                </a:cubicBezTo>
                <a:cubicBezTo>
                  <a:pt x="759547" y="597905"/>
                  <a:pt x="759185" y="597905"/>
                  <a:pt x="759004" y="597905"/>
                </a:cubicBezTo>
                <a:close/>
                <a:moveTo>
                  <a:pt x="11713" y="6330"/>
                </a:moveTo>
                <a:lnTo>
                  <a:pt x="758461" y="591394"/>
                </a:lnTo>
                <a:lnTo>
                  <a:pt x="1037882" y="118098"/>
                </a:lnTo>
                <a:lnTo>
                  <a:pt x="11713" y="63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3" name="Google Shape;1183;p53"/>
          <p:cNvSpPr/>
          <p:nvPr/>
        </p:nvSpPr>
        <p:spPr>
          <a:xfrm>
            <a:off x="10409332" y="4833860"/>
            <a:ext cx="431695" cy="555307"/>
          </a:xfrm>
          <a:custGeom>
            <a:avLst/>
            <a:gdLst/>
            <a:ahLst/>
            <a:cxnLst/>
            <a:rect l="l" t="t" r="r" b="b"/>
            <a:pathLst>
              <a:path w="431695" h="555307" extrusionOk="0">
                <a:moveTo>
                  <a:pt x="267007" y="555308"/>
                </a:moveTo>
                <a:cubicBezTo>
                  <a:pt x="266645" y="555308"/>
                  <a:pt x="266464" y="555127"/>
                  <a:pt x="266102" y="555127"/>
                </a:cubicBezTo>
                <a:lnTo>
                  <a:pt x="1693" y="442997"/>
                </a:lnTo>
                <a:cubicBezTo>
                  <a:pt x="789" y="442636"/>
                  <a:pt x="246" y="441912"/>
                  <a:pt x="65" y="441008"/>
                </a:cubicBezTo>
                <a:cubicBezTo>
                  <a:pt x="-116" y="440103"/>
                  <a:pt x="65" y="439199"/>
                  <a:pt x="789" y="438657"/>
                </a:cubicBezTo>
                <a:lnTo>
                  <a:pt x="427063" y="808"/>
                </a:lnTo>
                <a:cubicBezTo>
                  <a:pt x="427967" y="-96"/>
                  <a:pt x="429233" y="-277"/>
                  <a:pt x="430318" y="446"/>
                </a:cubicBezTo>
                <a:cubicBezTo>
                  <a:pt x="431403" y="989"/>
                  <a:pt x="431946" y="2255"/>
                  <a:pt x="431584" y="3521"/>
                </a:cubicBezTo>
                <a:lnTo>
                  <a:pt x="269900" y="553499"/>
                </a:lnTo>
                <a:cubicBezTo>
                  <a:pt x="269719" y="554223"/>
                  <a:pt x="269177" y="554765"/>
                  <a:pt x="268453" y="555127"/>
                </a:cubicBezTo>
                <a:cubicBezTo>
                  <a:pt x="267911" y="555127"/>
                  <a:pt x="267368" y="555308"/>
                  <a:pt x="267007" y="555308"/>
                </a:cubicBezTo>
                <a:close/>
                <a:moveTo>
                  <a:pt x="7300" y="439561"/>
                </a:moveTo>
                <a:lnTo>
                  <a:pt x="265379" y="548978"/>
                </a:lnTo>
                <a:lnTo>
                  <a:pt x="423265" y="12202"/>
                </a:lnTo>
                <a:lnTo>
                  <a:pt x="7300" y="43956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4" name="Google Shape;1184;p53"/>
          <p:cNvSpPr/>
          <p:nvPr/>
        </p:nvSpPr>
        <p:spPr>
          <a:xfrm>
            <a:off x="10673738" y="4833898"/>
            <a:ext cx="655846" cy="555270"/>
          </a:xfrm>
          <a:custGeom>
            <a:avLst/>
            <a:gdLst/>
            <a:ahLst/>
            <a:cxnLst/>
            <a:rect l="l" t="t" r="r" b="b"/>
            <a:pathLst>
              <a:path w="655846" h="555270" extrusionOk="0">
                <a:moveTo>
                  <a:pt x="2600" y="555270"/>
                </a:moveTo>
                <a:cubicBezTo>
                  <a:pt x="1876" y="555270"/>
                  <a:pt x="1153" y="554908"/>
                  <a:pt x="611" y="554185"/>
                </a:cubicBezTo>
                <a:cubicBezTo>
                  <a:pt x="68" y="553462"/>
                  <a:pt x="-113" y="552557"/>
                  <a:pt x="68" y="551834"/>
                </a:cubicBezTo>
                <a:lnTo>
                  <a:pt x="161752" y="1855"/>
                </a:lnTo>
                <a:cubicBezTo>
                  <a:pt x="161933" y="951"/>
                  <a:pt x="162837" y="228"/>
                  <a:pt x="163741" y="47"/>
                </a:cubicBezTo>
                <a:cubicBezTo>
                  <a:pt x="164645" y="-134"/>
                  <a:pt x="165731" y="228"/>
                  <a:pt x="166273" y="770"/>
                </a:cubicBezTo>
                <a:lnTo>
                  <a:pt x="655123" y="532844"/>
                </a:lnTo>
                <a:cubicBezTo>
                  <a:pt x="655846" y="533568"/>
                  <a:pt x="656027" y="534653"/>
                  <a:pt x="655665" y="535738"/>
                </a:cubicBezTo>
                <a:cubicBezTo>
                  <a:pt x="655304" y="536642"/>
                  <a:pt x="654400" y="537366"/>
                  <a:pt x="653314" y="537366"/>
                </a:cubicBezTo>
                <a:lnTo>
                  <a:pt x="2781" y="555270"/>
                </a:lnTo>
                <a:cubicBezTo>
                  <a:pt x="2781" y="555270"/>
                  <a:pt x="2600" y="555270"/>
                  <a:pt x="2600" y="555270"/>
                </a:cubicBezTo>
                <a:close/>
                <a:moveTo>
                  <a:pt x="165731" y="7824"/>
                </a:moveTo>
                <a:lnTo>
                  <a:pt x="6398" y="549664"/>
                </a:lnTo>
                <a:lnTo>
                  <a:pt x="647346" y="531940"/>
                </a:lnTo>
                <a:lnTo>
                  <a:pt x="165731" y="782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5" name="Google Shape;1185;p53"/>
          <p:cNvSpPr/>
          <p:nvPr/>
        </p:nvSpPr>
        <p:spPr>
          <a:xfrm>
            <a:off x="10835536" y="4354090"/>
            <a:ext cx="559021" cy="484989"/>
          </a:xfrm>
          <a:custGeom>
            <a:avLst/>
            <a:gdLst/>
            <a:ahLst/>
            <a:cxnLst/>
            <a:rect l="l" t="t" r="r" b="b"/>
            <a:pathLst>
              <a:path w="559021" h="484989" extrusionOk="0">
                <a:moveTo>
                  <a:pt x="2486" y="484919"/>
                </a:moveTo>
                <a:cubicBezTo>
                  <a:pt x="1762" y="484919"/>
                  <a:pt x="1039" y="484557"/>
                  <a:pt x="677" y="484015"/>
                </a:cubicBezTo>
                <a:cubicBezTo>
                  <a:pt x="-46" y="483110"/>
                  <a:pt x="-227" y="481844"/>
                  <a:pt x="315" y="480940"/>
                </a:cubicBezTo>
                <a:lnTo>
                  <a:pt x="283353" y="1314"/>
                </a:lnTo>
                <a:cubicBezTo>
                  <a:pt x="283714" y="591"/>
                  <a:pt x="284438" y="229"/>
                  <a:pt x="285161" y="48"/>
                </a:cubicBezTo>
                <a:cubicBezTo>
                  <a:pt x="285885" y="-133"/>
                  <a:pt x="286789" y="229"/>
                  <a:pt x="287331" y="591"/>
                </a:cubicBezTo>
                <a:lnTo>
                  <a:pt x="558071" y="236063"/>
                </a:lnTo>
                <a:cubicBezTo>
                  <a:pt x="558794" y="236606"/>
                  <a:pt x="559156" y="237510"/>
                  <a:pt x="558975" y="238414"/>
                </a:cubicBezTo>
                <a:cubicBezTo>
                  <a:pt x="558794" y="239319"/>
                  <a:pt x="558252" y="240042"/>
                  <a:pt x="557347" y="240404"/>
                </a:cubicBezTo>
                <a:lnTo>
                  <a:pt x="3571" y="484557"/>
                </a:lnTo>
                <a:cubicBezTo>
                  <a:pt x="3390" y="484919"/>
                  <a:pt x="3028" y="485100"/>
                  <a:pt x="2486" y="484919"/>
                </a:cubicBezTo>
                <a:close/>
                <a:moveTo>
                  <a:pt x="286427" y="6920"/>
                </a:moveTo>
                <a:lnTo>
                  <a:pt x="9358" y="476599"/>
                </a:lnTo>
                <a:lnTo>
                  <a:pt x="551560" y="237510"/>
                </a:lnTo>
                <a:lnTo>
                  <a:pt x="286427" y="69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6" name="Google Shape;1186;p53"/>
          <p:cNvSpPr/>
          <p:nvPr/>
        </p:nvSpPr>
        <p:spPr>
          <a:xfrm>
            <a:off x="10835490" y="4656662"/>
            <a:ext cx="760854" cy="714601"/>
          </a:xfrm>
          <a:custGeom>
            <a:avLst/>
            <a:gdLst/>
            <a:ahLst/>
            <a:cxnLst/>
            <a:rect l="l" t="t" r="r" b="b"/>
            <a:pathLst>
              <a:path w="760854" h="714601" extrusionOk="0">
                <a:moveTo>
                  <a:pt x="491382" y="714602"/>
                </a:moveTo>
                <a:cubicBezTo>
                  <a:pt x="490658" y="714602"/>
                  <a:pt x="490116" y="714240"/>
                  <a:pt x="489573" y="713698"/>
                </a:cubicBezTo>
                <a:lnTo>
                  <a:pt x="723" y="181624"/>
                </a:lnTo>
                <a:cubicBezTo>
                  <a:pt x="0" y="180901"/>
                  <a:pt x="-181" y="179996"/>
                  <a:pt x="181" y="179092"/>
                </a:cubicBezTo>
                <a:cubicBezTo>
                  <a:pt x="542" y="178188"/>
                  <a:pt x="1266" y="177464"/>
                  <a:pt x="2170" y="177284"/>
                </a:cubicBezTo>
                <a:lnTo>
                  <a:pt x="757419" y="46"/>
                </a:lnTo>
                <a:cubicBezTo>
                  <a:pt x="758323" y="-135"/>
                  <a:pt x="759408" y="227"/>
                  <a:pt x="760131" y="950"/>
                </a:cubicBezTo>
                <a:cubicBezTo>
                  <a:pt x="760855" y="1674"/>
                  <a:pt x="761036" y="2759"/>
                  <a:pt x="760674" y="3663"/>
                </a:cubicBezTo>
                <a:lnTo>
                  <a:pt x="494095" y="712794"/>
                </a:lnTo>
                <a:cubicBezTo>
                  <a:pt x="493733" y="713698"/>
                  <a:pt x="493009" y="714240"/>
                  <a:pt x="492105" y="714421"/>
                </a:cubicBezTo>
                <a:cubicBezTo>
                  <a:pt x="491743" y="714602"/>
                  <a:pt x="491563" y="714602"/>
                  <a:pt x="491382" y="714602"/>
                </a:cubicBezTo>
                <a:close/>
                <a:moveTo>
                  <a:pt x="7777" y="181262"/>
                </a:moveTo>
                <a:lnTo>
                  <a:pt x="490477" y="706825"/>
                </a:lnTo>
                <a:lnTo>
                  <a:pt x="753802" y="6376"/>
                </a:lnTo>
                <a:lnTo>
                  <a:pt x="7777" y="18126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7" name="Google Shape;1187;p53"/>
          <p:cNvSpPr/>
          <p:nvPr/>
        </p:nvSpPr>
        <p:spPr>
          <a:xfrm>
            <a:off x="10835561" y="4589492"/>
            <a:ext cx="760784" cy="249597"/>
          </a:xfrm>
          <a:custGeom>
            <a:avLst/>
            <a:gdLst/>
            <a:ahLst/>
            <a:cxnLst/>
            <a:rect l="l" t="t" r="r" b="b"/>
            <a:pathLst>
              <a:path w="760784" h="249597" extrusionOk="0">
                <a:moveTo>
                  <a:pt x="2461" y="249517"/>
                </a:moveTo>
                <a:cubicBezTo>
                  <a:pt x="1376" y="249517"/>
                  <a:pt x="472" y="248794"/>
                  <a:pt x="110" y="247708"/>
                </a:cubicBezTo>
                <a:cubicBezTo>
                  <a:pt x="-252" y="246443"/>
                  <a:pt x="291" y="244996"/>
                  <a:pt x="1557" y="244453"/>
                </a:cubicBezTo>
                <a:lnTo>
                  <a:pt x="555333" y="300"/>
                </a:lnTo>
                <a:cubicBezTo>
                  <a:pt x="555876" y="-62"/>
                  <a:pt x="556599" y="-62"/>
                  <a:pt x="557323" y="119"/>
                </a:cubicBezTo>
                <a:lnTo>
                  <a:pt x="758975" y="67216"/>
                </a:lnTo>
                <a:cubicBezTo>
                  <a:pt x="760060" y="67578"/>
                  <a:pt x="760784" y="68663"/>
                  <a:pt x="760784" y="69929"/>
                </a:cubicBezTo>
                <a:cubicBezTo>
                  <a:pt x="760784" y="71195"/>
                  <a:pt x="759880" y="72099"/>
                  <a:pt x="758795" y="72460"/>
                </a:cubicBezTo>
                <a:lnTo>
                  <a:pt x="3546" y="249517"/>
                </a:lnTo>
                <a:cubicBezTo>
                  <a:pt x="3004" y="249517"/>
                  <a:pt x="2823" y="249698"/>
                  <a:pt x="2461" y="249517"/>
                </a:cubicBezTo>
                <a:close/>
                <a:moveTo>
                  <a:pt x="556599" y="5725"/>
                </a:moveTo>
                <a:lnTo>
                  <a:pt x="30313" y="237761"/>
                </a:lnTo>
                <a:lnTo>
                  <a:pt x="748124" y="69386"/>
                </a:lnTo>
                <a:lnTo>
                  <a:pt x="556599" y="57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8" name="Google Shape;1188;p53"/>
          <p:cNvSpPr/>
          <p:nvPr/>
        </p:nvSpPr>
        <p:spPr>
          <a:xfrm>
            <a:off x="11896925" y="6061766"/>
            <a:ext cx="646006" cy="120991"/>
          </a:xfrm>
          <a:custGeom>
            <a:avLst/>
            <a:gdLst/>
            <a:ahLst/>
            <a:cxnLst/>
            <a:rect l="l" t="t" r="r" b="b"/>
            <a:pathLst>
              <a:path w="646006" h="120991" extrusionOk="0">
                <a:moveTo>
                  <a:pt x="501148" y="120991"/>
                </a:moveTo>
                <a:cubicBezTo>
                  <a:pt x="501148" y="120991"/>
                  <a:pt x="500967" y="120991"/>
                  <a:pt x="500967" y="120991"/>
                </a:cubicBezTo>
                <a:lnTo>
                  <a:pt x="2351" y="45394"/>
                </a:lnTo>
                <a:cubicBezTo>
                  <a:pt x="1085" y="45214"/>
                  <a:pt x="0" y="43947"/>
                  <a:pt x="0" y="42682"/>
                </a:cubicBezTo>
                <a:cubicBezTo>
                  <a:pt x="0" y="41235"/>
                  <a:pt x="1085" y="40150"/>
                  <a:pt x="2532" y="40150"/>
                </a:cubicBezTo>
                <a:lnTo>
                  <a:pt x="643119" y="0"/>
                </a:lnTo>
                <a:cubicBezTo>
                  <a:pt x="644385" y="0"/>
                  <a:pt x="645289" y="543"/>
                  <a:pt x="645831" y="1628"/>
                </a:cubicBezTo>
                <a:cubicBezTo>
                  <a:pt x="646193" y="2713"/>
                  <a:pt x="646012" y="3979"/>
                  <a:pt x="645108" y="4702"/>
                </a:cubicBezTo>
                <a:lnTo>
                  <a:pt x="503137" y="120449"/>
                </a:lnTo>
                <a:cubicBezTo>
                  <a:pt x="502595" y="120811"/>
                  <a:pt x="501871" y="120991"/>
                  <a:pt x="501148" y="120991"/>
                </a:cubicBezTo>
                <a:close/>
                <a:moveTo>
                  <a:pt x="28033" y="43767"/>
                </a:moveTo>
                <a:lnTo>
                  <a:pt x="500605" y="115385"/>
                </a:lnTo>
                <a:lnTo>
                  <a:pt x="635161" y="5606"/>
                </a:lnTo>
                <a:lnTo>
                  <a:pt x="28033" y="437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89" name="Google Shape;1189;p53"/>
          <p:cNvSpPr/>
          <p:nvPr/>
        </p:nvSpPr>
        <p:spPr>
          <a:xfrm>
            <a:off x="11896995" y="6101526"/>
            <a:ext cx="757168" cy="406091"/>
          </a:xfrm>
          <a:custGeom>
            <a:avLst/>
            <a:gdLst/>
            <a:ahLst/>
            <a:cxnLst/>
            <a:rect l="l" t="t" r="r" b="b"/>
            <a:pathLst>
              <a:path w="757168" h="406091" extrusionOk="0">
                <a:moveTo>
                  <a:pt x="754456" y="406046"/>
                </a:moveTo>
                <a:cubicBezTo>
                  <a:pt x="754094" y="406046"/>
                  <a:pt x="753732" y="405865"/>
                  <a:pt x="753371" y="405684"/>
                </a:cubicBezTo>
                <a:lnTo>
                  <a:pt x="1377" y="5091"/>
                </a:lnTo>
                <a:cubicBezTo>
                  <a:pt x="292" y="4549"/>
                  <a:pt x="-250" y="3102"/>
                  <a:pt x="112" y="1836"/>
                </a:cubicBezTo>
                <a:cubicBezTo>
                  <a:pt x="473" y="570"/>
                  <a:pt x="1558" y="-153"/>
                  <a:pt x="3005" y="28"/>
                </a:cubicBezTo>
                <a:lnTo>
                  <a:pt x="501621" y="75625"/>
                </a:lnTo>
                <a:cubicBezTo>
                  <a:pt x="502344" y="75806"/>
                  <a:pt x="502887" y="76167"/>
                  <a:pt x="503249" y="76710"/>
                </a:cubicBezTo>
                <a:lnTo>
                  <a:pt x="756626" y="401525"/>
                </a:lnTo>
                <a:cubicBezTo>
                  <a:pt x="757349" y="402610"/>
                  <a:pt x="757349" y="403875"/>
                  <a:pt x="756626" y="404960"/>
                </a:cubicBezTo>
                <a:cubicBezTo>
                  <a:pt x="756264" y="405865"/>
                  <a:pt x="755360" y="406226"/>
                  <a:pt x="754456" y="406046"/>
                </a:cubicBezTo>
                <a:close/>
                <a:moveTo>
                  <a:pt x="17835" y="7985"/>
                </a:moveTo>
                <a:lnTo>
                  <a:pt x="744689" y="395195"/>
                </a:lnTo>
                <a:lnTo>
                  <a:pt x="499813" y="81231"/>
                </a:lnTo>
                <a:lnTo>
                  <a:pt x="17835" y="798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0" name="Google Shape;1190;p53"/>
          <p:cNvSpPr/>
          <p:nvPr/>
        </p:nvSpPr>
        <p:spPr>
          <a:xfrm>
            <a:off x="7614904" y="4593833"/>
            <a:ext cx="754906" cy="328550"/>
          </a:xfrm>
          <a:custGeom>
            <a:avLst/>
            <a:gdLst/>
            <a:ahLst/>
            <a:cxnLst/>
            <a:rect l="l" t="t" r="r" b="b"/>
            <a:pathLst>
              <a:path w="754906" h="328550" extrusionOk="0">
                <a:moveTo>
                  <a:pt x="2461" y="328369"/>
                </a:moveTo>
                <a:cubicBezTo>
                  <a:pt x="1376" y="328369"/>
                  <a:pt x="472" y="327465"/>
                  <a:pt x="110" y="326380"/>
                </a:cubicBezTo>
                <a:cubicBezTo>
                  <a:pt x="-252" y="325114"/>
                  <a:pt x="291" y="323848"/>
                  <a:pt x="1557" y="323125"/>
                </a:cubicBezTo>
                <a:lnTo>
                  <a:pt x="637622" y="299"/>
                </a:lnTo>
                <a:cubicBezTo>
                  <a:pt x="638165" y="-62"/>
                  <a:pt x="639069" y="-62"/>
                  <a:pt x="639612" y="119"/>
                </a:cubicBezTo>
                <a:cubicBezTo>
                  <a:pt x="640335" y="299"/>
                  <a:pt x="640878" y="842"/>
                  <a:pt x="641239" y="1566"/>
                </a:cubicBezTo>
                <a:lnTo>
                  <a:pt x="754635" y="235410"/>
                </a:lnTo>
                <a:cubicBezTo>
                  <a:pt x="754997" y="236134"/>
                  <a:pt x="754997" y="237038"/>
                  <a:pt x="754635" y="237942"/>
                </a:cubicBezTo>
                <a:cubicBezTo>
                  <a:pt x="754273" y="238666"/>
                  <a:pt x="753369" y="239208"/>
                  <a:pt x="752646" y="239389"/>
                </a:cubicBezTo>
                <a:lnTo>
                  <a:pt x="3004" y="328550"/>
                </a:lnTo>
                <a:cubicBezTo>
                  <a:pt x="2823" y="328369"/>
                  <a:pt x="2642" y="328369"/>
                  <a:pt x="2461" y="328369"/>
                </a:cubicBezTo>
                <a:close/>
                <a:moveTo>
                  <a:pt x="637441" y="6448"/>
                </a:moveTo>
                <a:lnTo>
                  <a:pt x="17291" y="321135"/>
                </a:lnTo>
                <a:lnTo>
                  <a:pt x="748124" y="234325"/>
                </a:lnTo>
                <a:lnTo>
                  <a:pt x="637441" y="644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1" name="Google Shape;1191;p53"/>
          <p:cNvSpPr/>
          <p:nvPr/>
        </p:nvSpPr>
        <p:spPr>
          <a:xfrm>
            <a:off x="8250989" y="4541142"/>
            <a:ext cx="389243" cy="291899"/>
          </a:xfrm>
          <a:custGeom>
            <a:avLst/>
            <a:gdLst/>
            <a:ahLst/>
            <a:cxnLst/>
            <a:rect l="l" t="t" r="r" b="b"/>
            <a:pathLst>
              <a:path w="389243" h="291899" extrusionOk="0">
                <a:moveTo>
                  <a:pt x="115837" y="291899"/>
                </a:moveTo>
                <a:cubicBezTo>
                  <a:pt x="115837" y="291899"/>
                  <a:pt x="115656" y="291899"/>
                  <a:pt x="115656" y="291899"/>
                </a:cubicBezTo>
                <a:cubicBezTo>
                  <a:pt x="114752" y="291718"/>
                  <a:pt x="114029" y="291175"/>
                  <a:pt x="113667" y="290452"/>
                </a:cubicBezTo>
                <a:lnTo>
                  <a:pt x="271" y="56607"/>
                </a:lnTo>
                <a:cubicBezTo>
                  <a:pt x="-90" y="55884"/>
                  <a:pt x="-90" y="54980"/>
                  <a:pt x="271" y="54075"/>
                </a:cubicBezTo>
                <a:cubicBezTo>
                  <a:pt x="633" y="53352"/>
                  <a:pt x="1356" y="52809"/>
                  <a:pt x="2261" y="52629"/>
                </a:cubicBezTo>
                <a:lnTo>
                  <a:pt x="386215" y="0"/>
                </a:lnTo>
                <a:cubicBezTo>
                  <a:pt x="387300" y="0"/>
                  <a:pt x="388385" y="362"/>
                  <a:pt x="388928" y="1447"/>
                </a:cubicBezTo>
                <a:cubicBezTo>
                  <a:pt x="389470" y="2532"/>
                  <a:pt x="389289" y="3617"/>
                  <a:pt x="388566" y="4521"/>
                </a:cubicBezTo>
                <a:lnTo>
                  <a:pt x="118008" y="290995"/>
                </a:lnTo>
                <a:cubicBezTo>
                  <a:pt x="117465" y="291718"/>
                  <a:pt x="116742" y="291899"/>
                  <a:pt x="115837" y="291899"/>
                </a:cubicBezTo>
                <a:close/>
                <a:moveTo>
                  <a:pt x="6601" y="57512"/>
                </a:moveTo>
                <a:lnTo>
                  <a:pt x="116742" y="284484"/>
                </a:lnTo>
                <a:lnTo>
                  <a:pt x="379342" y="6511"/>
                </a:lnTo>
                <a:lnTo>
                  <a:pt x="6601" y="5751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2" name="Google Shape;1192;p53"/>
          <p:cNvSpPr/>
          <p:nvPr/>
        </p:nvSpPr>
        <p:spPr>
          <a:xfrm>
            <a:off x="9529267" y="2916615"/>
            <a:ext cx="152282" cy="457319"/>
          </a:xfrm>
          <a:custGeom>
            <a:avLst/>
            <a:gdLst/>
            <a:ahLst/>
            <a:cxnLst/>
            <a:rect l="l" t="t" r="r" b="b"/>
            <a:pathLst>
              <a:path w="152282" h="457319" extrusionOk="0">
                <a:moveTo>
                  <a:pt x="2624" y="457292"/>
                </a:moveTo>
                <a:cubicBezTo>
                  <a:pt x="2443" y="457292"/>
                  <a:pt x="2262" y="457292"/>
                  <a:pt x="1901" y="457111"/>
                </a:cubicBezTo>
                <a:cubicBezTo>
                  <a:pt x="454" y="456569"/>
                  <a:pt x="-270" y="455122"/>
                  <a:pt x="92" y="453675"/>
                </a:cubicBezTo>
                <a:lnTo>
                  <a:pt x="146946" y="1901"/>
                </a:lnTo>
                <a:cubicBezTo>
                  <a:pt x="147489" y="454"/>
                  <a:pt x="148935" y="-270"/>
                  <a:pt x="150382" y="92"/>
                </a:cubicBezTo>
                <a:cubicBezTo>
                  <a:pt x="151829" y="635"/>
                  <a:pt x="152553" y="2082"/>
                  <a:pt x="152191" y="3528"/>
                </a:cubicBezTo>
                <a:lnTo>
                  <a:pt x="5337" y="455303"/>
                </a:lnTo>
                <a:cubicBezTo>
                  <a:pt x="4975" y="456750"/>
                  <a:pt x="3890" y="457473"/>
                  <a:pt x="2624" y="457292"/>
                </a:cubicBez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3" name="Google Shape;1193;p53"/>
          <p:cNvSpPr/>
          <p:nvPr/>
        </p:nvSpPr>
        <p:spPr>
          <a:xfrm>
            <a:off x="9529398" y="2916589"/>
            <a:ext cx="644164" cy="457318"/>
          </a:xfrm>
          <a:custGeom>
            <a:avLst/>
            <a:gdLst/>
            <a:ahLst/>
            <a:cxnLst/>
            <a:rect l="l" t="t" r="r" b="b"/>
            <a:pathLst>
              <a:path w="644164" h="457318" extrusionOk="0">
                <a:moveTo>
                  <a:pt x="2493" y="457319"/>
                </a:moveTo>
                <a:cubicBezTo>
                  <a:pt x="1950" y="457319"/>
                  <a:pt x="1227" y="456957"/>
                  <a:pt x="865" y="456595"/>
                </a:cubicBezTo>
                <a:cubicBezTo>
                  <a:pt x="142" y="455872"/>
                  <a:pt x="-220" y="454787"/>
                  <a:pt x="142" y="453702"/>
                </a:cubicBezTo>
                <a:lnTo>
                  <a:pt x="146996" y="1927"/>
                </a:lnTo>
                <a:cubicBezTo>
                  <a:pt x="147177" y="1204"/>
                  <a:pt x="147719" y="661"/>
                  <a:pt x="148443" y="300"/>
                </a:cubicBezTo>
                <a:cubicBezTo>
                  <a:pt x="149166" y="-62"/>
                  <a:pt x="149889" y="-62"/>
                  <a:pt x="150613" y="119"/>
                </a:cubicBezTo>
                <a:lnTo>
                  <a:pt x="642356" y="180973"/>
                </a:lnTo>
                <a:cubicBezTo>
                  <a:pt x="643441" y="181335"/>
                  <a:pt x="644165" y="182420"/>
                  <a:pt x="644165" y="183505"/>
                </a:cubicBezTo>
                <a:cubicBezTo>
                  <a:pt x="644165" y="184590"/>
                  <a:pt x="643622" y="185675"/>
                  <a:pt x="642537" y="186037"/>
                </a:cubicBezTo>
                <a:lnTo>
                  <a:pt x="4121" y="456957"/>
                </a:lnTo>
                <a:cubicBezTo>
                  <a:pt x="3397" y="457319"/>
                  <a:pt x="3036" y="457319"/>
                  <a:pt x="2493" y="457319"/>
                </a:cubicBezTo>
                <a:close/>
                <a:moveTo>
                  <a:pt x="151155" y="6268"/>
                </a:moveTo>
                <a:lnTo>
                  <a:pt x="7014" y="449904"/>
                </a:lnTo>
                <a:lnTo>
                  <a:pt x="633675" y="183867"/>
                </a:lnTo>
                <a:lnTo>
                  <a:pt x="151155" y="626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4" name="Google Shape;1194;p53"/>
          <p:cNvSpPr/>
          <p:nvPr/>
        </p:nvSpPr>
        <p:spPr>
          <a:xfrm>
            <a:off x="9529496" y="3368638"/>
            <a:ext cx="700994" cy="598834"/>
          </a:xfrm>
          <a:custGeom>
            <a:avLst/>
            <a:gdLst/>
            <a:ahLst/>
            <a:cxnLst/>
            <a:rect l="l" t="t" r="r" b="b"/>
            <a:pathLst>
              <a:path w="700994" h="598834" extrusionOk="0">
                <a:moveTo>
                  <a:pt x="144005" y="598834"/>
                </a:moveTo>
                <a:cubicBezTo>
                  <a:pt x="142919" y="598834"/>
                  <a:pt x="141834" y="597930"/>
                  <a:pt x="141473" y="596845"/>
                </a:cubicBezTo>
                <a:lnTo>
                  <a:pt x="44" y="3280"/>
                </a:lnTo>
                <a:cubicBezTo>
                  <a:pt x="-136" y="2195"/>
                  <a:pt x="225" y="929"/>
                  <a:pt x="1310" y="387"/>
                </a:cubicBezTo>
                <a:cubicBezTo>
                  <a:pt x="2215" y="-156"/>
                  <a:pt x="3481" y="-156"/>
                  <a:pt x="4385" y="568"/>
                </a:cubicBezTo>
                <a:lnTo>
                  <a:pt x="699951" y="563387"/>
                </a:lnTo>
                <a:cubicBezTo>
                  <a:pt x="700856" y="564110"/>
                  <a:pt x="701217" y="565195"/>
                  <a:pt x="700856" y="566280"/>
                </a:cubicBezTo>
                <a:cubicBezTo>
                  <a:pt x="700494" y="567365"/>
                  <a:pt x="699590" y="568089"/>
                  <a:pt x="698504" y="568089"/>
                </a:cubicBezTo>
                <a:lnTo>
                  <a:pt x="144366" y="598834"/>
                </a:lnTo>
                <a:cubicBezTo>
                  <a:pt x="144185" y="598834"/>
                  <a:pt x="144005" y="598834"/>
                  <a:pt x="144005" y="598834"/>
                </a:cubicBezTo>
                <a:close/>
                <a:moveTo>
                  <a:pt x="7098" y="9791"/>
                </a:moveTo>
                <a:lnTo>
                  <a:pt x="146175" y="593408"/>
                </a:lnTo>
                <a:lnTo>
                  <a:pt x="691089" y="563206"/>
                </a:lnTo>
                <a:lnTo>
                  <a:pt x="7098" y="9791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5" name="Google Shape;1195;p53"/>
          <p:cNvSpPr/>
          <p:nvPr/>
        </p:nvSpPr>
        <p:spPr>
          <a:xfrm>
            <a:off x="9529675" y="3097545"/>
            <a:ext cx="701037" cy="839251"/>
          </a:xfrm>
          <a:custGeom>
            <a:avLst/>
            <a:gdLst/>
            <a:ahLst/>
            <a:cxnLst/>
            <a:rect l="l" t="t" r="r" b="b"/>
            <a:pathLst>
              <a:path w="701037" h="839251" extrusionOk="0">
                <a:moveTo>
                  <a:pt x="697964" y="839181"/>
                </a:moveTo>
                <a:cubicBezTo>
                  <a:pt x="697421" y="839181"/>
                  <a:pt x="696878" y="839000"/>
                  <a:pt x="696517" y="838638"/>
                </a:cubicBezTo>
                <a:lnTo>
                  <a:pt x="950" y="275819"/>
                </a:lnTo>
                <a:cubicBezTo>
                  <a:pt x="227" y="275277"/>
                  <a:pt x="-135" y="274373"/>
                  <a:pt x="46" y="273287"/>
                </a:cubicBezTo>
                <a:cubicBezTo>
                  <a:pt x="227" y="272383"/>
                  <a:pt x="769" y="271479"/>
                  <a:pt x="1674" y="271117"/>
                </a:cubicBezTo>
                <a:lnTo>
                  <a:pt x="640090" y="197"/>
                </a:lnTo>
                <a:cubicBezTo>
                  <a:pt x="640814" y="-165"/>
                  <a:pt x="641899" y="16"/>
                  <a:pt x="642622" y="378"/>
                </a:cubicBezTo>
                <a:cubicBezTo>
                  <a:pt x="643346" y="740"/>
                  <a:pt x="643888" y="1644"/>
                  <a:pt x="643888" y="2548"/>
                </a:cubicBezTo>
                <a:lnTo>
                  <a:pt x="701038" y="836287"/>
                </a:lnTo>
                <a:cubicBezTo>
                  <a:pt x="701038" y="837372"/>
                  <a:pt x="700495" y="838277"/>
                  <a:pt x="699591" y="838819"/>
                </a:cubicBezTo>
                <a:cubicBezTo>
                  <a:pt x="698868" y="839181"/>
                  <a:pt x="698325" y="839362"/>
                  <a:pt x="697964" y="839181"/>
                </a:cubicBezTo>
                <a:close/>
                <a:moveTo>
                  <a:pt x="7642" y="274373"/>
                </a:moveTo>
                <a:lnTo>
                  <a:pt x="694889" y="830500"/>
                </a:lnTo>
                <a:lnTo>
                  <a:pt x="638463" y="6527"/>
                </a:lnTo>
                <a:lnTo>
                  <a:pt x="7642" y="27437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6" name="Google Shape;1196;p53"/>
          <p:cNvSpPr/>
          <p:nvPr/>
        </p:nvSpPr>
        <p:spPr>
          <a:xfrm>
            <a:off x="9268153" y="3962046"/>
            <a:ext cx="423829" cy="391007"/>
          </a:xfrm>
          <a:custGeom>
            <a:avLst/>
            <a:gdLst/>
            <a:ahLst/>
            <a:cxnLst/>
            <a:rect l="l" t="t" r="r" b="b"/>
            <a:pathLst>
              <a:path w="423829" h="391007" extrusionOk="0">
                <a:moveTo>
                  <a:pt x="2584" y="391007"/>
                </a:moveTo>
                <a:cubicBezTo>
                  <a:pt x="1860" y="391007"/>
                  <a:pt x="1137" y="390646"/>
                  <a:pt x="594" y="389922"/>
                </a:cubicBezTo>
                <a:cubicBezTo>
                  <a:pt x="-310" y="388837"/>
                  <a:pt x="-129" y="387209"/>
                  <a:pt x="775" y="386305"/>
                </a:cubicBezTo>
                <a:lnTo>
                  <a:pt x="403538" y="723"/>
                </a:lnTo>
                <a:cubicBezTo>
                  <a:pt x="404262" y="0"/>
                  <a:pt x="405347" y="-181"/>
                  <a:pt x="406251" y="181"/>
                </a:cubicBezTo>
                <a:cubicBezTo>
                  <a:pt x="407155" y="543"/>
                  <a:pt x="407879" y="1266"/>
                  <a:pt x="408060" y="2351"/>
                </a:cubicBezTo>
                <a:lnTo>
                  <a:pt x="423794" y="111225"/>
                </a:lnTo>
                <a:cubicBezTo>
                  <a:pt x="423975" y="112311"/>
                  <a:pt x="423432" y="113215"/>
                  <a:pt x="422709" y="113938"/>
                </a:cubicBezTo>
                <a:lnTo>
                  <a:pt x="4212" y="390646"/>
                </a:lnTo>
                <a:cubicBezTo>
                  <a:pt x="3669" y="390826"/>
                  <a:pt x="3126" y="391007"/>
                  <a:pt x="2584" y="391007"/>
                </a:cubicBezTo>
                <a:close/>
                <a:moveTo>
                  <a:pt x="403538" y="8319"/>
                </a:moveTo>
                <a:lnTo>
                  <a:pt x="26095" y="369486"/>
                </a:lnTo>
                <a:lnTo>
                  <a:pt x="418188" y="110321"/>
                </a:lnTo>
                <a:lnTo>
                  <a:pt x="403538" y="831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7" name="Google Shape;1197;p53"/>
          <p:cNvSpPr/>
          <p:nvPr/>
        </p:nvSpPr>
        <p:spPr>
          <a:xfrm>
            <a:off x="9268250" y="4071002"/>
            <a:ext cx="665200" cy="282050"/>
          </a:xfrm>
          <a:custGeom>
            <a:avLst/>
            <a:gdLst/>
            <a:ahLst/>
            <a:cxnLst/>
            <a:rect l="l" t="t" r="r" b="b"/>
            <a:pathLst>
              <a:path w="665200" h="282050" extrusionOk="0">
                <a:moveTo>
                  <a:pt x="2487" y="282051"/>
                </a:moveTo>
                <a:cubicBezTo>
                  <a:pt x="1402" y="282051"/>
                  <a:pt x="497" y="281328"/>
                  <a:pt x="136" y="280242"/>
                </a:cubicBezTo>
                <a:cubicBezTo>
                  <a:pt x="-226" y="279157"/>
                  <a:pt x="136" y="277710"/>
                  <a:pt x="1221" y="277168"/>
                </a:cubicBezTo>
                <a:lnTo>
                  <a:pt x="419718" y="461"/>
                </a:lnTo>
                <a:cubicBezTo>
                  <a:pt x="420803" y="-263"/>
                  <a:pt x="422069" y="-82"/>
                  <a:pt x="422973" y="641"/>
                </a:cubicBezTo>
                <a:lnTo>
                  <a:pt x="664233" y="206092"/>
                </a:lnTo>
                <a:cubicBezTo>
                  <a:pt x="665138" y="206816"/>
                  <a:pt x="665319" y="207901"/>
                  <a:pt x="665138" y="208986"/>
                </a:cubicBezTo>
                <a:cubicBezTo>
                  <a:pt x="664776" y="210071"/>
                  <a:pt x="663872" y="210794"/>
                  <a:pt x="662787" y="210794"/>
                </a:cubicBezTo>
                <a:lnTo>
                  <a:pt x="3029" y="282051"/>
                </a:lnTo>
                <a:cubicBezTo>
                  <a:pt x="2849" y="282051"/>
                  <a:pt x="2668" y="282051"/>
                  <a:pt x="2487" y="282051"/>
                </a:cubicBezTo>
                <a:close/>
                <a:moveTo>
                  <a:pt x="420984" y="6067"/>
                </a:moveTo>
                <a:lnTo>
                  <a:pt x="13338" y="275540"/>
                </a:lnTo>
                <a:lnTo>
                  <a:pt x="655914" y="206092"/>
                </a:lnTo>
                <a:lnTo>
                  <a:pt x="420984" y="606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8" name="Google Shape;1198;p53"/>
          <p:cNvSpPr/>
          <p:nvPr/>
        </p:nvSpPr>
        <p:spPr>
          <a:xfrm>
            <a:off x="9268205" y="4276324"/>
            <a:ext cx="665049" cy="686027"/>
          </a:xfrm>
          <a:custGeom>
            <a:avLst/>
            <a:gdLst/>
            <a:ahLst/>
            <a:cxnLst/>
            <a:rect l="l" t="t" r="r" b="b"/>
            <a:pathLst>
              <a:path w="665049" h="686027" extrusionOk="0">
                <a:moveTo>
                  <a:pt x="583437" y="686028"/>
                </a:moveTo>
                <a:cubicBezTo>
                  <a:pt x="582713" y="686028"/>
                  <a:pt x="582171" y="685666"/>
                  <a:pt x="581628" y="685124"/>
                </a:cubicBezTo>
                <a:lnTo>
                  <a:pt x="723" y="75825"/>
                </a:lnTo>
                <a:cubicBezTo>
                  <a:pt x="0" y="75102"/>
                  <a:pt x="-181" y="74017"/>
                  <a:pt x="181" y="73112"/>
                </a:cubicBezTo>
                <a:cubicBezTo>
                  <a:pt x="543" y="72208"/>
                  <a:pt x="1447" y="71485"/>
                  <a:pt x="2351" y="71304"/>
                </a:cubicBezTo>
                <a:lnTo>
                  <a:pt x="662108" y="47"/>
                </a:lnTo>
                <a:cubicBezTo>
                  <a:pt x="663013" y="-134"/>
                  <a:pt x="663736" y="228"/>
                  <a:pt x="664279" y="770"/>
                </a:cubicBezTo>
                <a:cubicBezTo>
                  <a:pt x="664821" y="1313"/>
                  <a:pt x="665183" y="2217"/>
                  <a:pt x="665002" y="2941"/>
                </a:cubicBezTo>
                <a:lnTo>
                  <a:pt x="586330" y="683496"/>
                </a:lnTo>
                <a:cubicBezTo>
                  <a:pt x="586149" y="684581"/>
                  <a:pt x="585426" y="685485"/>
                  <a:pt x="584522" y="685666"/>
                </a:cubicBezTo>
                <a:cubicBezTo>
                  <a:pt x="584160" y="686028"/>
                  <a:pt x="583798" y="686028"/>
                  <a:pt x="583437" y="686028"/>
                </a:cubicBezTo>
                <a:close/>
                <a:moveTo>
                  <a:pt x="8319" y="76187"/>
                </a:moveTo>
                <a:lnTo>
                  <a:pt x="581628" y="677347"/>
                </a:lnTo>
                <a:lnTo>
                  <a:pt x="659396" y="5834"/>
                </a:lnTo>
                <a:lnTo>
                  <a:pt x="8319" y="7618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199" name="Google Shape;1199;p53"/>
          <p:cNvSpPr/>
          <p:nvPr/>
        </p:nvSpPr>
        <p:spPr>
          <a:xfrm>
            <a:off x="11118464" y="3446764"/>
            <a:ext cx="1016826" cy="912800"/>
          </a:xfrm>
          <a:custGeom>
            <a:avLst/>
            <a:gdLst/>
            <a:ahLst/>
            <a:cxnLst/>
            <a:rect l="l" t="t" r="r" b="b"/>
            <a:pathLst>
              <a:path w="1016826" h="912800" extrusionOk="0">
                <a:moveTo>
                  <a:pt x="2595" y="912800"/>
                </a:moveTo>
                <a:cubicBezTo>
                  <a:pt x="2053" y="912800"/>
                  <a:pt x="1510" y="912619"/>
                  <a:pt x="967" y="912258"/>
                </a:cubicBezTo>
                <a:cubicBezTo>
                  <a:pt x="63" y="911534"/>
                  <a:pt x="-118" y="910449"/>
                  <a:pt x="63" y="909364"/>
                </a:cubicBezTo>
                <a:lnTo>
                  <a:pt x="299558" y="1837"/>
                </a:lnTo>
                <a:cubicBezTo>
                  <a:pt x="299739" y="1113"/>
                  <a:pt x="300281" y="571"/>
                  <a:pt x="301005" y="209"/>
                </a:cubicBezTo>
                <a:cubicBezTo>
                  <a:pt x="301728" y="-153"/>
                  <a:pt x="302452" y="28"/>
                  <a:pt x="303175" y="209"/>
                </a:cubicBezTo>
                <a:lnTo>
                  <a:pt x="1015380" y="352875"/>
                </a:lnTo>
                <a:cubicBezTo>
                  <a:pt x="1016284" y="353237"/>
                  <a:pt x="1016827" y="354141"/>
                  <a:pt x="1016827" y="355226"/>
                </a:cubicBezTo>
                <a:cubicBezTo>
                  <a:pt x="1016827" y="356311"/>
                  <a:pt x="1016284" y="357215"/>
                  <a:pt x="1015380" y="357577"/>
                </a:cubicBezTo>
                <a:lnTo>
                  <a:pt x="3680" y="912439"/>
                </a:lnTo>
                <a:cubicBezTo>
                  <a:pt x="3680" y="912619"/>
                  <a:pt x="3138" y="912800"/>
                  <a:pt x="2595" y="912800"/>
                </a:cubicBezTo>
                <a:close/>
                <a:moveTo>
                  <a:pt x="303899" y="6358"/>
                </a:moveTo>
                <a:lnTo>
                  <a:pt x="7478" y="904481"/>
                </a:lnTo>
                <a:lnTo>
                  <a:pt x="1008689" y="355407"/>
                </a:lnTo>
                <a:lnTo>
                  <a:pt x="303899" y="6358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0" name="Google Shape;1200;p53"/>
          <p:cNvSpPr/>
          <p:nvPr/>
        </p:nvSpPr>
        <p:spPr>
          <a:xfrm>
            <a:off x="11118597" y="3799339"/>
            <a:ext cx="1199003" cy="560224"/>
          </a:xfrm>
          <a:custGeom>
            <a:avLst/>
            <a:gdLst/>
            <a:ahLst/>
            <a:cxnLst/>
            <a:rect l="l" t="t" r="r" b="b"/>
            <a:pathLst>
              <a:path w="1199003" h="560224" extrusionOk="0">
                <a:moveTo>
                  <a:pt x="2463" y="560225"/>
                </a:moveTo>
                <a:cubicBezTo>
                  <a:pt x="1378" y="560225"/>
                  <a:pt x="292" y="559321"/>
                  <a:pt x="112" y="558235"/>
                </a:cubicBezTo>
                <a:cubicBezTo>
                  <a:pt x="-250" y="556970"/>
                  <a:pt x="292" y="555704"/>
                  <a:pt x="1378" y="555161"/>
                </a:cubicBezTo>
                <a:lnTo>
                  <a:pt x="1013078" y="300"/>
                </a:lnTo>
                <a:cubicBezTo>
                  <a:pt x="1013801" y="-62"/>
                  <a:pt x="1014524" y="-62"/>
                  <a:pt x="1015248" y="119"/>
                </a:cubicBezTo>
                <a:cubicBezTo>
                  <a:pt x="1015972" y="480"/>
                  <a:pt x="1016514" y="1023"/>
                  <a:pt x="1016876" y="1746"/>
                </a:cubicBezTo>
                <a:lnTo>
                  <a:pt x="1198815" y="500905"/>
                </a:lnTo>
                <a:cubicBezTo>
                  <a:pt x="1199177" y="501628"/>
                  <a:pt x="1198996" y="502532"/>
                  <a:pt x="1198454" y="503256"/>
                </a:cubicBezTo>
                <a:cubicBezTo>
                  <a:pt x="1197911" y="503979"/>
                  <a:pt x="1197188" y="504341"/>
                  <a:pt x="1196284" y="504522"/>
                </a:cubicBezTo>
                <a:lnTo>
                  <a:pt x="2644" y="560225"/>
                </a:lnTo>
                <a:cubicBezTo>
                  <a:pt x="2644" y="560225"/>
                  <a:pt x="2644" y="560225"/>
                  <a:pt x="2463" y="560225"/>
                </a:cubicBezTo>
                <a:close/>
                <a:moveTo>
                  <a:pt x="1012897" y="6449"/>
                </a:moveTo>
                <a:lnTo>
                  <a:pt x="14218" y="554257"/>
                </a:lnTo>
                <a:lnTo>
                  <a:pt x="1192666" y="499096"/>
                </a:lnTo>
                <a:lnTo>
                  <a:pt x="1012897" y="644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1" name="Google Shape;1201;p53"/>
          <p:cNvSpPr/>
          <p:nvPr/>
        </p:nvSpPr>
        <p:spPr>
          <a:xfrm>
            <a:off x="11417928" y="3446249"/>
            <a:ext cx="800265" cy="358272"/>
          </a:xfrm>
          <a:custGeom>
            <a:avLst/>
            <a:gdLst/>
            <a:ahLst/>
            <a:cxnLst/>
            <a:rect l="l" t="t" r="r" b="b"/>
            <a:pathLst>
              <a:path w="800265" h="358272" extrusionOk="0">
                <a:moveTo>
                  <a:pt x="714831" y="358273"/>
                </a:moveTo>
                <a:cubicBezTo>
                  <a:pt x="714469" y="358273"/>
                  <a:pt x="714108" y="358092"/>
                  <a:pt x="713746" y="357911"/>
                </a:cubicBezTo>
                <a:lnTo>
                  <a:pt x="1541" y="5245"/>
                </a:lnTo>
                <a:cubicBezTo>
                  <a:pt x="456" y="4702"/>
                  <a:pt x="-268" y="3255"/>
                  <a:pt x="94" y="1989"/>
                </a:cubicBezTo>
                <a:cubicBezTo>
                  <a:pt x="456" y="723"/>
                  <a:pt x="1360" y="0"/>
                  <a:pt x="2988" y="0"/>
                </a:cubicBezTo>
                <a:lnTo>
                  <a:pt x="797843" y="94949"/>
                </a:lnTo>
                <a:cubicBezTo>
                  <a:pt x="798567" y="95129"/>
                  <a:pt x="799290" y="95491"/>
                  <a:pt x="799832" y="96215"/>
                </a:cubicBezTo>
                <a:cubicBezTo>
                  <a:pt x="800195" y="96938"/>
                  <a:pt x="800375" y="97661"/>
                  <a:pt x="800195" y="98566"/>
                </a:cubicBezTo>
                <a:lnTo>
                  <a:pt x="717544" y="356464"/>
                </a:lnTo>
                <a:cubicBezTo>
                  <a:pt x="717363" y="357188"/>
                  <a:pt x="716820" y="357730"/>
                  <a:pt x="716097" y="358092"/>
                </a:cubicBezTo>
                <a:cubicBezTo>
                  <a:pt x="715735" y="358273"/>
                  <a:pt x="715193" y="358273"/>
                  <a:pt x="714831" y="358273"/>
                </a:cubicBezTo>
                <a:close/>
                <a:moveTo>
                  <a:pt x="17999" y="7596"/>
                </a:moveTo>
                <a:lnTo>
                  <a:pt x="713384" y="351943"/>
                </a:lnTo>
                <a:lnTo>
                  <a:pt x="794046" y="100374"/>
                </a:lnTo>
                <a:lnTo>
                  <a:pt x="17999" y="759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2" name="Google Shape;1202;p53"/>
          <p:cNvSpPr/>
          <p:nvPr/>
        </p:nvSpPr>
        <p:spPr>
          <a:xfrm>
            <a:off x="12130220" y="3541469"/>
            <a:ext cx="663590" cy="263233"/>
          </a:xfrm>
          <a:custGeom>
            <a:avLst/>
            <a:gdLst/>
            <a:ahLst/>
            <a:cxnLst/>
            <a:rect l="l" t="t" r="r" b="b"/>
            <a:pathLst>
              <a:path w="663590" h="263233" extrusionOk="0">
                <a:moveTo>
                  <a:pt x="2539" y="263053"/>
                </a:moveTo>
                <a:cubicBezTo>
                  <a:pt x="1816" y="263053"/>
                  <a:pt x="1092" y="262691"/>
                  <a:pt x="550" y="261968"/>
                </a:cubicBezTo>
                <a:cubicBezTo>
                  <a:pt x="7" y="261244"/>
                  <a:pt x="-173" y="260340"/>
                  <a:pt x="188" y="259617"/>
                </a:cubicBezTo>
                <a:lnTo>
                  <a:pt x="82839" y="1899"/>
                </a:lnTo>
                <a:cubicBezTo>
                  <a:pt x="83019" y="1176"/>
                  <a:pt x="83562" y="633"/>
                  <a:pt x="84285" y="271"/>
                </a:cubicBezTo>
                <a:cubicBezTo>
                  <a:pt x="85009" y="-90"/>
                  <a:pt x="85733" y="-90"/>
                  <a:pt x="86456" y="271"/>
                </a:cubicBezTo>
                <a:lnTo>
                  <a:pt x="661935" y="255638"/>
                </a:lnTo>
                <a:cubicBezTo>
                  <a:pt x="663020" y="256180"/>
                  <a:pt x="663743" y="257446"/>
                  <a:pt x="663562" y="258712"/>
                </a:cubicBezTo>
                <a:cubicBezTo>
                  <a:pt x="663382" y="259978"/>
                  <a:pt x="662296" y="260883"/>
                  <a:pt x="661031" y="260883"/>
                </a:cubicBezTo>
                <a:lnTo>
                  <a:pt x="2901" y="263234"/>
                </a:lnTo>
                <a:cubicBezTo>
                  <a:pt x="2720" y="263053"/>
                  <a:pt x="2539" y="263053"/>
                  <a:pt x="2539" y="263053"/>
                </a:cubicBezTo>
                <a:close/>
                <a:moveTo>
                  <a:pt x="86998" y="6420"/>
                </a:moveTo>
                <a:lnTo>
                  <a:pt x="6518" y="257627"/>
                </a:lnTo>
                <a:lnTo>
                  <a:pt x="648371" y="255276"/>
                </a:lnTo>
                <a:lnTo>
                  <a:pt x="86998" y="642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3" name="Google Shape;1203;p53"/>
          <p:cNvSpPr/>
          <p:nvPr/>
        </p:nvSpPr>
        <p:spPr>
          <a:xfrm>
            <a:off x="12130270" y="3799071"/>
            <a:ext cx="635593" cy="504608"/>
          </a:xfrm>
          <a:custGeom>
            <a:avLst/>
            <a:gdLst/>
            <a:ahLst/>
            <a:cxnLst/>
            <a:rect l="l" t="t" r="r" b="b"/>
            <a:pathLst>
              <a:path w="635593" h="504608" extrusionOk="0">
                <a:moveTo>
                  <a:pt x="184429" y="504609"/>
                </a:moveTo>
                <a:cubicBezTo>
                  <a:pt x="183344" y="504609"/>
                  <a:pt x="182440" y="503886"/>
                  <a:pt x="182078" y="502800"/>
                </a:cubicBezTo>
                <a:lnTo>
                  <a:pt x="139" y="3642"/>
                </a:lnTo>
                <a:cubicBezTo>
                  <a:pt x="-223" y="2557"/>
                  <a:pt x="139" y="1291"/>
                  <a:pt x="1043" y="568"/>
                </a:cubicBezTo>
                <a:cubicBezTo>
                  <a:pt x="1947" y="-156"/>
                  <a:pt x="3213" y="-156"/>
                  <a:pt x="4117" y="387"/>
                </a:cubicBezTo>
                <a:lnTo>
                  <a:pt x="634395" y="425214"/>
                </a:lnTo>
                <a:cubicBezTo>
                  <a:pt x="635299" y="425756"/>
                  <a:pt x="635842" y="427022"/>
                  <a:pt x="635480" y="428107"/>
                </a:cubicBezTo>
                <a:cubicBezTo>
                  <a:pt x="635299" y="429193"/>
                  <a:pt x="634395" y="429916"/>
                  <a:pt x="633310" y="430097"/>
                </a:cubicBezTo>
                <a:lnTo>
                  <a:pt x="185153" y="504247"/>
                </a:lnTo>
                <a:cubicBezTo>
                  <a:pt x="184972" y="504609"/>
                  <a:pt x="184610" y="504609"/>
                  <a:pt x="184429" y="504609"/>
                </a:cubicBezTo>
                <a:close/>
                <a:moveTo>
                  <a:pt x="8096" y="9610"/>
                </a:moveTo>
                <a:lnTo>
                  <a:pt x="186418" y="498822"/>
                </a:lnTo>
                <a:lnTo>
                  <a:pt x="625714" y="426118"/>
                </a:lnTo>
                <a:lnTo>
                  <a:pt x="8096" y="961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4" name="Google Shape;1204;p53"/>
          <p:cNvSpPr/>
          <p:nvPr/>
        </p:nvSpPr>
        <p:spPr>
          <a:xfrm>
            <a:off x="12130295" y="3796745"/>
            <a:ext cx="663487" cy="432784"/>
          </a:xfrm>
          <a:custGeom>
            <a:avLst/>
            <a:gdLst/>
            <a:ahLst/>
            <a:cxnLst/>
            <a:rect l="l" t="t" r="r" b="b"/>
            <a:pathLst>
              <a:path w="663487" h="432784" extrusionOk="0">
                <a:moveTo>
                  <a:pt x="632742" y="432785"/>
                </a:moveTo>
                <a:cubicBezTo>
                  <a:pt x="632200" y="432785"/>
                  <a:pt x="631838" y="432604"/>
                  <a:pt x="631476" y="432242"/>
                </a:cubicBezTo>
                <a:lnTo>
                  <a:pt x="1198" y="7415"/>
                </a:lnTo>
                <a:cubicBezTo>
                  <a:pt x="294" y="6692"/>
                  <a:pt x="-248" y="5606"/>
                  <a:pt x="113" y="4340"/>
                </a:cubicBezTo>
                <a:cubicBezTo>
                  <a:pt x="475" y="3255"/>
                  <a:pt x="1560" y="2351"/>
                  <a:pt x="2645" y="2351"/>
                </a:cubicBezTo>
                <a:lnTo>
                  <a:pt x="660775" y="0"/>
                </a:lnTo>
                <a:cubicBezTo>
                  <a:pt x="661498" y="0"/>
                  <a:pt x="662221" y="362"/>
                  <a:pt x="662764" y="904"/>
                </a:cubicBezTo>
                <a:cubicBezTo>
                  <a:pt x="663307" y="1447"/>
                  <a:pt x="663487" y="2170"/>
                  <a:pt x="663487" y="2894"/>
                </a:cubicBezTo>
                <a:lnTo>
                  <a:pt x="635636" y="430072"/>
                </a:lnTo>
                <a:cubicBezTo>
                  <a:pt x="635636" y="430976"/>
                  <a:pt x="634913" y="431880"/>
                  <a:pt x="634189" y="432242"/>
                </a:cubicBezTo>
                <a:cubicBezTo>
                  <a:pt x="633647" y="432604"/>
                  <a:pt x="633104" y="432785"/>
                  <a:pt x="632742" y="432785"/>
                </a:cubicBezTo>
                <a:close/>
                <a:moveTo>
                  <a:pt x="11507" y="7777"/>
                </a:moveTo>
                <a:lnTo>
                  <a:pt x="630572" y="425189"/>
                </a:lnTo>
                <a:lnTo>
                  <a:pt x="657881" y="5426"/>
                </a:lnTo>
                <a:lnTo>
                  <a:pt x="11507" y="777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5" name="Google Shape;1205;p53"/>
          <p:cNvSpPr/>
          <p:nvPr/>
        </p:nvSpPr>
        <p:spPr>
          <a:xfrm>
            <a:off x="8364210" y="4541323"/>
            <a:ext cx="774711" cy="291718"/>
          </a:xfrm>
          <a:custGeom>
            <a:avLst/>
            <a:gdLst/>
            <a:ahLst/>
            <a:cxnLst/>
            <a:rect l="l" t="t" r="r" b="b"/>
            <a:pathLst>
              <a:path w="774711" h="291718" extrusionOk="0">
                <a:moveTo>
                  <a:pt x="2617" y="291718"/>
                </a:moveTo>
                <a:cubicBezTo>
                  <a:pt x="1712" y="291718"/>
                  <a:pt x="989" y="291176"/>
                  <a:pt x="446" y="290452"/>
                </a:cubicBezTo>
                <a:cubicBezTo>
                  <a:pt x="-277" y="289367"/>
                  <a:pt x="-96" y="288101"/>
                  <a:pt x="808" y="287197"/>
                </a:cubicBezTo>
                <a:lnTo>
                  <a:pt x="271186" y="904"/>
                </a:lnTo>
                <a:cubicBezTo>
                  <a:pt x="271728" y="362"/>
                  <a:pt x="272452" y="0"/>
                  <a:pt x="273356" y="0"/>
                </a:cubicBezTo>
                <a:lnTo>
                  <a:pt x="772153" y="28213"/>
                </a:lnTo>
                <a:cubicBezTo>
                  <a:pt x="772153" y="28213"/>
                  <a:pt x="772153" y="28213"/>
                  <a:pt x="772153" y="28213"/>
                </a:cubicBezTo>
                <a:cubicBezTo>
                  <a:pt x="773418" y="28213"/>
                  <a:pt x="774504" y="29298"/>
                  <a:pt x="774684" y="30564"/>
                </a:cubicBezTo>
                <a:cubicBezTo>
                  <a:pt x="774865" y="31830"/>
                  <a:pt x="774142" y="33096"/>
                  <a:pt x="772876" y="33458"/>
                </a:cubicBezTo>
                <a:lnTo>
                  <a:pt x="3702" y="291537"/>
                </a:lnTo>
                <a:cubicBezTo>
                  <a:pt x="3340" y="291718"/>
                  <a:pt x="2978" y="291718"/>
                  <a:pt x="2617" y="291718"/>
                </a:cubicBezTo>
                <a:close/>
                <a:moveTo>
                  <a:pt x="274441" y="5426"/>
                </a:moveTo>
                <a:lnTo>
                  <a:pt x="12202" y="283037"/>
                </a:lnTo>
                <a:lnTo>
                  <a:pt x="757865" y="32735"/>
                </a:lnTo>
                <a:lnTo>
                  <a:pt x="274441" y="542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6" name="Google Shape;1206;p53"/>
          <p:cNvSpPr/>
          <p:nvPr/>
        </p:nvSpPr>
        <p:spPr>
          <a:xfrm>
            <a:off x="8364333" y="4569536"/>
            <a:ext cx="774702" cy="792865"/>
          </a:xfrm>
          <a:custGeom>
            <a:avLst/>
            <a:gdLst/>
            <a:ahLst/>
            <a:cxnLst/>
            <a:rect l="l" t="t" r="r" b="b"/>
            <a:pathLst>
              <a:path w="774702" h="792865" extrusionOk="0">
                <a:moveTo>
                  <a:pt x="580142" y="792866"/>
                </a:moveTo>
                <a:cubicBezTo>
                  <a:pt x="579600" y="792866"/>
                  <a:pt x="578876" y="792504"/>
                  <a:pt x="578515" y="792142"/>
                </a:cubicBezTo>
                <a:lnTo>
                  <a:pt x="865" y="262781"/>
                </a:lnTo>
                <a:cubicBezTo>
                  <a:pt x="142" y="262058"/>
                  <a:pt x="-220" y="261154"/>
                  <a:pt x="142" y="260249"/>
                </a:cubicBezTo>
                <a:cubicBezTo>
                  <a:pt x="323" y="259345"/>
                  <a:pt x="1046" y="258622"/>
                  <a:pt x="1950" y="258260"/>
                </a:cubicBezTo>
                <a:lnTo>
                  <a:pt x="771125" y="181"/>
                </a:lnTo>
                <a:cubicBezTo>
                  <a:pt x="772029" y="-181"/>
                  <a:pt x="773114" y="0"/>
                  <a:pt x="773837" y="723"/>
                </a:cubicBezTo>
                <a:cubicBezTo>
                  <a:pt x="774561" y="1447"/>
                  <a:pt x="774923" y="2351"/>
                  <a:pt x="774561" y="3255"/>
                </a:cubicBezTo>
                <a:lnTo>
                  <a:pt x="583036" y="790696"/>
                </a:lnTo>
                <a:cubicBezTo>
                  <a:pt x="582855" y="791600"/>
                  <a:pt x="582132" y="792323"/>
                  <a:pt x="581227" y="792685"/>
                </a:cubicBezTo>
                <a:cubicBezTo>
                  <a:pt x="580866" y="792866"/>
                  <a:pt x="580504" y="792866"/>
                  <a:pt x="580142" y="792866"/>
                </a:cubicBezTo>
                <a:close/>
                <a:moveTo>
                  <a:pt x="7919" y="261877"/>
                </a:moveTo>
                <a:lnTo>
                  <a:pt x="578876" y="785089"/>
                </a:lnTo>
                <a:lnTo>
                  <a:pt x="768231" y="6872"/>
                </a:lnTo>
                <a:lnTo>
                  <a:pt x="7919" y="26187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7" name="Google Shape;1207;p53"/>
          <p:cNvSpPr/>
          <p:nvPr/>
        </p:nvSpPr>
        <p:spPr>
          <a:xfrm>
            <a:off x="8634830" y="4347670"/>
            <a:ext cx="638645" cy="227291"/>
          </a:xfrm>
          <a:custGeom>
            <a:avLst/>
            <a:gdLst/>
            <a:ahLst/>
            <a:cxnLst/>
            <a:rect l="l" t="t" r="r" b="b"/>
            <a:pathLst>
              <a:path w="638645" h="227291" extrusionOk="0">
                <a:moveTo>
                  <a:pt x="2555" y="199079"/>
                </a:moveTo>
                <a:cubicBezTo>
                  <a:pt x="1289" y="199079"/>
                  <a:pt x="204" y="197993"/>
                  <a:pt x="23" y="196727"/>
                </a:cubicBezTo>
                <a:cubicBezTo>
                  <a:pt x="-158" y="195461"/>
                  <a:pt x="747" y="194195"/>
                  <a:pt x="1832" y="193834"/>
                </a:cubicBezTo>
                <a:lnTo>
                  <a:pt x="635184" y="139"/>
                </a:lnTo>
                <a:cubicBezTo>
                  <a:pt x="636269" y="-223"/>
                  <a:pt x="637354" y="139"/>
                  <a:pt x="638078" y="1043"/>
                </a:cubicBezTo>
                <a:cubicBezTo>
                  <a:pt x="638801" y="1947"/>
                  <a:pt x="638801" y="3213"/>
                  <a:pt x="638259" y="4117"/>
                </a:cubicBezTo>
                <a:lnTo>
                  <a:pt x="503703" y="226026"/>
                </a:lnTo>
                <a:cubicBezTo>
                  <a:pt x="503160" y="226930"/>
                  <a:pt x="502256" y="227292"/>
                  <a:pt x="501171" y="227292"/>
                </a:cubicBezTo>
                <a:lnTo>
                  <a:pt x="2555" y="199079"/>
                </a:lnTo>
                <a:cubicBezTo>
                  <a:pt x="2555" y="199079"/>
                  <a:pt x="2555" y="199079"/>
                  <a:pt x="2555" y="199079"/>
                </a:cubicBezTo>
                <a:close/>
                <a:moveTo>
                  <a:pt x="630120" y="7373"/>
                </a:moveTo>
                <a:lnTo>
                  <a:pt x="17928" y="194557"/>
                </a:lnTo>
                <a:lnTo>
                  <a:pt x="500086" y="221866"/>
                </a:lnTo>
                <a:lnTo>
                  <a:pt x="630120" y="7373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8" name="Google Shape;1208;p53"/>
          <p:cNvSpPr/>
          <p:nvPr/>
        </p:nvSpPr>
        <p:spPr>
          <a:xfrm>
            <a:off x="8941898" y="4569646"/>
            <a:ext cx="912456" cy="792756"/>
          </a:xfrm>
          <a:custGeom>
            <a:avLst/>
            <a:gdLst/>
            <a:ahLst/>
            <a:cxnLst/>
            <a:rect l="l" t="t" r="r" b="b"/>
            <a:pathLst>
              <a:path w="912456" h="792756" extrusionOk="0">
                <a:moveTo>
                  <a:pt x="2578" y="792756"/>
                </a:moveTo>
                <a:cubicBezTo>
                  <a:pt x="2035" y="792756"/>
                  <a:pt x="1493" y="792575"/>
                  <a:pt x="950" y="792214"/>
                </a:cubicBezTo>
                <a:cubicBezTo>
                  <a:pt x="227" y="791490"/>
                  <a:pt x="-135" y="790586"/>
                  <a:pt x="46" y="789501"/>
                </a:cubicBezTo>
                <a:lnTo>
                  <a:pt x="191571" y="2061"/>
                </a:lnTo>
                <a:cubicBezTo>
                  <a:pt x="191752" y="1337"/>
                  <a:pt x="192294" y="614"/>
                  <a:pt x="193018" y="252"/>
                </a:cubicBezTo>
                <a:cubicBezTo>
                  <a:pt x="193741" y="-110"/>
                  <a:pt x="194646" y="-110"/>
                  <a:pt x="195369" y="433"/>
                </a:cubicBezTo>
                <a:lnTo>
                  <a:pt x="911010" y="387823"/>
                </a:lnTo>
                <a:cubicBezTo>
                  <a:pt x="911914" y="388366"/>
                  <a:pt x="912457" y="389270"/>
                  <a:pt x="912457" y="390355"/>
                </a:cubicBezTo>
                <a:cubicBezTo>
                  <a:pt x="912457" y="391440"/>
                  <a:pt x="911734" y="392344"/>
                  <a:pt x="910829" y="392706"/>
                </a:cubicBezTo>
                <a:lnTo>
                  <a:pt x="3844" y="792395"/>
                </a:lnTo>
                <a:cubicBezTo>
                  <a:pt x="3482" y="792575"/>
                  <a:pt x="3121" y="792756"/>
                  <a:pt x="2578" y="792756"/>
                </a:cubicBezTo>
                <a:close/>
                <a:moveTo>
                  <a:pt x="196092" y="6582"/>
                </a:moveTo>
                <a:lnTo>
                  <a:pt x="6738" y="785341"/>
                </a:lnTo>
                <a:lnTo>
                  <a:pt x="903957" y="389632"/>
                </a:lnTo>
                <a:lnTo>
                  <a:pt x="196092" y="658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09" name="Google Shape;1209;p53"/>
          <p:cNvSpPr/>
          <p:nvPr/>
        </p:nvSpPr>
        <p:spPr>
          <a:xfrm>
            <a:off x="9133578" y="4347582"/>
            <a:ext cx="720828" cy="614770"/>
          </a:xfrm>
          <a:custGeom>
            <a:avLst/>
            <a:gdLst/>
            <a:ahLst/>
            <a:cxnLst/>
            <a:rect l="l" t="t" r="r" b="b"/>
            <a:pathLst>
              <a:path w="720828" h="614770" extrusionOk="0">
                <a:moveTo>
                  <a:pt x="718063" y="614770"/>
                </a:moveTo>
                <a:cubicBezTo>
                  <a:pt x="717702" y="614770"/>
                  <a:pt x="717340" y="614589"/>
                  <a:pt x="716978" y="614408"/>
                </a:cubicBezTo>
                <a:lnTo>
                  <a:pt x="1337" y="227018"/>
                </a:lnTo>
                <a:cubicBezTo>
                  <a:pt x="614" y="226657"/>
                  <a:pt x="252" y="226114"/>
                  <a:pt x="71" y="225391"/>
                </a:cubicBezTo>
                <a:cubicBezTo>
                  <a:pt x="-110" y="224667"/>
                  <a:pt x="71" y="223944"/>
                  <a:pt x="433" y="223220"/>
                </a:cubicBezTo>
                <a:lnTo>
                  <a:pt x="134988" y="1312"/>
                </a:lnTo>
                <a:cubicBezTo>
                  <a:pt x="135350" y="589"/>
                  <a:pt x="136074" y="46"/>
                  <a:pt x="136978" y="46"/>
                </a:cubicBezTo>
                <a:cubicBezTo>
                  <a:pt x="137882" y="-135"/>
                  <a:pt x="138606" y="227"/>
                  <a:pt x="139148" y="950"/>
                </a:cubicBezTo>
                <a:lnTo>
                  <a:pt x="720053" y="610249"/>
                </a:lnTo>
                <a:cubicBezTo>
                  <a:pt x="720957" y="611153"/>
                  <a:pt x="721138" y="612600"/>
                  <a:pt x="720234" y="613685"/>
                </a:cubicBezTo>
                <a:cubicBezTo>
                  <a:pt x="719872" y="614408"/>
                  <a:pt x="718968" y="614770"/>
                  <a:pt x="718063" y="614770"/>
                </a:cubicBezTo>
                <a:close/>
                <a:moveTo>
                  <a:pt x="6401" y="223582"/>
                </a:moveTo>
                <a:lnTo>
                  <a:pt x="704499" y="601387"/>
                </a:lnTo>
                <a:lnTo>
                  <a:pt x="137701" y="6918"/>
                </a:lnTo>
                <a:lnTo>
                  <a:pt x="6401" y="22358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0" name="Google Shape;1210;p53"/>
          <p:cNvSpPr/>
          <p:nvPr/>
        </p:nvSpPr>
        <p:spPr>
          <a:xfrm>
            <a:off x="11590919" y="4298301"/>
            <a:ext cx="726848" cy="591347"/>
          </a:xfrm>
          <a:custGeom>
            <a:avLst/>
            <a:gdLst/>
            <a:ahLst/>
            <a:cxnLst/>
            <a:rect l="l" t="t" r="r" b="b"/>
            <a:pathLst>
              <a:path w="726848" h="591347" extrusionOk="0">
                <a:moveTo>
                  <a:pt x="516882" y="591348"/>
                </a:moveTo>
                <a:cubicBezTo>
                  <a:pt x="516521" y="591348"/>
                  <a:pt x="516340" y="591167"/>
                  <a:pt x="515978" y="591167"/>
                </a:cubicBezTo>
                <a:lnTo>
                  <a:pt x="1628" y="363471"/>
                </a:lnTo>
                <a:cubicBezTo>
                  <a:pt x="723" y="363109"/>
                  <a:pt x="0" y="362024"/>
                  <a:pt x="0" y="361120"/>
                </a:cubicBezTo>
                <a:cubicBezTo>
                  <a:pt x="0" y="360035"/>
                  <a:pt x="543" y="359131"/>
                  <a:pt x="1447" y="358588"/>
                </a:cubicBezTo>
                <a:lnTo>
                  <a:pt x="722875" y="315"/>
                </a:lnTo>
                <a:cubicBezTo>
                  <a:pt x="723780" y="-227"/>
                  <a:pt x="725046" y="-46"/>
                  <a:pt x="725950" y="677"/>
                </a:cubicBezTo>
                <a:cubicBezTo>
                  <a:pt x="726854" y="1401"/>
                  <a:pt x="727035" y="2486"/>
                  <a:pt x="726674" y="3571"/>
                </a:cubicBezTo>
                <a:lnTo>
                  <a:pt x="519595" y="589539"/>
                </a:lnTo>
                <a:cubicBezTo>
                  <a:pt x="519414" y="590263"/>
                  <a:pt x="518871" y="590805"/>
                  <a:pt x="518148" y="591167"/>
                </a:cubicBezTo>
                <a:cubicBezTo>
                  <a:pt x="517606" y="591348"/>
                  <a:pt x="517244" y="591348"/>
                  <a:pt x="516882" y="591348"/>
                </a:cubicBezTo>
                <a:close/>
                <a:moveTo>
                  <a:pt x="9043" y="360939"/>
                </a:moveTo>
                <a:lnTo>
                  <a:pt x="515436" y="585018"/>
                </a:lnTo>
                <a:lnTo>
                  <a:pt x="719258" y="8092"/>
                </a:lnTo>
                <a:lnTo>
                  <a:pt x="9043" y="36093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1" name="Google Shape;1211;p53"/>
          <p:cNvSpPr/>
          <p:nvPr/>
        </p:nvSpPr>
        <p:spPr>
          <a:xfrm>
            <a:off x="12105305" y="4298208"/>
            <a:ext cx="619175" cy="591439"/>
          </a:xfrm>
          <a:custGeom>
            <a:avLst/>
            <a:gdLst/>
            <a:ahLst/>
            <a:cxnLst/>
            <a:rect l="l" t="t" r="r" b="b"/>
            <a:pathLst>
              <a:path w="619175" h="591439" extrusionOk="0">
                <a:moveTo>
                  <a:pt x="2497" y="591440"/>
                </a:moveTo>
                <a:cubicBezTo>
                  <a:pt x="1773" y="591440"/>
                  <a:pt x="1050" y="591078"/>
                  <a:pt x="688" y="590536"/>
                </a:cubicBezTo>
                <a:cubicBezTo>
                  <a:pt x="146" y="589812"/>
                  <a:pt x="-216" y="588727"/>
                  <a:pt x="146" y="587823"/>
                </a:cubicBezTo>
                <a:lnTo>
                  <a:pt x="207224" y="1855"/>
                </a:lnTo>
                <a:cubicBezTo>
                  <a:pt x="207586" y="950"/>
                  <a:pt x="208309" y="227"/>
                  <a:pt x="209213" y="46"/>
                </a:cubicBezTo>
                <a:cubicBezTo>
                  <a:pt x="210118" y="-135"/>
                  <a:pt x="211203" y="227"/>
                  <a:pt x="211746" y="950"/>
                </a:cubicBezTo>
                <a:lnTo>
                  <a:pt x="618487" y="473885"/>
                </a:lnTo>
                <a:cubicBezTo>
                  <a:pt x="619030" y="474608"/>
                  <a:pt x="619391" y="475693"/>
                  <a:pt x="619030" y="476598"/>
                </a:cubicBezTo>
                <a:cubicBezTo>
                  <a:pt x="618668" y="477502"/>
                  <a:pt x="617945" y="478225"/>
                  <a:pt x="617041" y="478406"/>
                </a:cubicBezTo>
                <a:lnTo>
                  <a:pt x="3220" y="591440"/>
                </a:lnTo>
                <a:cubicBezTo>
                  <a:pt x="2858" y="591440"/>
                  <a:pt x="2678" y="591440"/>
                  <a:pt x="2497" y="591440"/>
                </a:cubicBezTo>
                <a:close/>
                <a:moveTo>
                  <a:pt x="210660" y="8184"/>
                </a:moveTo>
                <a:lnTo>
                  <a:pt x="6657" y="585291"/>
                </a:lnTo>
                <a:lnTo>
                  <a:pt x="611253" y="473885"/>
                </a:lnTo>
                <a:lnTo>
                  <a:pt x="210660" y="818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2" name="Google Shape;1212;p53"/>
          <p:cNvSpPr/>
          <p:nvPr/>
        </p:nvSpPr>
        <p:spPr>
          <a:xfrm>
            <a:off x="12105289" y="4884223"/>
            <a:ext cx="770330" cy="680555"/>
          </a:xfrm>
          <a:custGeom>
            <a:avLst/>
            <a:gdLst/>
            <a:ahLst/>
            <a:cxnLst/>
            <a:rect l="l" t="t" r="r" b="b"/>
            <a:pathLst>
              <a:path w="770330" h="680555" extrusionOk="0">
                <a:moveTo>
                  <a:pt x="370371" y="680555"/>
                </a:moveTo>
                <a:cubicBezTo>
                  <a:pt x="369467" y="680555"/>
                  <a:pt x="368562" y="680013"/>
                  <a:pt x="368201" y="679108"/>
                </a:cubicBezTo>
                <a:lnTo>
                  <a:pt x="343" y="3979"/>
                </a:lnTo>
                <a:cubicBezTo>
                  <a:pt x="-200" y="3074"/>
                  <a:pt x="-20" y="2170"/>
                  <a:pt x="343" y="1266"/>
                </a:cubicBezTo>
                <a:cubicBezTo>
                  <a:pt x="885" y="362"/>
                  <a:pt x="1789" y="0"/>
                  <a:pt x="2694" y="0"/>
                </a:cubicBezTo>
                <a:lnTo>
                  <a:pt x="767708" y="24054"/>
                </a:lnTo>
                <a:cubicBezTo>
                  <a:pt x="768793" y="24054"/>
                  <a:pt x="769517" y="24596"/>
                  <a:pt x="770059" y="25500"/>
                </a:cubicBezTo>
                <a:cubicBezTo>
                  <a:pt x="770421" y="26405"/>
                  <a:pt x="770421" y="27309"/>
                  <a:pt x="770059" y="28213"/>
                </a:cubicBezTo>
                <a:lnTo>
                  <a:pt x="372903" y="679289"/>
                </a:lnTo>
                <a:cubicBezTo>
                  <a:pt x="372360" y="680013"/>
                  <a:pt x="371456" y="680555"/>
                  <a:pt x="370371" y="680555"/>
                </a:cubicBezTo>
                <a:cubicBezTo>
                  <a:pt x="370371" y="680555"/>
                  <a:pt x="370371" y="680555"/>
                  <a:pt x="370371" y="680555"/>
                </a:cubicBezTo>
                <a:close/>
                <a:moveTo>
                  <a:pt x="7215" y="5606"/>
                </a:moveTo>
                <a:lnTo>
                  <a:pt x="370552" y="672598"/>
                </a:lnTo>
                <a:lnTo>
                  <a:pt x="763006" y="29479"/>
                </a:lnTo>
                <a:lnTo>
                  <a:pt x="7215" y="560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3" name="Google Shape;1213;p53"/>
          <p:cNvSpPr/>
          <p:nvPr/>
        </p:nvSpPr>
        <p:spPr>
          <a:xfrm>
            <a:off x="12105250" y="4771123"/>
            <a:ext cx="770453" cy="142578"/>
          </a:xfrm>
          <a:custGeom>
            <a:avLst/>
            <a:gdLst/>
            <a:ahLst/>
            <a:cxnLst/>
            <a:rect l="l" t="t" r="r" b="b"/>
            <a:pathLst>
              <a:path w="770453" h="142578" extrusionOk="0">
                <a:moveTo>
                  <a:pt x="2552" y="118525"/>
                </a:moveTo>
                <a:cubicBezTo>
                  <a:pt x="1286" y="118525"/>
                  <a:pt x="201" y="117440"/>
                  <a:pt x="20" y="115993"/>
                </a:cubicBezTo>
                <a:cubicBezTo>
                  <a:pt x="-161" y="114546"/>
                  <a:pt x="924" y="113461"/>
                  <a:pt x="2190" y="113099"/>
                </a:cubicBezTo>
                <a:lnTo>
                  <a:pt x="616011" y="65"/>
                </a:lnTo>
                <a:cubicBezTo>
                  <a:pt x="616915" y="-116"/>
                  <a:pt x="617638" y="65"/>
                  <a:pt x="618361" y="789"/>
                </a:cubicBezTo>
                <a:lnTo>
                  <a:pt x="769556" y="137876"/>
                </a:lnTo>
                <a:cubicBezTo>
                  <a:pt x="770460" y="138600"/>
                  <a:pt x="770641" y="139866"/>
                  <a:pt x="770280" y="140951"/>
                </a:cubicBezTo>
                <a:cubicBezTo>
                  <a:pt x="769917" y="142036"/>
                  <a:pt x="768832" y="142578"/>
                  <a:pt x="767747" y="142578"/>
                </a:cubicBezTo>
                <a:lnTo>
                  <a:pt x="2552" y="118525"/>
                </a:lnTo>
                <a:cubicBezTo>
                  <a:pt x="2552" y="118525"/>
                  <a:pt x="2552" y="118525"/>
                  <a:pt x="2552" y="118525"/>
                </a:cubicBezTo>
                <a:close/>
                <a:moveTo>
                  <a:pt x="615649" y="5672"/>
                </a:moveTo>
                <a:lnTo>
                  <a:pt x="27871" y="114003"/>
                </a:lnTo>
                <a:lnTo>
                  <a:pt x="760513" y="136972"/>
                </a:lnTo>
                <a:lnTo>
                  <a:pt x="615649" y="5672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4" name="Google Shape;1214;p53"/>
          <p:cNvSpPr/>
          <p:nvPr/>
        </p:nvSpPr>
        <p:spPr>
          <a:xfrm>
            <a:off x="9676206" y="2612322"/>
            <a:ext cx="525758" cy="309810"/>
          </a:xfrm>
          <a:custGeom>
            <a:avLst/>
            <a:gdLst/>
            <a:ahLst/>
            <a:cxnLst/>
            <a:rect l="l" t="t" r="r" b="b"/>
            <a:pathLst>
              <a:path w="525758" h="309810" extrusionOk="0">
                <a:moveTo>
                  <a:pt x="2539" y="309811"/>
                </a:moveTo>
                <a:cubicBezTo>
                  <a:pt x="1635" y="309811"/>
                  <a:pt x="911" y="309268"/>
                  <a:pt x="369" y="308545"/>
                </a:cubicBezTo>
                <a:cubicBezTo>
                  <a:pt x="-355" y="307279"/>
                  <a:pt x="7" y="305651"/>
                  <a:pt x="1273" y="304928"/>
                </a:cubicBezTo>
                <a:lnTo>
                  <a:pt x="521772" y="369"/>
                </a:lnTo>
                <a:cubicBezTo>
                  <a:pt x="523038" y="-355"/>
                  <a:pt x="524666" y="7"/>
                  <a:pt x="525389" y="1273"/>
                </a:cubicBezTo>
                <a:cubicBezTo>
                  <a:pt x="526113" y="2539"/>
                  <a:pt x="525751" y="4167"/>
                  <a:pt x="524485" y="4890"/>
                </a:cubicBezTo>
                <a:lnTo>
                  <a:pt x="3986" y="309449"/>
                </a:lnTo>
                <a:cubicBezTo>
                  <a:pt x="3624" y="309811"/>
                  <a:pt x="3082" y="309811"/>
                  <a:pt x="2539" y="309811"/>
                </a:cubicBez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5" name="Google Shape;1215;p53"/>
          <p:cNvSpPr/>
          <p:nvPr/>
        </p:nvSpPr>
        <p:spPr>
          <a:xfrm>
            <a:off x="9676213" y="2612103"/>
            <a:ext cx="525744" cy="490884"/>
          </a:xfrm>
          <a:custGeom>
            <a:avLst/>
            <a:gdLst/>
            <a:ahLst/>
            <a:cxnLst/>
            <a:rect l="l" t="t" r="r" b="b"/>
            <a:pathLst>
              <a:path w="525744" h="490884" extrusionOk="0">
                <a:moveTo>
                  <a:pt x="494276" y="490884"/>
                </a:moveTo>
                <a:cubicBezTo>
                  <a:pt x="494094" y="490884"/>
                  <a:pt x="493733" y="490884"/>
                  <a:pt x="493552" y="490703"/>
                </a:cubicBezTo>
                <a:lnTo>
                  <a:pt x="1809" y="309849"/>
                </a:lnTo>
                <a:cubicBezTo>
                  <a:pt x="904" y="309487"/>
                  <a:pt x="181" y="308583"/>
                  <a:pt x="0" y="307498"/>
                </a:cubicBezTo>
                <a:cubicBezTo>
                  <a:pt x="0" y="306413"/>
                  <a:pt x="362" y="305508"/>
                  <a:pt x="1266" y="304966"/>
                </a:cubicBezTo>
                <a:lnTo>
                  <a:pt x="521765" y="407"/>
                </a:lnTo>
                <a:cubicBezTo>
                  <a:pt x="522670" y="-136"/>
                  <a:pt x="523755" y="-136"/>
                  <a:pt x="524478" y="407"/>
                </a:cubicBezTo>
                <a:cubicBezTo>
                  <a:pt x="525383" y="949"/>
                  <a:pt x="525744" y="1854"/>
                  <a:pt x="525744" y="2939"/>
                </a:cubicBezTo>
                <a:lnTo>
                  <a:pt x="496988" y="488352"/>
                </a:lnTo>
                <a:cubicBezTo>
                  <a:pt x="496988" y="489256"/>
                  <a:pt x="496446" y="489980"/>
                  <a:pt x="495722" y="490522"/>
                </a:cubicBezTo>
                <a:cubicBezTo>
                  <a:pt x="495361" y="490703"/>
                  <a:pt x="494818" y="490884"/>
                  <a:pt x="494276" y="490884"/>
                </a:cubicBezTo>
                <a:close/>
                <a:moveTo>
                  <a:pt x="9043" y="306774"/>
                </a:moveTo>
                <a:lnTo>
                  <a:pt x="491924" y="484373"/>
                </a:lnTo>
                <a:lnTo>
                  <a:pt x="520318" y="7641"/>
                </a:lnTo>
                <a:lnTo>
                  <a:pt x="9043" y="30677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6" name="Google Shape;1216;p53"/>
          <p:cNvSpPr/>
          <p:nvPr/>
        </p:nvSpPr>
        <p:spPr>
          <a:xfrm>
            <a:off x="10167956" y="2612239"/>
            <a:ext cx="515831" cy="490748"/>
          </a:xfrm>
          <a:custGeom>
            <a:avLst/>
            <a:gdLst/>
            <a:ahLst/>
            <a:cxnLst/>
            <a:rect l="l" t="t" r="r" b="b"/>
            <a:pathLst>
              <a:path w="515831" h="490748" extrusionOk="0">
                <a:moveTo>
                  <a:pt x="2532" y="490748"/>
                </a:moveTo>
                <a:cubicBezTo>
                  <a:pt x="1989" y="490748"/>
                  <a:pt x="1447" y="490568"/>
                  <a:pt x="1085" y="490206"/>
                </a:cubicBezTo>
                <a:cubicBezTo>
                  <a:pt x="362" y="489663"/>
                  <a:pt x="0" y="488759"/>
                  <a:pt x="0" y="487855"/>
                </a:cubicBezTo>
                <a:lnTo>
                  <a:pt x="28756" y="2442"/>
                </a:lnTo>
                <a:cubicBezTo>
                  <a:pt x="28756" y="1537"/>
                  <a:pt x="29298" y="633"/>
                  <a:pt x="30203" y="271"/>
                </a:cubicBezTo>
                <a:cubicBezTo>
                  <a:pt x="31107" y="-90"/>
                  <a:pt x="32011" y="-90"/>
                  <a:pt x="32915" y="271"/>
                </a:cubicBezTo>
                <a:lnTo>
                  <a:pt x="514531" y="292532"/>
                </a:lnTo>
                <a:cubicBezTo>
                  <a:pt x="515435" y="293075"/>
                  <a:pt x="515978" y="293979"/>
                  <a:pt x="515797" y="295064"/>
                </a:cubicBezTo>
                <a:cubicBezTo>
                  <a:pt x="515616" y="296149"/>
                  <a:pt x="515074" y="297053"/>
                  <a:pt x="513988" y="297415"/>
                </a:cubicBezTo>
                <a:lnTo>
                  <a:pt x="3617" y="490568"/>
                </a:lnTo>
                <a:cubicBezTo>
                  <a:pt x="3255" y="490748"/>
                  <a:pt x="2893" y="490748"/>
                  <a:pt x="2532" y="490748"/>
                </a:cubicBezTo>
                <a:close/>
                <a:moveTo>
                  <a:pt x="33820" y="7325"/>
                </a:moveTo>
                <a:lnTo>
                  <a:pt x="5606" y="484057"/>
                </a:lnTo>
                <a:lnTo>
                  <a:pt x="506935" y="294341"/>
                </a:lnTo>
                <a:lnTo>
                  <a:pt x="33820" y="732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7" name="Google Shape;1217;p53"/>
          <p:cNvSpPr/>
          <p:nvPr/>
        </p:nvSpPr>
        <p:spPr>
          <a:xfrm>
            <a:off x="10196689" y="1827586"/>
            <a:ext cx="309012" cy="790016"/>
          </a:xfrm>
          <a:custGeom>
            <a:avLst/>
            <a:gdLst/>
            <a:ahLst/>
            <a:cxnLst/>
            <a:rect l="l" t="t" r="r" b="b"/>
            <a:pathLst>
              <a:path w="309012" h="790016" extrusionOk="0">
                <a:moveTo>
                  <a:pt x="2555" y="789988"/>
                </a:moveTo>
                <a:cubicBezTo>
                  <a:pt x="2374" y="789988"/>
                  <a:pt x="2193" y="789988"/>
                  <a:pt x="2012" y="789988"/>
                </a:cubicBezTo>
                <a:cubicBezTo>
                  <a:pt x="746" y="789627"/>
                  <a:pt x="-158" y="788361"/>
                  <a:pt x="23" y="787095"/>
                </a:cubicBezTo>
                <a:lnTo>
                  <a:pt x="99855" y="2367"/>
                </a:lnTo>
                <a:cubicBezTo>
                  <a:pt x="100036" y="1463"/>
                  <a:pt x="100397" y="740"/>
                  <a:pt x="101121" y="378"/>
                </a:cubicBezTo>
                <a:cubicBezTo>
                  <a:pt x="101844" y="16"/>
                  <a:pt x="102748" y="-165"/>
                  <a:pt x="103472" y="197"/>
                </a:cubicBezTo>
                <a:lnTo>
                  <a:pt x="307295" y="78145"/>
                </a:lnTo>
                <a:cubicBezTo>
                  <a:pt x="308018" y="78326"/>
                  <a:pt x="308561" y="78869"/>
                  <a:pt x="308742" y="79592"/>
                </a:cubicBezTo>
                <a:cubicBezTo>
                  <a:pt x="309103" y="80316"/>
                  <a:pt x="309103" y="81039"/>
                  <a:pt x="308742" y="81763"/>
                </a:cubicBezTo>
                <a:lnTo>
                  <a:pt x="5087" y="788542"/>
                </a:lnTo>
                <a:cubicBezTo>
                  <a:pt x="4725" y="789446"/>
                  <a:pt x="3640" y="790169"/>
                  <a:pt x="2555" y="789988"/>
                </a:cubicBezTo>
                <a:close/>
                <a:moveTo>
                  <a:pt x="104738" y="6346"/>
                </a:moveTo>
                <a:lnTo>
                  <a:pt x="7800" y="768648"/>
                </a:lnTo>
                <a:lnTo>
                  <a:pt x="302773" y="82124"/>
                </a:lnTo>
                <a:lnTo>
                  <a:pt x="104738" y="6346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8" name="Google Shape;1218;p53"/>
          <p:cNvSpPr/>
          <p:nvPr/>
        </p:nvSpPr>
        <p:spPr>
          <a:xfrm>
            <a:off x="10196680" y="1905342"/>
            <a:ext cx="486937" cy="1004561"/>
          </a:xfrm>
          <a:custGeom>
            <a:avLst/>
            <a:gdLst/>
            <a:ahLst/>
            <a:cxnLst/>
            <a:rect l="l" t="t" r="r" b="b"/>
            <a:pathLst>
              <a:path w="486937" h="1004561" extrusionOk="0">
                <a:moveTo>
                  <a:pt x="484180" y="1004493"/>
                </a:moveTo>
                <a:cubicBezTo>
                  <a:pt x="483818" y="1004493"/>
                  <a:pt x="483275" y="1004312"/>
                  <a:pt x="482914" y="1004132"/>
                </a:cubicBezTo>
                <a:lnTo>
                  <a:pt x="1298" y="711871"/>
                </a:lnTo>
                <a:cubicBezTo>
                  <a:pt x="213" y="711147"/>
                  <a:pt x="-330" y="709701"/>
                  <a:pt x="213" y="708435"/>
                </a:cubicBezTo>
                <a:lnTo>
                  <a:pt x="303868" y="1655"/>
                </a:lnTo>
                <a:cubicBezTo>
                  <a:pt x="304410" y="570"/>
                  <a:pt x="305314" y="-153"/>
                  <a:pt x="306580" y="28"/>
                </a:cubicBezTo>
                <a:cubicBezTo>
                  <a:pt x="307847" y="209"/>
                  <a:pt x="308751" y="1113"/>
                  <a:pt x="308932" y="2198"/>
                </a:cubicBezTo>
                <a:lnTo>
                  <a:pt x="486892" y="1001238"/>
                </a:lnTo>
                <a:cubicBezTo>
                  <a:pt x="487073" y="1002323"/>
                  <a:pt x="486712" y="1003408"/>
                  <a:pt x="485807" y="1003951"/>
                </a:cubicBezTo>
                <a:cubicBezTo>
                  <a:pt x="485265" y="1004493"/>
                  <a:pt x="484722" y="1004674"/>
                  <a:pt x="484180" y="1004493"/>
                </a:cubicBezTo>
                <a:close/>
                <a:moveTo>
                  <a:pt x="6181" y="708435"/>
                </a:moveTo>
                <a:lnTo>
                  <a:pt x="480562" y="996355"/>
                </a:lnTo>
                <a:lnTo>
                  <a:pt x="305314" y="11964"/>
                </a:lnTo>
                <a:lnTo>
                  <a:pt x="6181" y="70843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19" name="Google Shape;1219;p53"/>
          <p:cNvSpPr/>
          <p:nvPr/>
        </p:nvSpPr>
        <p:spPr>
          <a:xfrm>
            <a:off x="11324266" y="4656673"/>
            <a:ext cx="540899" cy="714590"/>
          </a:xfrm>
          <a:custGeom>
            <a:avLst/>
            <a:gdLst/>
            <a:ahLst/>
            <a:cxnLst/>
            <a:rect l="l" t="t" r="r" b="b"/>
            <a:pathLst>
              <a:path w="540899" h="714590" extrusionOk="0">
                <a:moveTo>
                  <a:pt x="2606" y="714591"/>
                </a:moveTo>
                <a:cubicBezTo>
                  <a:pt x="2063" y="714591"/>
                  <a:pt x="1521" y="714410"/>
                  <a:pt x="978" y="714048"/>
                </a:cubicBezTo>
                <a:cubicBezTo>
                  <a:pt x="74" y="713325"/>
                  <a:pt x="-288" y="712059"/>
                  <a:pt x="255" y="710974"/>
                </a:cubicBezTo>
                <a:lnTo>
                  <a:pt x="266834" y="1843"/>
                </a:lnTo>
                <a:cubicBezTo>
                  <a:pt x="267196" y="939"/>
                  <a:pt x="268100" y="216"/>
                  <a:pt x="269005" y="35"/>
                </a:cubicBezTo>
                <a:cubicBezTo>
                  <a:pt x="269909" y="-146"/>
                  <a:pt x="270994" y="397"/>
                  <a:pt x="271537" y="1120"/>
                </a:cubicBezTo>
                <a:lnTo>
                  <a:pt x="540467" y="393755"/>
                </a:lnTo>
                <a:cubicBezTo>
                  <a:pt x="540829" y="394298"/>
                  <a:pt x="541010" y="395202"/>
                  <a:pt x="540829" y="395925"/>
                </a:cubicBezTo>
                <a:cubicBezTo>
                  <a:pt x="540648" y="396649"/>
                  <a:pt x="540287" y="397191"/>
                  <a:pt x="539563" y="397734"/>
                </a:cubicBezTo>
                <a:lnTo>
                  <a:pt x="4053" y="714229"/>
                </a:lnTo>
                <a:cubicBezTo>
                  <a:pt x="3691" y="714410"/>
                  <a:pt x="3149" y="714591"/>
                  <a:pt x="2606" y="714591"/>
                </a:cubicBezTo>
                <a:close/>
                <a:moveTo>
                  <a:pt x="269909" y="8354"/>
                </a:moveTo>
                <a:lnTo>
                  <a:pt x="7851" y="705548"/>
                </a:lnTo>
                <a:lnTo>
                  <a:pt x="534318" y="394479"/>
                </a:lnTo>
                <a:lnTo>
                  <a:pt x="269909" y="835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0" name="Google Shape;1220;p53"/>
          <p:cNvSpPr/>
          <p:nvPr/>
        </p:nvSpPr>
        <p:spPr>
          <a:xfrm>
            <a:off x="11324305" y="5049298"/>
            <a:ext cx="540789" cy="482564"/>
          </a:xfrm>
          <a:custGeom>
            <a:avLst/>
            <a:gdLst/>
            <a:ahLst/>
            <a:cxnLst/>
            <a:rect l="l" t="t" r="r" b="b"/>
            <a:pathLst>
              <a:path w="540789" h="482564" extrusionOk="0">
                <a:moveTo>
                  <a:pt x="515470" y="482565"/>
                </a:moveTo>
                <a:cubicBezTo>
                  <a:pt x="515289" y="482565"/>
                  <a:pt x="515108" y="482565"/>
                  <a:pt x="514927" y="482384"/>
                </a:cubicBezTo>
                <a:lnTo>
                  <a:pt x="1843" y="321785"/>
                </a:lnTo>
                <a:cubicBezTo>
                  <a:pt x="758" y="321424"/>
                  <a:pt x="35" y="320519"/>
                  <a:pt x="35" y="319434"/>
                </a:cubicBezTo>
                <a:cubicBezTo>
                  <a:pt x="-146" y="318349"/>
                  <a:pt x="396" y="317264"/>
                  <a:pt x="1301" y="316902"/>
                </a:cubicBezTo>
                <a:lnTo>
                  <a:pt x="536811" y="407"/>
                </a:lnTo>
                <a:cubicBezTo>
                  <a:pt x="537715" y="-136"/>
                  <a:pt x="538800" y="-136"/>
                  <a:pt x="539524" y="407"/>
                </a:cubicBezTo>
                <a:cubicBezTo>
                  <a:pt x="540428" y="949"/>
                  <a:pt x="540790" y="1854"/>
                  <a:pt x="540790" y="2758"/>
                </a:cubicBezTo>
                <a:lnTo>
                  <a:pt x="518183" y="479852"/>
                </a:lnTo>
                <a:cubicBezTo>
                  <a:pt x="518183" y="480756"/>
                  <a:pt x="517640" y="481480"/>
                  <a:pt x="517098" y="482022"/>
                </a:cubicBezTo>
                <a:cubicBezTo>
                  <a:pt x="516736" y="482384"/>
                  <a:pt x="516194" y="482565"/>
                  <a:pt x="515470" y="482565"/>
                </a:cubicBezTo>
                <a:close/>
                <a:moveTo>
                  <a:pt x="9258" y="318530"/>
                </a:moveTo>
                <a:lnTo>
                  <a:pt x="513119" y="476416"/>
                </a:lnTo>
                <a:lnTo>
                  <a:pt x="535364" y="7641"/>
                </a:lnTo>
                <a:lnTo>
                  <a:pt x="9258" y="3185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1" name="Google Shape;1221;p53"/>
          <p:cNvSpPr/>
          <p:nvPr/>
        </p:nvSpPr>
        <p:spPr>
          <a:xfrm>
            <a:off x="11591001" y="4656815"/>
            <a:ext cx="519693" cy="397953"/>
          </a:xfrm>
          <a:custGeom>
            <a:avLst/>
            <a:gdLst/>
            <a:ahLst/>
            <a:cxnLst/>
            <a:rect l="l" t="t" r="r" b="b"/>
            <a:pathLst>
              <a:path w="519693" h="397953" extrusionOk="0">
                <a:moveTo>
                  <a:pt x="271380" y="397954"/>
                </a:moveTo>
                <a:cubicBezTo>
                  <a:pt x="270657" y="397954"/>
                  <a:pt x="269753" y="397411"/>
                  <a:pt x="269391" y="396869"/>
                </a:cubicBezTo>
                <a:lnTo>
                  <a:pt x="460" y="4234"/>
                </a:lnTo>
                <a:cubicBezTo>
                  <a:pt x="-263" y="3330"/>
                  <a:pt x="-82" y="1883"/>
                  <a:pt x="641" y="978"/>
                </a:cubicBezTo>
                <a:cubicBezTo>
                  <a:pt x="1365" y="74"/>
                  <a:pt x="2812" y="-288"/>
                  <a:pt x="3716" y="255"/>
                </a:cubicBezTo>
                <a:lnTo>
                  <a:pt x="518066" y="227951"/>
                </a:lnTo>
                <a:cubicBezTo>
                  <a:pt x="518970" y="228312"/>
                  <a:pt x="519513" y="229217"/>
                  <a:pt x="519694" y="230121"/>
                </a:cubicBezTo>
                <a:cubicBezTo>
                  <a:pt x="519694" y="231025"/>
                  <a:pt x="519332" y="232110"/>
                  <a:pt x="518428" y="232653"/>
                </a:cubicBezTo>
                <a:lnTo>
                  <a:pt x="273008" y="397773"/>
                </a:lnTo>
                <a:cubicBezTo>
                  <a:pt x="272647" y="397773"/>
                  <a:pt x="271923" y="397954"/>
                  <a:pt x="271380" y="397954"/>
                </a:cubicBezTo>
                <a:close/>
                <a:moveTo>
                  <a:pt x="10046" y="8755"/>
                </a:moveTo>
                <a:lnTo>
                  <a:pt x="272285" y="391443"/>
                </a:lnTo>
                <a:lnTo>
                  <a:pt x="511375" y="230483"/>
                </a:lnTo>
                <a:lnTo>
                  <a:pt x="10046" y="87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2" name="Google Shape;1222;p53"/>
          <p:cNvSpPr/>
          <p:nvPr/>
        </p:nvSpPr>
        <p:spPr>
          <a:xfrm>
            <a:off x="11837196" y="5049496"/>
            <a:ext cx="186073" cy="482366"/>
          </a:xfrm>
          <a:custGeom>
            <a:avLst/>
            <a:gdLst/>
            <a:ahLst/>
            <a:cxnLst/>
            <a:rect l="l" t="t" r="r" b="b"/>
            <a:pathLst>
              <a:path w="186073" h="482366" extrusionOk="0">
                <a:moveTo>
                  <a:pt x="2579" y="482366"/>
                </a:moveTo>
                <a:cubicBezTo>
                  <a:pt x="1856" y="482366"/>
                  <a:pt x="1313" y="482005"/>
                  <a:pt x="771" y="481643"/>
                </a:cubicBezTo>
                <a:cubicBezTo>
                  <a:pt x="228" y="481100"/>
                  <a:pt x="-134" y="480377"/>
                  <a:pt x="47" y="479653"/>
                </a:cubicBezTo>
                <a:lnTo>
                  <a:pt x="22654" y="2559"/>
                </a:lnTo>
                <a:cubicBezTo>
                  <a:pt x="22654" y="1293"/>
                  <a:pt x="23739" y="208"/>
                  <a:pt x="25005" y="28"/>
                </a:cubicBezTo>
                <a:cubicBezTo>
                  <a:pt x="26271" y="-153"/>
                  <a:pt x="27537" y="570"/>
                  <a:pt x="27899" y="1836"/>
                </a:cubicBezTo>
                <a:lnTo>
                  <a:pt x="185965" y="471334"/>
                </a:lnTo>
                <a:cubicBezTo>
                  <a:pt x="186146" y="472057"/>
                  <a:pt x="186146" y="472962"/>
                  <a:pt x="185604" y="473685"/>
                </a:cubicBezTo>
                <a:cubicBezTo>
                  <a:pt x="185061" y="474409"/>
                  <a:pt x="184338" y="474770"/>
                  <a:pt x="183433" y="474770"/>
                </a:cubicBezTo>
                <a:lnTo>
                  <a:pt x="2760" y="482366"/>
                </a:lnTo>
                <a:cubicBezTo>
                  <a:pt x="2760" y="482366"/>
                  <a:pt x="2760" y="482366"/>
                  <a:pt x="2579" y="482366"/>
                </a:cubicBezTo>
                <a:close/>
                <a:moveTo>
                  <a:pt x="27356" y="16847"/>
                </a:moveTo>
                <a:lnTo>
                  <a:pt x="5654" y="476760"/>
                </a:lnTo>
                <a:lnTo>
                  <a:pt x="179816" y="469345"/>
                </a:lnTo>
                <a:lnTo>
                  <a:pt x="27356" y="1684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3" name="Google Shape;1223;p53"/>
          <p:cNvSpPr/>
          <p:nvPr/>
        </p:nvSpPr>
        <p:spPr>
          <a:xfrm>
            <a:off x="11859895" y="5049425"/>
            <a:ext cx="618731" cy="515353"/>
          </a:xfrm>
          <a:custGeom>
            <a:avLst/>
            <a:gdLst/>
            <a:ahLst/>
            <a:cxnLst/>
            <a:rect l="l" t="t" r="r" b="b"/>
            <a:pathLst>
              <a:path w="618731" h="515353" extrusionOk="0">
                <a:moveTo>
                  <a:pt x="615764" y="515353"/>
                </a:moveTo>
                <a:cubicBezTo>
                  <a:pt x="615764" y="515353"/>
                  <a:pt x="615583" y="515353"/>
                  <a:pt x="615764" y="515353"/>
                </a:cubicBezTo>
                <a:lnTo>
                  <a:pt x="160554" y="474842"/>
                </a:lnTo>
                <a:cubicBezTo>
                  <a:pt x="159468" y="474661"/>
                  <a:pt x="158564" y="474118"/>
                  <a:pt x="158202" y="473033"/>
                </a:cubicBezTo>
                <a:lnTo>
                  <a:pt x="136" y="3535"/>
                </a:lnTo>
                <a:cubicBezTo>
                  <a:pt x="-226" y="2450"/>
                  <a:pt x="136" y="1184"/>
                  <a:pt x="1221" y="460"/>
                </a:cubicBezTo>
                <a:cubicBezTo>
                  <a:pt x="2306" y="-263"/>
                  <a:pt x="3572" y="-82"/>
                  <a:pt x="4476" y="641"/>
                </a:cubicBezTo>
                <a:lnTo>
                  <a:pt x="617754" y="510651"/>
                </a:lnTo>
                <a:cubicBezTo>
                  <a:pt x="618658" y="511374"/>
                  <a:pt x="619020" y="512640"/>
                  <a:pt x="618477" y="513725"/>
                </a:cubicBezTo>
                <a:cubicBezTo>
                  <a:pt x="617934" y="514811"/>
                  <a:pt x="616849" y="515353"/>
                  <a:pt x="615764" y="515353"/>
                </a:cubicBezTo>
                <a:close/>
                <a:moveTo>
                  <a:pt x="162905" y="469597"/>
                </a:moveTo>
                <a:lnTo>
                  <a:pt x="607626" y="509204"/>
                </a:lnTo>
                <a:lnTo>
                  <a:pt x="8274" y="10769"/>
                </a:lnTo>
                <a:lnTo>
                  <a:pt x="162905" y="46959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4" name="Google Shape;1224;p53"/>
          <p:cNvSpPr/>
          <p:nvPr/>
        </p:nvSpPr>
        <p:spPr>
          <a:xfrm>
            <a:off x="11859804" y="4884333"/>
            <a:ext cx="618864" cy="680445"/>
          </a:xfrm>
          <a:custGeom>
            <a:avLst/>
            <a:gdLst/>
            <a:ahLst/>
            <a:cxnLst/>
            <a:rect l="l" t="t" r="r" b="b"/>
            <a:pathLst>
              <a:path w="618864" h="680445" extrusionOk="0">
                <a:moveTo>
                  <a:pt x="615856" y="680445"/>
                </a:moveTo>
                <a:cubicBezTo>
                  <a:pt x="615313" y="680445"/>
                  <a:pt x="614771" y="680264"/>
                  <a:pt x="614228" y="679903"/>
                </a:cubicBezTo>
                <a:lnTo>
                  <a:pt x="950" y="169893"/>
                </a:lnTo>
                <a:cubicBezTo>
                  <a:pt x="227" y="169351"/>
                  <a:pt x="-135" y="168446"/>
                  <a:pt x="46" y="167723"/>
                </a:cubicBezTo>
                <a:cubicBezTo>
                  <a:pt x="46" y="166819"/>
                  <a:pt x="589" y="166095"/>
                  <a:pt x="1312" y="165553"/>
                </a:cubicBezTo>
                <a:lnTo>
                  <a:pt x="246732" y="433"/>
                </a:lnTo>
                <a:cubicBezTo>
                  <a:pt x="247274" y="71"/>
                  <a:pt x="248179" y="-110"/>
                  <a:pt x="248902" y="71"/>
                </a:cubicBezTo>
                <a:cubicBezTo>
                  <a:pt x="249625" y="252"/>
                  <a:pt x="250349" y="794"/>
                  <a:pt x="250710" y="1337"/>
                </a:cubicBezTo>
                <a:lnTo>
                  <a:pt x="618568" y="676466"/>
                </a:lnTo>
                <a:cubicBezTo>
                  <a:pt x="619111" y="677552"/>
                  <a:pt x="618930" y="678998"/>
                  <a:pt x="617845" y="679903"/>
                </a:cubicBezTo>
                <a:cubicBezTo>
                  <a:pt x="617122" y="680264"/>
                  <a:pt x="616398" y="680445"/>
                  <a:pt x="615856" y="680445"/>
                </a:cubicBezTo>
                <a:close/>
                <a:moveTo>
                  <a:pt x="7280" y="167904"/>
                </a:moveTo>
                <a:lnTo>
                  <a:pt x="606994" y="666700"/>
                </a:lnTo>
                <a:lnTo>
                  <a:pt x="247274" y="6582"/>
                </a:lnTo>
                <a:lnTo>
                  <a:pt x="7280" y="16790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5" name="Google Shape;1225;p53"/>
          <p:cNvSpPr/>
          <p:nvPr/>
        </p:nvSpPr>
        <p:spPr>
          <a:xfrm>
            <a:off x="8081934" y="5740317"/>
            <a:ext cx="716257" cy="486569"/>
          </a:xfrm>
          <a:custGeom>
            <a:avLst/>
            <a:gdLst/>
            <a:ahLst/>
            <a:cxnLst/>
            <a:rect l="l" t="t" r="r" b="b"/>
            <a:pathLst>
              <a:path w="716257" h="486569" extrusionOk="0">
                <a:moveTo>
                  <a:pt x="2397" y="486569"/>
                </a:moveTo>
                <a:cubicBezTo>
                  <a:pt x="1855" y="486569"/>
                  <a:pt x="1312" y="486388"/>
                  <a:pt x="950" y="486027"/>
                </a:cubicBezTo>
                <a:cubicBezTo>
                  <a:pt x="227" y="485484"/>
                  <a:pt x="-135" y="484399"/>
                  <a:pt x="46" y="483314"/>
                </a:cubicBezTo>
                <a:lnTo>
                  <a:pt x="94452" y="2241"/>
                </a:lnTo>
                <a:cubicBezTo>
                  <a:pt x="94633" y="1518"/>
                  <a:pt x="94995" y="975"/>
                  <a:pt x="95718" y="433"/>
                </a:cubicBezTo>
                <a:cubicBezTo>
                  <a:pt x="96261" y="71"/>
                  <a:pt x="97165" y="-110"/>
                  <a:pt x="97888" y="71"/>
                </a:cubicBezTo>
                <a:lnTo>
                  <a:pt x="714241" y="154520"/>
                </a:lnTo>
                <a:cubicBezTo>
                  <a:pt x="715326" y="154882"/>
                  <a:pt x="716230" y="155787"/>
                  <a:pt x="716230" y="156872"/>
                </a:cubicBezTo>
                <a:cubicBezTo>
                  <a:pt x="716411" y="157957"/>
                  <a:pt x="715687" y="159042"/>
                  <a:pt x="714602" y="159584"/>
                </a:cubicBezTo>
                <a:lnTo>
                  <a:pt x="3844" y="486208"/>
                </a:lnTo>
                <a:cubicBezTo>
                  <a:pt x="3301" y="486569"/>
                  <a:pt x="2759" y="486569"/>
                  <a:pt x="2397" y="486569"/>
                </a:cubicBezTo>
                <a:close/>
                <a:moveTo>
                  <a:pt x="98974" y="6039"/>
                </a:moveTo>
                <a:lnTo>
                  <a:pt x="6195" y="479154"/>
                </a:lnTo>
                <a:lnTo>
                  <a:pt x="705198" y="157957"/>
                </a:lnTo>
                <a:lnTo>
                  <a:pt x="98974" y="6039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6" name="Google Shape;1226;p53"/>
          <p:cNvSpPr/>
          <p:nvPr/>
        </p:nvSpPr>
        <p:spPr>
          <a:xfrm>
            <a:off x="8081800" y="5894938"/>
            <a:ext cx="716137" cy="511536"/>
          </a:xfrm>
          <a:custGeom>
            <a:avLst/>
            <a:gdLst/>
            <a:ahLst/>
            <a:cxnLst/>
            <a:rect l="l" t="t" r="r" b="b"/>
            <a:pathLst>
              <a:path w="716137" h="511536" extrusionOk="0">
                <a:moveTo>
                  <a:pt x="442732" y="511536"/>
                </a:moveTo>
                <a:cubicBezTo>
                  <a:pt x="442370" y="511536"/>
                  <a:pt x="442189" y="511536"/>
                  <a:pt x="441828" y="511356"/>
                </a:cubicBezTo>
                <a:lnTo>
                  <a:pt x="1628" y="331767"/>
                </a:lnTo>
                <a:cubicBezTo>
                  <a:pt x="543" y="331406"/>
                  <a:pt x="0" y="330321"/>
                  <a:pt x="0" y="329416"/>
                </a:cubicBezTo>
                <a:cubicBezTo>
                  <a:pt x="0" y="328331"/>
                  <a:pt x="543" y="327427"/>
                  <a:pt x="1628" y="326884"/>
                </a:cubicBezTo>
                <a:lnTo>
                  <a:pt x="712386" y="261"/>
                </a:lnTo>
                <a:cubicBezTo>
                  <a:pt x="713471" y="-281"/>
                  <a:pt x="714737" y="80"/>
                  <a:pt x="715460" y="804"/>
                </a:cubicBezTo>
                <a:cubicBezTo>
                  <a:pt x="716184" y="1708"/>
                  <a:pt x="716365" y="2974"/>
                  <a:pt x="715822" y="3878"/>
                </a:cubicBezTo>
                <a:lnTo>
                  <a:pt x="445264" y="510090"/>
                </a:lnTo>
                <a:cubicBezTo>
                  <a:pt x="444721" y="511175"/>
                  <a:pt x="443817" y="511536"/>
                  <a:pt x="442732" y="511536"/>
                </a:cubicBezTo>
                <a:close/>
                <a:moveTo>
                  <a:pt x="9404" y="329055"/>
                </a:moveTo>
                <a:lnTo>
                  <a:pt x="441647" y="505388"/>
                </a:lnTo>
                <a:lnTo>
                  <a:pt x="707141" y="8400"/>
                </a:lnTo>
                <a:lnTo>
                  <a:pt x="9404" y="32905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7" name="Google Shape;1227;p53"/>
          <p:cNvSpPr/>
          <p:nvPr/>
        </p:nvSpPr>
        <p:spPr>
          <a:xfrm>
            <a:off x="8176171" y="5561769"/>
            <a:ext cx="621729" cy="338494"/>
          </a:xfrm>
          <a:custGeom>
            <a:avLst/>
            <a:gdLst/>
            <a:ahLst/>
            <a:cxnLst/>
            <a:rect l="l" t="t" r="r" b="b"/>
            <a:pathLst>
              <a:path w="621729" h="338494" extrusionOk="0">
                <a:moveTo>
                  <a:pt x="618918" y="338494"/>
                </a:moveTo>
                <a:cubicBezTo>
                  <a:pt x="618738" y="338494"/>
                  <a:pt x="618557" y="338494"/>
                  <a:pt x="618376" y="338494"/>
                </a:cubicBezTo>
                <a:lnTo>
                  <a:pt x="2024" y="184044"/>
                </a:lnTo>
                <a:cubicBezTo>
                  <a:pt x="939" y="183863"/>
                  <a:pt x="215" y="182778"/>
                  <a:pt x="34" y="181693"/>
                </a:cubicBezTo>
                <a:cubicBezTo>
                  <a:pt x="-147" y="180608"/>
                  <a:pt x="396" y="179523"/>
                  <a:pt x="1481" y="178981"/>
                </a:cubicBezTo>
                <a:lnTo>
                  <a:pt x="336424" y="296"/>
                </a:lnTo>
                <a:cubicBezTo>
                  <a:pt x="337509" y="-246"/>
                  <a:pt x="338956" y="-66"/>
                  <a:pt x="339679" y="1020"/>
                </a:cubicBezTo>
                <a:lnTo>
                  <a:pt x="621089" y="334154"/>
                </a:lnTo>
                <a:cubicBezTo>
                  <a:pt x="621812" y="335058"/>
                  <a:pt x="621993" y="336324"/>
                  <a:pt x="621269" y="337409"/>
                </a:cubicBezTo>
                <a:cubicBezTo>
                  <a:pt x="620727" y="338132"/>
                  <a:pt x="619823" y="338494"/>
                  <a:pt x="618918" y="338494"/>
                </a:cubicBezTo>
                <a:close/>
                <a:moveTo>
                  <a:pt x="9981" y="180427"/>
                </a:moveTo>
                <a:lnTo>
                  <a:pt x="611503" y="331260"/>
                </a:lnTo>
                <a:lnTo>
                  <a:pt x="336785" y="6083"/>
                </a:lnTo>
                <a:lnTo>
                  <a:pt x="9981" y="18042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8" name="Google Shape;1228;p53"/>
          <p:cNvSpPr/>
          <p:nvPr/>
        </p:nvSpPr>
        <p:spPr>
          <a:xfrm>
            <a:off x="8511230" y="5561816"/>
            <a:ext cx="286847" cy="338446"/>
          </a:xfrm>
          <a:custGeom>
            <a:avLst/>
            <a:gdLst/>
            <a:ahLst/>
            <a:cxnLst/>
            <a:rect l="l" t="t" r="r" b="b"/>
            <a:pathLst>
              <a:path w="286847" h="338446" extrusionOk="0">
                <a:moveTo>
                  <a:pt x="283860" y="338447"/>
                </a:moveTo>
                <a:cubicBezTo>
                  <a:pt x="283136" y="338447"/>
                  <a:pt x="282413" y="338085"/>
                  <a:pt x="282051" y="337543"/>
                </a:cubicBezTo>
                <a:lnTo>
                  <a:pt x="641" y="4409"/>
                </a:lnTo>
                <a:cubicBezTo>
                  <a:pt x="-82" y="3504"/>
                  <a:pt x="-263" y="2058"/>
                  <a:pt x="461" y="1154"/>
                </a:cubicBezTo>
                <a:cubicBezTo>
                  <a:pt x="1184" y="68"/>
                  <a:pt x="2450" y="-293"/>
                  <a:pt x="3716" y="249"/>
                </a:cubicBezTo>
                <a:lnTo>
                  <a:pt x="229603" y="88325"/>
                </a:lnTo>
                <a:cubicBezTo>
                  <a:pt x="230507" y="88687"/>
                  <a:pt x="231050" y="89410"/>
                  <a:pt x="231231" y="90315"/>
                </a:cubicBezTo>
                <a:lnTo>
                  <a:pt x="286753" y="335372"/>
                </a:lnTo>
                <a:cubicBezTo>
                  <a:pt x="287115" y="336639"/>
                  <a:pt x="286392" y="337904"/>
                  <a:pt x="285306" y="338447"/>
                </a:cubicBezTo>
                <a:cubicBezTo>
                  <a:pt x="284764" y="338266"/>
                  <a:pt x="284221" y="338447"/>
                  <a:pt x="283860" y="338447"/>
                </a:cubicBezTo>
                <a:close/>
                <a:moveTo>
                  <a:pt x="11312" y="8930"/>
                </a:moveTo>
                <a:lnTo>
                  <a:pt x="278796" y="325606"/>
                </a:lnTo>
                <a:lnTo>
                  <a:pt x="225986" y="92666"/>
                </a:lnTo>
                <a:lnTo>
                  <a:pt x="11312" y="8930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29" name="Google Shape;1229;p53"/>
          <p:cNvSpPr/>
          <p:nvPr/>
        </p:nvSpPr>
        <p:spPr>
          <a:xfrm>
            <a:off x="8522056" y="5812887"/>
            <a:ext cx="1036532" cy="593587"/>
          </a:xfrm>
          <a:custGeom>
            <a:avLst/>
            <a:gdLst/>
            <a:ahLst/>
            <a:cxnLst/>
            <a:rect l="l" t="t" r="r" b="b"/>
            <a:pathLst>
              <a:path w="1036532" h="593587" extrusionOk="0">
                <a:moveTo>
                  <a:pt x="2475" y="593587"/>
                </a:moveTo>
                <a:cubicBezTo>
                  <a:pt x="1933" y="593587"/>
                  <a:pt x="1209" y="593226"/>
                  <a:pt x="848" y="592864"/>
                </a:cubicBezTo>
                <a:cubicBezTo>
                  <a:pt x="-57" y="591960"/>
                  <a:pt x="-237" y="590694"/>
                  <a:pt x="305" y="589608"/>
                </a:cubicBezTo>
                <a:lnTo>
                  <a:pt x="270864" y="83397"/>
                </a:lnTo>
                <a:cubicBezTo>
                  <a:pt x="271225" y="82674"/>
                  <a:pt x="272130" y="82131"/>
                  <a:pt x="273034" y="81950"/>
                </a:cubicBezTo>
                <a:lnTo>
                  <a:pt x="1033527" y="23"/>
                </a:lnTo>
                <a:cubicBezTo>
                  <a:pt x="1034793" y="-158"/>
                  <a:pt x="1036059" y="747"/>
                  <a:pt x="1036421" y="1832"/>
                </a:cubicBezTo>
                <a:cubicBezTo>
                  <a:pt x="1036782" y="3098"/>
                  <a:pt x="1036240" y="4364"/>
                  <a:pt x="1035155" y="5087"/>
                </a:cubicBezTo>
                <a:lnTo>
                  <a:pt x="4103" y="593226"/>
                </a:lnTo>
                <a:cubicBezTo>
                  <a:pt x="3561" y="593587"/>
                  <a:pt x="3018" y="593587"/>
                  <a:pt x="2475" y="593587"/>
                </a:cubicBezTo>
                <a:close/>
                <a:moveTo>
                  <a:pt x="274842" y="87195"/>
                </a:moveTo>
                <a:lnTo>
                  <a:pt x="9348" y="584002"/>
                </a:lnTo>
                <a:lnTo>
                  <a:pt x="1021048" y="6896"/>
                </a:lnTo>
                <a:lnTo>
                  <a:pt x="274842" y="87195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230" name="Google Shape;1230;p53"/>
          <p:cNvSpPr/>
          <p:nvPr/>
        </p:nvSpPr>
        <p:spPr>
          <a:xfrm>
            <a:off x="8736970" y="5649714"/>
            <a:ext cx="821506" cy="250548"/>
          </a:xfrm>
          <a:custGeom>
            <a:avLst/>
            <a:gdLst/>
            <a:ahLst/>
            <a:cxnLst/>
            <a:rect l="l" t="t" r="r" b="b"/>
            <a:pathLst>
              <a:path w="821506" h="250548" extrusionOk="0">
                <a:moveTo>
                  <a:pt x="58120" y="250549"/>
                </a:moveTo>
                <a:cubicBezTo>
                  <a:pt x="56854" y="250549"/>
                  <a:pt x="55949" y="249644"/>
                  <a:pt x="55588" y="248378"/>
                </a:cubicBezTo>
                <a:lnTo>
                  <a:pt x="65" y="3321"/>
                </a:lnTo>
                <a:cubicBezTo>
                  <a:pt x="-116" y="2416"/>
                  <a:pt x="65" y="1512"/>
                  <a:pt x="789" y="789"/>
                </a:cubicBezTo>
                <a:cubicBezTo>
                  <a:pt x="1512" y="65"/>
                  <a:pt x="2235" y="-116"/>
                  <a:pt x="3321" y="65"/>
                </a:cubicBezTo>
                <a:lnTo>
                  <a:pt x="819336" y="163196"/>
                </a:lnTo>
                <a:cubicBezTo>
                  <a:pt x="820602" y="163377"/>
                  <a:pt x="821506" y="164643"/>
                  <a:pt x="821506" y="165909"/>
                </a:cubicBezTo>
                <a:cubicBezTo>
                  <a:pt x="821506" y="167175"/>
                  <a:pt x="820421" y="168260"/>
                  <a:pt x="819155" y="168441"/>
                </a:cubicBezTo>
                <a:lnTo>
                  <a:pt x="58662" y="250368"/>
                </a:lnTo>
                <a:cubicBezTo>
                  <a:pt x="58300" y="250549"/>
                  <a:pt x="58120" y="250549"/>
                  <a:pt x="58120" y="250549"/>
                </a:cubicBezTo>
                <a:close/>
                <a:moveTo>
                  <a:pt x="6214" y="6214"/>
                </a:moveTo>
                <a:lnTo>
                  <a:pt x="60290" y="244942"/>
                </a:lnTo>
                <a:lnTo>
                  <a:pt x="801070" y="165185"/>
                </a:lnTo>
                <a:lnTo>
                  <a:pt x="6214" y="6214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grpSp>
        <p:nvGrpSpPr>
          <p:cNvPr id="1231" name="Google Shape;1231;p53"/>
          <p:cNvGrpSpPr/>
          <p:nvPr/>
        </p:nvGrpSpPr>
        <p:grpSpPr>
          <a:xfrm>
            <a:off x="7397166" y="1622082"/>
            <a:ext cx="5364974" cy="5709390"/>
            <a:chOff x="7397166" y="1244711"/>
            <a:chExt cx="5364974" cy="5709390"/>
          </a:xfrm>
        </p:grpSpPr>
        <p:sp>
          <p:nvSpPr>
            <p:cNvPr id="1232" name="Google Shape;1232;p53"/>
            <p:cNvSpPr/>
            <p:nvPr/>
          </p:nvSpPr>
          <p:spPr>
            <a:xfrm>
              <a:off x="7569239" y="4550419"/>
              <a:ext cx="23729" cy="23729"/>
            </a:xfrm>
            <a:custGeom>
              <a:avLst/>
              <a:gdLst/>
              <a:ahLst/>
              <a:cxnLst/>
              <a:rect l="l" t="t" r="r" b="b"/>
              <a:pathLst>
                <a:path w="23729" h="23729" extrusionOk="0">
                  <a:moveTo>
                    <a:pt x="23711" y="12679"/>
                  </a:moveTo>
                  <a:cubicBezTo>
                    <a:pt x="24073" y="6168"/>
                    <a:pt x="19189" y="562"/>
                    <a:pt x="12679" y="19"/>
                  </a:cubicBezTo>
                  <a:cubicBezTo>
                    <a:pt x="6168" y="-343"/>
                    <a:pt x="561" y="4540"/>
                    <a:pt x="19" y="11051"/>
                  </a:cubicBezTo>
                  <a:cubicBezTo>
                    <a:pt x="-343" y="17562"/>
                    <a:pt x="4540" y="23168"/>
                    <a:pt x="11051" y="23711"/>
                  </a:cubicBezTo>
                  <a:cubicBezTo>
                    <a:pt x="17743" y="24073"/>
                    <a:pt x="23349" y="19190"/>
                    <a:pt x="23711" y="126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3" name="Google Shape;1233;p53"/>
            <p:cNvSpPr/>
            <p:nvPr/>
          </p:nvSpPr>
          <p:spPr>
            <a:xfrm>
              <a:off x="10938181" y="5497719"/>
              <a:ext cx="28824" cy="28824"/>
            </a:xfrm>
            <a:custGeom>
              <a:avLst/>
              <a:gdLst/>
              <a:ahLst/>
              <a:cxnLst/>
              <a:rect l="l" t="t" r="r" b="b"/>
              <a:pathLst>
                <a:path w="28824" h="28824" extrusionOk="0">
                  <a:moveTo>
                    <a:pt x="28790" y="15407"/>
                  </a:moveTo>
                  <a:cubicBezTo>
                    <a:pt x="29333" y="7449"/>
                    <a:pt x="23364" y="577"/>
                    <a:pt x="15407" y="34"/>
                  </a:cubicBezTo>
                  <a:cubicBezTo>
                    <a:pt x="7449" y="-508"/>
                    <a:pt x="577" y="5460"/>
                    <a:pt x="34" y="13418"/>
                  </a:cubicBezTo>
                  <a:cubicBezTo>
                    <a:pt x="-508" y="21375"/>
                    <a:pt x="5460" y="28247"/>
                    <a:pt x="13417" y="28790"/>
                  </a:cubicBezTo>
                  <a:cubicBezTo>
                    <a:pt x="21375" y="29333"/>
                    <a:pt x="28248" y="23365"/>
                    <a:pt x="28790" y="154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4" name="Google Shape;1234;p53"/>
            <p:cNvSpPr/>
            <p:nvPr/>
          </p:nvSpPr>
          <p:spPr>
            <a:xfrm>
              <a:off x="10741924" y="5956697"/>
              <a:ext cx="61980" cy="62001"/>
            </a:xfrm>
            <a:custGeom>
              <a:avLst/>
              <a:gdLst/>
              <a:ahLst/>
              <a:cxnLst/>
              <a:rect l="l" t="t" r="r" b="b"/>
              <a:pathLst>
                <a:path w="61980" h="62001" extrusionOk="0">
                  <a:moveTo>
                    <a:pt x="61916" y="32980"/>
                  </a:moveTo>
                  <a:cubicBezTo>
                    <a:pt x="63001" y="15799"/>
                    <a:pt x="50161" y="1149"/>
                    <a:pt x="32980" y="64"/>
                  </a:cubicBezTo>
                  <a:cubicBezTo>
                    <a:pt x="15799" y="-1021"/>
                    <a:pt x="1149" y="11820"/>
                    <a:pt x="64" y="29001"/>
                  </a:cubicBezTo>
                  <a:cubicBezTo>
                    <a:pt x="-1021" y="46182"/>
                    <a:pt x="11820" y="60831"/>
                    <a:pt x="29001" y="61916"/>
                  </a:cubicBezTo>
                  <a:cubicBezTo>
                    <a:pt x="46001" y="63183"/>
                    <a:pt x="60650" y="50161"/>
                    <a:pt x="61916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5" name="Google Shape;1235;p53"/>
            <p:cNvSpPr/>
            <p:nvPr/>
          </p:nvSpPr>
          <p:spPr>
            <a:xfrm>
              <a:off x="10468879" y="5332071"/>
              <a:ext cx="22826" cy="22826"/>
            </a:xfrm>
            <a:custGeom>
              <a:avLst/>
              <a:gdLst/>
              <a:ahLst/>
              <a:cxnLst/>
              <a:rect l="l" t="t" r="r" b="b"/>
              <a:pathLst>
                <a:path w="22826" h="22826" extrusionOk="0">
                  <a:moveTo>
                    <a:pt x="22807" y="12137"/>
                  </a:moveTo>
                  <a:cubicBezTo>
                    <a:pt x="23169" y="5807"/>
                    <a:pt x="18467" y="381"/>
                    <a:pt x="12137" y="20"/>
                  </a:cubicBezTo>
                  <a:cubicBezTo>
                    <a:pt x="5807" y="-342"/>
                    <a:pt x="381" y="4360"/>
                    <a:pt x="20" y="10690"/>
                  </a:cubicBezTo>
                  <a:cubicBezTo>
                    <a:pt x="-342" y="17020"/>
                    <a:pt x="4360" y="22446"/>
                    <a:pt x="10690" y="22807"/>
                  </a:cubicBezTo>
                  <a:cubicBezTo>
                    <a:pt x="16839" y="23169"/>
                    <a:pt x="22265" y="18286"/>
                    <a:pt x="22807" y="121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6" name="Google Shape;1236;p53"/>
            <p:cNvSpPr/>
            <p:nvPr/>
          </p:nvSpPr>
          <p:spPr>
            <a:xfrm>
              <a:off x="12213387" y="2432780"/>
              <a:ext cx="29727" cy="29708"/>
            </a:xfrm>
            <a:custGeom>
              <a:avLst/>
              <a:gdLst/>
              <a:ahLst/>
              <a:cxnLst/>
              <a:rect l="l" t="t" r="r" b="b"/>
              <a:pathLst>
                <a:path w="29727" h="29708" extrusionOk="0">
                  <a:moveTo>
                    <a:pt x="29694" y="15768"/>
                  </a:moveTo>
                  <a:cubicBezTo>
                    <a:pt x="30236" y="7629"/>
                    <a:pt x="24087" y="576"/>
                    <a:pt x="15768" y="33"/>
                  </a:cubicBezTo>
                  <a:cubicBezTo>
                    <a:pt x="7629" y="-509"/>
                    <a:pt x="576" y="5640"/>
                    <a:pt x="33" y="13959"/>
                  </a:cubicBezTo>
                  <a:cubicBezTo>
                    <a:pt x="-509" y="22098"/>
                    <a:pt x="5640" y="29151"/>
                    <a:pt x="13959" y="29693"/>
                  </a:cubicBezTo>
                  <a:cubicBezTo>
                    <a:pt x="22098" y="30055"/>
                    <a:pt x="29151" y="23906"/>
                    <a:pt x="29694" y="157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7" name="Google Shape;1237;p53"/>
            <p:cNvSpPr/>
            <p:nvPr/>
          </p:nvSpPr>
          <p:spPr>
            <a:xfrm>
              <a:off x="12486304" y="2437489"/>
              <a:ext cx="15967" cy="15768"/>
            </a:xfrm>
            <a:custGeom>
              <a:avLst/>
              <a:gdLst/>
              <a:ahLst/>
              <a:cxnLst/>
              <a:rect l="l" t="t" r="r" b="b"/>
              <a:pathLst>
                <a:path w="15967" h="15768" extrusionOk="0">
                  <a:moveTo>
                    <a:pt x="15941" y="8526"/>
                  </a:moveTo>
                  <a:cubicBezTo>
                    <a:pt x="16303" y="4186"/>
                    <a:pt x="12867" y="388"/>
                    <a:pt x="8526" y="26"/>
                  </a:cubicBezTo>
                  <a:cubicBezTo>
                    <a:pt x="4186" y="-335"/>
                    <a:pt x="388" y="3101"/>
                    <a:pt x="26" y="7441"/>
                  </a:cubicBezTo>
                  <a:cubicBezTo>
                    <a:pt x="-335" y="11782"/>
                    <a:pt x="3101" y="15580"/>
                    <a:pt x="7441" y="15761"/>
                  </a:cubicBezTo>
                  <a:cubicBezTo>
                    <a:pt x="11782" y="15941"/>
                    <a:pt x="15580" y="12867"/>
                    <a:pt x="15941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8" name="Google Shape;1238;p53"/>
            <p:cNvSpPr/>
            <p:nvPr/>
          </p:nvSpPr>
          <p:spPr>
            <a:xfrm>
              <a:off x="12208538" y="2427930"/>
              <a:ext cx="39426" cy="39426"/>
            </a:xfrm>
            <a:custGeom>
              <a:avLst/>
              <a:gdLst/>
              <a:ahLst/>
              <a:cxnLst/>
              <a:rect l="l" t="t" r="r" b="b"/>
              <a:pathLst>
                <a:path w="39426" h="39426" extrusionOk="0">
                  <a:moveTo>
                    <a:pt x="39426" y="19713"/>
                  </a:moveTo>
                  <a:cubicBezTo>
                    <a:pt x="39426" y="30600"/>
                    <a:pt x="30600" y="39426"/>
                    <a:pt x="19713" y="39426"/>
                  </a:cubicBezTo>
                  <a:cubicBezTo>
                    <a:pt x="8826" y="39426"/>
                    <a:pt x="0" y="30600"/>
                    <a:pt x="0" y="19713"/>
                  </a:cubicBezTo>
                  <a:cubicBezTo>
                    <a:pt x="0" y="8826"/>
                    <a:pt x="8826" y="0"/>
                    <a:pt x="19713" y="0"/>
                  </a:cubicBezTo>
                  <a:cubicBezTo>
                    <a:pt x="30600" y="0"/>
                    <a:pt x="39426" y="8826"/>
                    <a:pt x="39426" y="197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39" name="Google Shape;1239;p53"/>
            <p:cNvSpPr/>
            <p:nvPr/>
          </p:nvSpPr>
          <p:spPr>
            <a:xfrm>
              <a:off x="9568394" y="5195334"/>
              <a:ext cx="32794" cy="32794"/>
            </a:xfrm>
            <a:custGeom>
              <a:avLst/>
              <a:gdLst/>
              <a:ahLst/>
              <a:cxnLst/>
              <a:rect l="l" t="t" r="r" b="b"/>
              <a:pathLst>
                <a:path w="32794" h="32794" extrusionOk="0">
                  <a:moveTo>
                    <a:pt x="32765" y="17392"/>
                  </a:moveTo>
                  <a:cubicBezTo>
                    <a:pt x="33307" y="8349"/>
                    <a:pt x="26435" y="573"/>
                    <a:pt x="17392" y="30"/>
                  </a:cubicBezTo>
                  <a:cubicBezTo>
                    <a:pt x="8349" y="-513"/>
                    <a:pt x="573" y="6360"/>
                    <a:pt x="30" y="15403"/>
                  </a:cubicBezTo>
                  <a:cubicBezTo>
                    <a:pt x="-513" y="24445"/>
                    <a:pt x="6360" y="32222"/>
                    <a:pt x="15403" y="32765"/>
                  </a:cubicBezTo>
                  <a:cubicBezTo>
                    <a:pt x="24446" y="33307"/>
                    <a:pt x="32222" y="26435"/>
                    <a:pt x="32765" y="173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0" name="Google Shape;1240;p53"/>
            <p:cNvSpPr/>
            <p:nvPr/>
          </p:nvSpPr>
          <p:spPr>
            <a:xfrm>
              <a:off x="9490696" y="5373184"/>
              <a:ext cx="130316" cy="130316"/>
            </a:xfrm>
            <a:custGeom>
              <a:avLst/>
              <a:gdLst/>
              <a:ahLst/>
              <a:cxnLst/>
              <a:rect l="l" t="t" r="r" b="b"/>
              <a:pathLst>
                <a:path w="130316" h="130316" extrusionOk="0">
                  <a:moveTo>
                    <a:pt x="130176" y="69408"/>
                  </a:moveTo>
                  <a:cubicBezTo>
                    <a:pt x="132527" y="33419"/>
                    <a:pt x="105218" y="2492"/>
                    <a:pt x="69408" y="141"/>
                  </a:cubicBezTo>
                  <a:cubicBezTo>
                    <a:pt x="33418" y="-2210"/>
                    <a:pt x="2492" y="25099"/>
                    <a:pt x="141" y="60908"/>
                  </a:cubicBezTo>
                  <a:cubicBezTo>
                    <a:pt x="-2210" y="96898"/>
                    <a:pt x="25099" y="127825"/>
                    <a:pt x="60908" y="130175"/>
                  </a:cubicBezTo>
                  <a:cubicBezTo>
                    <a:pt x="96717" y="132527"/>
                    <a:pt x="127824" y="105218"/>
                    <a:pt x="130176" y="694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1" name="Google Shape;1241;p53"/>
            <p:cNvSpPr/>
            <p:nvPr/>
          </p:nvSpPr>
          <p:spPr>
            <a:xfrm>
              <a:off x="8695881" y="5231254"/>
              <a:ext cx="87554" cy="87554"/>
            </a:xfrm>
            <a:custGeom>
              <a:avLst/>
              <a:gdLst/>
              <a:ahLst/>
              <a:cxnLst/>
              <a:rect l="l" t="t" r="r" b="b"/>
              <a:pathLst>
                <a:path w="87554" h="87554" extrusionOk="0">
                  <a:moveTo>
                    <a:pt x="87454" y="46580"/>
                  </a:moveTo>
                  <a:cubicBezTo>
                    <a:pt x="89081" y="22527"/>
                    <a:pt x="70815" y="1548"/>
                    <a:pt x="46580" y="101"/>
                  </a:cubicBezTo>
                  <a:cubicBezTo>
                    <a:pt x="22527" y="-1527"/>
                    <a:pt x="1548" y="16739"/>
                    <a:pt x="101" y="40974"/>
                  </a:cubicBezTo>
                  <a:cubicBezTo>
                    <a:pt x="-1527" y="65028"/>
                    <a:pt x="16739" y="86007"/>
                    <a:pt x="40974" y="87454"/>
                  </a:cubicBezTo>
                  <a:cubicBezTo>
                    <a:pt x="65028" y="89081"/>
                    <a:pt x="85826" y="70815"/>
                    <a:pt x="87454" y="465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2" name="Google Shape;1242;p53"/>
            <p:cNvSpPr/>
            <p:nvPr/>
          </p:nvSpPr>
          <p:spPr>
            <a:xfrm>
              <a:off x="9532510" y="5159270"/>
              <a:ext cx="104742" cy="104763"/>
            </a:xfrm>
            <a:custGeom>
              <a:avLst/>
              <a:gdLst/>
              <a:ahLst/>
              <a:cxnLst/>
              <a:rect l="l" t="t" r="r" b="b"/>
              <a:pathLst>
                <a:path w="104742" h="104763" extrusionOk="0">
                  <a:moveTo>
                    <a:pt x="104638" y="55807"/>
                  </a:moveTo>
                  <a:cubicBezTo>
                    <a:pt x="106447" y="26871"/>
                    <a:pt x="84564" y="1913"/>
                    <a:pt x="55808" y="105"/>
                  </a:cubicBezTo>
                  <a:cubicBezTo>
                    <a:pt x="27052" y="-1704"/>
                    <a:pt x="1913" y="20179"/>
                    <a:pt x="104" y="48935"/>
                  </a:cubicBezTo>
                  <a:cubicBezTo>
                    <a:pt x="-1704" y="77872"/>
                    <a:pt x="20179" y="102830"/>
                    <a:pt x="48935" y="104638"/>
                  </a:cubicBezTo>
                  <a:cubicBezTo>
                    <a:pt x="77691" y="106628"/>
                    <a:pt x="102649" y="84744"/>
                    <a:pt x="104638" y="558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3" name="Google Shape;1243;p53"/>
            <p:cNvSpPr/>
            <p:nvPr/>
          </p:nvSpPr>
          <p:spPr>
            <a:xfrm>
              <a:off x="10467795" y="5330987"/>
              <a:ext cx="24813" cy="24813"/>
            </a:xfrm>
            <a:custGeom>
              <a:avLst/>
              <a:gdLst/>
              <a:ahLst/>
              <a:cxnLst/>
              <a:rect l="l" t="t" r="r" b="b"/>
              <a:pathLst>
                <a:path w="24813" h="24813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1"/>
                    <a:pt x="18" y="11593"/>
                  </a:cubicBezTo>
                  <a:cubicBezTo>
                    <a:pt x="-343" y="18465"/>
                    <a:pt x="4721" y="24253"/>
                    <a:pt x="11593" y="24795"/>
                  </a:cubicBezTo>
                  <a:cubicBezTo>
                    <a:pt x="18465" y="25157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4" name="Google Shape;1244;p53"/>
            <p:cNvSpPr/>
            <p:nvPr/>
          </p:nvSpPr>
          <p:spPr>
            <a:xfrm>
              <a:off x="9525135" y="5407624"/>
              <a:ext cx="61256" cy="61257"/>
            </a:xfrm>
            <a:custGeom>
              <a:avLst/>
              <a:gdLst/>
              <a:ahLst/>
              <a:cxnLst/>
              <a:rect l="l" t="t" r="r" b="b"/>
              <a:pathLst>
                <a:path w="61256" h="61257" extrusionOk="0">
                  <a:moveTo>
                    <a:pt x="61193" y="32618"/>
                  </a:moveTo>
                  <a:cubicBezTo>
                    <a:pt x="62278" y="15798"/>
                    <a:pt x="49437" y="1149"/>
                    <a:pt x="32618" y="64"/>
                  </a:cubicBezTo>
                  <a:cubicBezTo>
                    <a:pt x="15798" y="-1021"/>
                    <a:pt x="1149" y="11819"/>
                    <a:pt x="64" y="28639"/>
                  </a:cubicBezTo>
                  <a:cubicBezTo>
                    <a:pt x="-1021" y="45458"/>
                    <a:pt x="11820" y="60108"/>
                    <a:pt x="28639" y="61193"/>
                  </a:cubicBezTo>
                  <a:cubicBezTo>
                    <a:pt x="45459" y="62278"/>
                    <a:pt x="60108" y="49618"/>
                    <a:pt x="61193" y="326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5" name="Google Shape;1245;p53"/>
            <p:cNvSpPr/>
            <p:nvPr/>
          </p:nvSpPr>
          <p:spPr>
            <a:xfrm>
              <a:off x="9556600" y="5183360"/>
              <a:ext cx="56563" cy="56563"/>
            </a:xfrm>
            <a:custGeom>
              <a:avLst/>
              <a:gdLst/>
              <a:ahLst/>
              <a:cxnLst/>
              <a:rect l="l" t="t" r="r" b="b"/>
              <a:pathLst>
                <a:path w="56563" h="56563" extrusionOk="0">
                  <a:moveTo>
                    <a:pt x="56495" y="30090"/>
                  </a:moveTo>
                  <a:cubicBezTo>
                    <a:pt x="57580" y="14537"/>
                    <a:pt x="45644" y="973"/>
                    <a:pt x="30090" y="69"/>
                  </a:cubicBezTo>
                  <a:cubicBezTo>
                    <a:pt x="14537" y="-1017"/>
                    <a:pt x="973" y="10920"/>
                    <a:pt x="69" y="26473"/>
                  </a:cubicBezTo>
                  <a:cubicBezTo>
                    <a:pt x="-1017" y="42027"/>
                    <a:pt x="10920" y="55591"/>
                    <a:pt x="26473" y="56495"/>
                  </a:cubicBezTo>
                  <a:cubicBezTo>
                    <a:pt x="42027" y="57580"/>
                    <a:pt x="55410" y="45644"/>
                    <a:pt x="56495" y="3009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6" name="Google Shape;1246;p53"/>
            <p:cNvSpPr/>
            <p:nvPr/>
          </p:nvSpPr>
          <p:spPr>
            <a:xfrm>
              <a:off x="10452009" y="5315202"/>
              <a:ext cx="56203" cy="56203"/>
            </a:xfrm>
            <a:custGeom>
              <a:avLst/>
              <a:gdLst/>
              <a:ahLst/>
              <a:cxnLst/>
              <a:rect l="l" t="t" r="r" b="b"/>
              <a:pathLst>
                <a:path w="56203" h="56203" extrusionOk="0">
                  <a:moveTo>
                    <a:pt x="56134" y="29910"/>
                  </a:moveTo>
                  <a:cubicBezTo>
                    <a:pt x="57220" y="14357"/>
                    <a:pt x="45464" y="1155"/>
                    <a:pt x="29911" y="69"/>
                  </a:cubicBezTo>
                  <a:cubicBezTo>
                    <a:pt x="14357" y="-1016"/>
                    <a:pt x="1155" y="10740"/>
                    <a:pt x="69" y="26293"/>
                  </a:cubicBezTo>
                  <a:cubicBezTo>
                    <a:pt x="-1016" y="41847"/>
                    <a:pt x="10740" y="55049"/>
                    <a:pt x="26293" y="56134"/>
                  </a:cubicBezTo>
                  <a:cubicBezTo>
                    <a:pt x="41847" y="57220"/>
                    <a:pt x="55230" y="45464"/>
                    <a:pt x="56134" y="2991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7" name="Google Shape;1247;p53"/>
            <p:cNvSpPr/>
            <p:nvPr/>
          </p:nvSpPr>
          <p:spPr>
            <a:xfrm>
              <a:off x="10389825" y="4874851"/>
              <a:ext cx="44208" cy="44228"/>
            </a:xfrm>
            <a:custGeom>
              <a:avLst/>
              <a:gdLst/>
              <a:ahLst/>
              <a:cxnLst/>
              <a:rect l="l" t="t" r="r" b="b"/>
              <a:pathLst>
                <a:path w="44208" h="44228" extrusionOk="0">
                  <a:moveTo>
                    <a:pt x="44168" y="23551"/>
                  </a:moveTo>
                  <a:cubicBezTo>
                    <a:pt x="44892" y="11434"/>
                    <a:pt x="35668" y="944"/>
                    <a:pt x="23551" y="40"/>
                  </a:cubicBezTo>
                  <a:cubicBezTo>
                    <a:pt x="11434" y="-684"/>
                    <a:pt x="944" y="8540"/>
                    <a:pt x="40" y="20657"/>
                  </a:cubicBezTo>
                  <a:cubicBezTo>
                    <a:pt x="-684" y="32774"/>
                    <a:pt x="8540" y="43264"/>
                    <a:pt x="20657" y="44168"/>
                  </a:cubicBezTo>
                  <a:cubicBezTo>
                    <a:pt x="32774" y="45073"/>
                    <a:pt x="43445" y="35668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8" name="Google Shape;1248;p53"/>
            <p:cNvSpPr/>
            <p:nvPr/>
          </p:nvSpPr>
          <p:spPr>
            <a:xfrm>
              <a:off x="8028510" y="5790800"/>
              <a:ext cx="112004" cy="112004"/>
            </a:xfrm>
            <a:custGeom>
              <a:avLst/>
              <a:gdLst/>
              <a:ahLst/>
              <a:cxnLst/>
              <a:rect l="l" t="t" r="r" b="b"/>
              <a:pathLst>
                <a:path w="112004" h="112004" extrusionOk="0">
                  <a:moveTo>
                    <a:pt x="111886" y="59619"/>
                  </a:moveTo>
                  <a:cubicBezTo>
                    <a:pt x="113876" y="28693"/>
                    <a:pt x="90546" y="2108"/>
                    <a:pt x="59619" y="118"/>
                  </a:cubicBezTo>
                  <a:cubicBezTo>
                    <a:pt x="28693" y="-1871"/>
                    <a:pt x="2108" y="21459"/>
                    <a:pt x="118" y="52385"/>
                  </a:cubicBezTo>
                  <a:cubicBezTo>
                    <a:pt x="-1871" y="83311"/>
                    <a:pt x="21459" y="109897"/>
                    <a:pt x="52385" y="111886"/>
                  </a:cubicBezTo>
                  <a:cubicBezTo>
                    <a:pt x="83131" y="113876"/>
                    <a:pt x="109716" y="90546"/>
                    <a:pt x="111886" y="596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49" name="Google Shape;1249;p53"/>
            <p:cNvSpPr/>
            <p:nvPr/>
          </p:nvSpPr>
          <p:spPr>
            <a:xfrm>
              <a:off x="7787357" y="5456326"/>
              <a:ext cx="9427" cy="9458"/>
            </a:xfrm>
            <a:custGeom>
              <a:avLst/>
              <a:gdLst/>
              <a:ahLst/>
              <a:cxnLst/>
              <a:rect l="l" t="t" r="r" b="b"/>
              <a:pathLst>
                <a:path w="9427" h="9458" extrusionOk="0">
                  <a:moveTo>
                    <a:pt x="9416" y="5075"/>
                  </a:moveTo>
                  <a:cubicBezTo>
                    <a:pt x="9597" y="2543"/>
                    <a:pt x="7607" y="192"/>
                    <a:pt x="5075" y="11"/>
                  </a:cubicBezTo>
                  <a:cubicBezTo>
                    <a:pt x="2543" y="-170"/>
                    <a:pt x="192" y="1820"/>
                    <a:pt x="11" y="4352"/>
                  </a:cubicBezTo>
                  <a:cubicBezTo>
                    <a:pt x="-169" y="6884"/>
                    <a:pt x="1820" y="9235"/>
                    <a:pt x="4352" y="9416"/>
                  </a:cubicBezTo>
                  <a:cubicBezTo>
                    <a:pt x="7065" y="9777"/>
                    <a:pt x="9235" y="7788"/>
                    <a:pt x="9416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0" name="Google Shape;1250;p53"/>
            <p:cNvSpPr/>
            <p:nvPr/>
          </p:nvSpPr>
          <p:spPr>
            <a:xfrm>
              <a:off x="7397166" y="6185082"/>
              <a:ext cx="88997" cy="88997"/>
            </a:xfrm>
            <a:custGeom>
              <a:avLst/>
              <a:gdLst/>
              <a:ahLst/>
              <a:cxnLst/>
              <a:rect l="l" t="t" r="r" b="b"/>
              <a:pathLst>
                <a:path w="88997" h="88997" extrusionOk="0">
                  <a:moveTo>
                    <a:pt x="88899" y="47483"/>
                  </a:moveTo>
                  <a:cubicBezTo>
                    <a:pt x="90526" y="22887"/>
                    <a:pt x="71898" y="1727"/>
                    <a:pt x="47483" y="99"/>
                  </a:cubicBezTo>
                  <a:cubicBezTo>
                    <a:pt x="23068" y="-1529"/>
                    <a:pt x="1727" y="17099"/>
                    <a:pt x="99" y="41515"/>
                  </a:cubicBezTo>
                  <a:cubicBezTo>
                    <a:pt x="-1529" y="66111"/>
                    <a:pt x="17099" y="87271"/>
                    <a:pt x="41515" y="88899"/>
                  </a:cubicBezTo>
                  <a:cubicBezTo>
                    <a:pt x="65930" y="90526"/>
                    <a:pt x="87271" y="71898"/>
                    <a:pt x="88899" y="474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1" name="Google Shape;1251;p53"/>
            <p:cNvSpPr/>
            <p:nvPr/>
          </p:nvSpPr>
          <p:spPr>
            <a:xfrm>
              <a:off x="10178866" y="6103673"/>
              <a:ext cx="107130" cy="107130"/>
            </a:xfrm>
            <a:custGeom>
              <a:avLst/>
              <a:gdLst/>
              <a:ahLst/>
              <a:cxnLst/>
              <a:rect l="l" t="t" r="r" b="b"/>
              <a:pathLst>
                <a:path w="107130" h="107130" extrusionOk="0">
                  <a:moveTo>
                    <a:pt x="107008" y="57092"/>
                  </a:moveTo>
                  <a:cubicBezTo>
                    <a:pt x="108997" y="27613"/>
                    <a:pt x="86571" y="2112"/>
                    <a:pt x="57092" y="123"/>
                  </a:cubicBezTo>
                  <a:cubicBezTo>
                    <a:pt x="27612" y="-1866"/>
                    <a:pt x="2112" y="20559"/>
                    <a:pt x="123" y="50039"/>
                  </a:cubicBezTo>
                  <a:cubicBezTo>
                    <a:pt x="-1867" y="79518"/>
                    <a:pt x="20559" y="105019"/>
                    <a:pt x="50039" y="107008"/>
                  </a:cubicBezTo>
                  <a:cubicBezTo>
                    <a:pt x="79699" y="108997"/>
                    <a:pt x="105199" y="86571"/>
                    <a:pt x="107008" y="570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2" name="Google Shape;1252;p53"/>
            <p:cNvSpPr/>
            <p:nvPr/>
          </p:nvSpPr>
          <p:spPr>
            <a:xfrm>
              <a:off x="10458007" y="5321018"/>
              <a:ext cx="44569" cy="44591"/>
            </a:xfrm>
            <a:custGeom>
              <a:avLst/>
              <a:gdLst/>
              <a:ahLst/>
              <a:cxnLst/>
              <a:rect l="l" t="t" r="r" b="b"/>
              <a:pathLst>
                <a:path w="44569" h="44591" extrusionOk="0">
                  <a:moveTo>
                    <a:pt x="44530" y="23732"/>
                  </a:moveTo>
                  <a:cubicBezTo>
                    <a:pt x="45253" y="11434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2955" y="45434"/>
                    <a:pt x="43626" y="36211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3" name="Google Shape;1253;p53"/>
            <p:cNvSpPr/>
            <p:nvPr/>
          </p:nvSpPr>
          <p:spPr>
            <a:xfrm>
              <a:off x="9521143" y="5403812"/>
              <a:ext cx="69059" cy="69059"/>
            </a:xfrm>
            <a:custGeom>
              <a:avLst/>
              <a:gdLst/>
              <a:ahLst/>
              <a:cxnLst/>
              <a:rect l="l" t="t" r="r" b="b"/>
              <a:pathLst>
                <a:path w="69059" h="69059" extrusionOk="0">
                  <a:moveTo>
                    <a:pt x="68983" y="36791"/>
                  </a:moveTo>
                  <a:cubicBezTo>
                    <a:pt x="70249" y="17801"/>
                    <a:pt x="55780" y="1343"/>
                    <a:pt x="36791" y="77"/>
                  </a:cubicBezTo>
                  <a:cubicBezTo>
                    <a:pt x="17801" y="-1189"/>
                    <a:pt x="1343" y="13280"/>
                    <a:pt x="77" y="32269"/>
                  </a:cubicBezTo>
                  <a:cubicBezTo>
                    <a:pt x="-1189" y="51259"/>
                    <a:pt x="13280" y="67717"/>
                    <a:pt x="32269" y="68983"/>
                  </a:cubicBezTo>
                  <a:cubicBezTo>
                    <a:pt x="51440" y="70249"/>
                    <a:pt x="67898" y="55780"/>
                    <a:pt x="68983" y="367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4" name="Google Shape;1254;p53"/>
            <p:cNvSpPr/>
            <p:nvPr/>
          </p:nvSpPr>
          <p:spPr>
            <a:xfrm>
              <a:off x="10212042" y="6136850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2"/>
                    <a:pt x="32959" y="766"/>
                    <a:pt x="21746" y="43"/>
                  </a:cubicBezTo>
                  <a:cubicBezTo>
                    <a:pt x="10533" y="-681"/>
                    <a:pt x="767" y="7820"/>
                    <a:pt x="43" y="19032"/>
                  </a:cubicBezTo>
                  <a:cubicBezTo>
                    <a:pt x="-680" y="30245"/>
                    <a:pt x="7820" y="40012"/>
                    <a:pt x="19033" y="40735"/>
                  </a:cubicBezTo>
                  <a:cubicBezTo>
                    <a:pt x="30427" y="41458"/>
                    <a:pt x="40012" y="32958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5" name="Google Shape;1255;p53"/>
            <p:cNvSpPr/>
            <p:nvPr/>
          </p:nvSpPr>
          <p:spPr>
            <a:xfrm>
              <a:off x="10717815" y="5932769"/>
              <a:ext cx="109837" cy="109837"/>
            </a:xfrm>
            <a:custGeom>
              <a:avLst/>
              <a:gdLst/>
              <a:ahLst/>
              <a:cxnLst/>
              <a:rect l="l" t="t" r="r" b="b"/>
              <a:pathLst>
                <a:path w="109837" h="109837" extrusionOk="0">
                  <a:moveTo>
                    <a:pt x="109718" y="58536"/>
                  </a:moveTo>
                  <a:cubicBezTo>
                    <a:pt x="111707" y="28333"/>
                    <a:pt x="88739" y="2109"/>
                    <a:pt x="58536" y="120"/>
                  </a:cubicBezTo>
                  <a:cubicBezTo>
                    <a:pt x="28333" y="-1870"/>
                    <a:pt x="2109" y="21099"/>
                    <a:pt x="120" y="51302"/>
                  </a:cubicBezTo>
                  <a:cubicBezTo>
                    <a:pt x="-1869" y="81505"/>
                    <a:pt x="21099" y="107728"/>
                    <a:pt x="51302" y="109718"/>
                  </a:cubicBezTo>
                  <a:cubicBezTo>
                    <a:pt x="81686" y="111707"/>
                    <a:pt x="107729" y="88739"/>
                    <a:pt x="109718" y="5853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6" name="Google Shape;1256;p53"/>
            <p:cNvSpPr/>
            <p:nvPr/>
          </p:nvSpPr>
          <p:spPr>
            <a:xfrm>
              <a:off x="10313030" y="6273647"/>
              <a:ext cx="140647" cy="140648"/>
            </a:xfrm>
            <a:custGeom>
              <a:avLst/>
              <a:gdLst/>
              <a:ahLst/>
              <a:cxnLst/>
              <a:rect l="l" t="t" r="r" b="b"/>
              <a:pathLst>
                <a:path w="140647" h="140648" extrusionOk="0">
                  <a:moveTo>
                    <a:pt x="140495" y="74845"/>
                  </a:moveTo>
                  <a:cubicBezTo>
                    <a:pt x="143027" y="36143"/>
                    <a:pt x="113729" y="2685"/>
                    <a:pt x="74845" y="152"/>
                  </a:cubicBezTo>
                  <a:cubicBezTo>
                    <a:pt x="36142" y="-2379"/>
                    <a:pt x="2684" y="26919"/>
                    <a:pt x="152" y="65803"/>
                  </a:cubicBezTo>
                  <a:cubicBezTo>
                    <a:pt x="-2379" y="104506"/>
                    <a:pt x="26919" y="137964"/>
                    <a:pt x="65802" y="140496"/>
                  </a:cubicBezTo>
                  <a:cubicBezTo>
                    <a:pt x="104686" y="143028"/>
                    <a:pt x="137964" y="113729"/>
                    <a:pt x="140495" y="748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7" name="Google Shape;1257;p53"/>
            <p:cNvSpPr/>
            <p:nvPr/>
          </p:nvSpPr>
          <p:spPr>
            <a:xfrm>
              <a:off x="10178325" y="6102952"/>
              <a:ext cx="108573" cy="108574"/>
            </a:xfrm>
            <a:custGeom>
              <a:avLst/>
              <a:gdLst/>
              <a:ahLst/>
              <a:cxnLst/>
              <a:rect l="l" t="t" r="r" b="b"/>
              <a:pathLst>
                <a:path w="108573" h="108574" extrusionOk="0">
                  <a:moveTo>
                    <a:pt x="108453" y="57813"/>
                  </a:moveTo>
                  <a:cubicBezTo>
                    <a:pt x="110442" y="27972"/>
                    <a:pt x="87655" y="2110"/>
                    <a:pt x="57814" y="121"/>
                  </a:cubicBezTo>
                  <a:cubicBezTo>
                    <a:pt x="27973" y="-1869"/>
                    <a:pt x="2110" y="20919"/>
                    <a:pt x="121" y="50760"/>
                  </a:cubicBezTo>
                  <a:cubicBezTo>
                    <a:pt x="-1868" y="80601"/>
                    <a:pt x="20919" y="106463"/>
                    <a:pt x="50760" y="108453"/>
                  </a:cubicBezTo>
                  <a:cubicBezTo>
                    <a:pt x="80601" y="110442"/>
                    <a:pt x="106464" y="87835"/>
                    <a:pt x="108453" y="57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8" name="Google Shape;1258;p53"/>
            <p:cNvSpPr/>
            <p:nvPr/>
          </p:nvSpPr>
          <p:spPr>
            <a:xfrm>
              <a:off x="10729408" y="5944363"/>
              <a:ext cx="86831" cy="86811"/>
            </a:xfrm>
            <a:custGeom>
              <a:avLst/>
              <a:gdLst/>
              <a:ahLst/>
              <a:cxnLst/>
              <a:rect l="l" t="t" r="r" b="b"/>
              <a:pathLst>
                <a:path w="86831" h="86811" extrusionOk="0">
                  <a:moveTo>
                    <a:pt x="86730" y="46219"/>
                  </a:moveTo>
                  <a:cubicBezTo>
                    <a:pt x="88358" y="22346"/>
                    <a:pt x="70092" y="1728"/>
                    <a:pt x="46219" y="101"/>
                  </a:cubicBezTo>
                  <a:cubicBezTo>
                    <a:pt x="22346" y="-1527"/>
                    <a:pt x="1729" y="16740"/>
                    <a:pt x="101" y="40612"/>
                  </a:cubicBezTo>
                  <a:cubicBezTo>
                    <a:pt x="-1527" y="64485"/>
                    <a:pt x="16739" y="85103"/>
                    <a:pt x="40612" y="86730"/>
                  </a:cubicBezTo>
                  <a:cubicBezTo>
                    <a:pt x="64485" y="88177"/>
                    <a:pt x="85103" y="70091"/>
                    <a:pt x="86730" y="462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59" name="Google Shape;1259;p53"/>
            <p:cNvSpPr/>
            <p:nvPr/>
          </p:nvSpPr>
          <p:spPr>
            <a:xfrm>
              <a:off x="10455640" y="5318833"/>
              <a:ext cx="48941" cy="48942"/>
            </a:xfrm>
            <a:custGeom>
              <a:avLst/>
              <a:gdLst/>
              <a:ahLst/>
              <a:cxnLst/>
              <a:rect l="l" t="t" r="r" b="b"/>
              <a:pathLst>
                <a:path w="48941" h="48942" extrusionOk="0">
                  <a:moveTo>
                    <a:pt x="48886" y="26098"/>
                  </a:moveTo>
                  <a:cubicBezTo>
                    <a:pt x="49790" y="12715"/>
                    <a:pt x="39482" y="960"/>
                    <a:pt x="26098" y="55"/>
                  </a:cubicBezTo>
                  <a:cubicBezTo>
                    <a:pt x="12715" y="-849"/>
                    <a:pt x="960" y="9460"/>
                    <a:pt x="55" y="22843"/>
                  </a:cubicBezTo>
                  <a:cubicBezTo>
                    <a:pt x="-849" y="36226"/>
                    <a:pt x="9460" y="47982"/>
                    <a:pt x="22843" y="48886"/>
                  </a:cubicBezTo>
                  <a:cubicBezTo>
                    <a:pt x="36407" y="49790"/>
                    <a:pt x="47982" y="39662"/>
                    <a:pt x="48886" y="260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0" name="Google Shape;1260;p53"/>
            <p:cNvSpPr/>
            <p:nvPr/>
          </p:nvSpPr>
          <p:spPr>
            <a:xfrm>
              <a:off x="11829314" y="5656753"/>
              <a:ext cx="140647" cy="140647"/>
            </a:xfrm>
            <a:custGeom>
              <a:avLst/>
              <a:gdLst/>
              <a:ahLst/>
              <a:cxnLst/>
              <a:rect l="l" t="t" r="r" b="b"/>
              <a:pathLst>
                <a:path w="140647" h="140647" extrusionOk="0">
                  <a:moveTo>
                    <a:pt x="140495" y="74845"/>
                  </a:moveTo>
                  <a:cubicBezTo>
                    <a:pt x="143027" y="36143"/>
                    <a:pt x="113729" y="2684"/>
                    <a:pt x="74845" y="152"/>
                  </a:cubicBezTo>
                  <a:cubicBezTo>
                    <a:pt x="36143" y="-2379"/>
                    <a:pt x="2684" y="26919"/>
                    <a:pt x="152" y="65803"/>
                  </a:cubicBezTo>
                  <a:cubicBezTo>
                    <a:pt x="-2379" y="104506"/>
                    <a:pt x="26919" y="137963"/>
                    <a:pt x="65803" y="140495"/>
                  </a:cubicBezTo>
                  <a:cubicBezTo>
                    <a:pt x="104506" y="143027"/>
                    <a:pt x="137964" y="113729"/>
                    <a:pt x="140495" y="748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1" name="Google Shape;1261;p53"/>
            <p:cNvSpPr/>
            <p:nvPr/>
          </p:nvSpPr>
          <p:spPr>
            <a:xfrm>
              <a:off x="10940909" y="5500447"/>
              <a:ext cx="23368" cy="23368"/>
            </a:xfrm>
            <a:custGeom>
              <a:avLst/>
              <a:gdLst/>
              <a:ahLst/>
              <a:cxnLst/>
              <a:rect l="l" t="t" r="r" b="b"/>
              <a:pathLst>
                <a:path w="23368" h="23368" extrusionOk="0">
                  <a:moveTo>
                    <a:pt x="23349" y="12498"/>
                  </a:moveTo>
                  <a:cubicBezTo>
                    <a:pt x="23711" y="5987"/>
                    <a:pt x="18828" y="380"/>
                    <a:pt x="12498" y="19"/>
                  </a:cubicBezTo>
                  <a:cubicBezTo>
                    <a:pt x="5987" y="-343"/>
                    <a:pt x="381" y="4540"/>
                    <a:pt x="19" y="10870"/>
                  </a:cubicBezTo>
                  <a:cubicBezTo>
                    <a:pt x="-343" y="17381"/>
                    <a:pt x="4540" y="22987"/>
                    <a:pt x="10870" y="23349"/>
                  </a:cubicBezTo>
                  <a:cubicBezTo>
                    <a:pt x="17200" y="23711"/>
                    <a:pt x="22987" y="19008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2" name="Google Shape;1262;p53"/>
            <p:cNvSpPr/>
            <p:nvPr/>
          </p:nvSpPr>
          <p:spPr>
            <a:xfrm>
              <a:off x="10761299" y="5976094"/>
              <a:ext cx="23029" cy="23029"/>
            </a:xfrm>
            <a:custGeom>
              <a:avLst/>
              <a:gdLst/>
              <a:ahLst/>
              <a:cxnLst/>
              <a:rect l="l" t="t" r="r" b="b"/>
              <a:pathLst>
                <a:path w="23029" h="23029" extrusionOk="0">
                  <a:moveTo>
                    <a:pt x="23010" y="12317"/>
                  </a:moveTo>
                  <a:cubicBezTo>
                    <a:pt x="23371" y="5988"/>
                    <a:pt x="18669" y="562"/>
                    <a:pt x="12339" y="20"/>
                  </a:cubicBezTo>
                  <a:cubicBezTo>
                    <a:pt x="6009" y="-342"/>
                    <a:pt x="584" y="4360"/>
                    <a:pt x="41" y="10690"/>
                  </a:cubicBezTo>
                  <a:cubicBezTo>
                    <a:pt x="-501" y="17020"/>
                    <a:pt x="4382" y="22445"/>
                    <a:pt x="10712" y="22988"/>
                  </a:cubicBezTo>
                  <a:cubicBezTo>
                    <a:pt x="17042" y="23531"/>
                    <a:pt x="22648" y="18648"/>
                    <a:pt x="23010" y="1231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3" name="Google Shape;1263;p53"/>
            <p:cNvSpPr/>
            <p:nvPr/>
          </p:nvSpPr>
          <p:spPr>
            <a:xfrm>
              <a:off x="11885317" y="5712575"/>
              <a:ext cx="29003" cy="29003"/>
            </a:xfrm>
            <a:custGeom>
              <a:avLst/>
              <a:gdLst/>
              <a:ahLst/>
              <a:cxnLst/>
              <a:rect l="l" t="t" r="r" b="b"/>
              <a:pathLst>
                <a:path w="29003" h="29003" extrusionOk="0">
                  <a:moveTo>
                    <a:pt x="28970" y="15406"/>
                  </a:moveTo>
                  <a:cubicBezTo>
                    <a:pt x="29513" y="7448"/>
                    <a:pt x="23364" y="576"/>
                    <a:pt x="15406" y="33"/>
                  </a:cubicBezTo>
                  <a:cubicBezTo>
                    <a:pt x="7448" y="-509"/>
                    <a:pt x="576" y="5640"/>
                    <a:pt x="33" y="13597"/>
                  </a:cubicBezTo>
                  <a:cubicBezTo>
                    <a:pt x="-509" y="21555"/>
                    <a:pt x="5640" y="28427"/>
                    <a:pt x="13597" y="28970"/>
                  </a:cubicBezTo>
                  <a:cubicBezTo>
                    <a:pt x="21374" y="29512"/>
                    <a:pt x="28428" y="23363"/>
                    <a:pt x="28970" y="154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4" name="Google Shape;1264;p53"/>
            <p:cNvSpPr/>
            <p:nvPr/>
          </p:nvSpPr>
          <p:spPr>
            <a:xfrm>
              <a:off x="11208003" y="5289723"/>
              <a:ext cx="36447" cy="36445"/>
            </a:xfrm>
            <a:custGeom>
              <a:avLst/>
              <a:gdLst/>
              <a:ahLst/>
              <a:cxnLst/>
              <a:rect l="l" t="t" r="r" b="b"/>
              <a:pathLst>
                <a:path w="36447" h="36445" extrusionOk="0">
                  <a:moveTo>
                    <a:pt x="36399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271" y="-676"/>
                    <a:pt x="771" y="6920"/>
                    <a:pt x="48" y="17048"/>
                  </a:cubicBezTo>
                  <a:cubicBezTo>
                    <a:pt x="-676" y="27176"/>
                    <a:pt x="6920" y="35676"/>
                    <a:pt x="17048" y="36399"/>
                  </a:cubicBezTo>
                  <a:cubicBezTo>
                    <a:pt x="27176" y="37123"/>
                    <a:pt x="35676" y="29346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5" name="Google Shape;1265;p53"/>
            <p:cNvSpPr/>
            <p:nvPr/>
          </p:nvSpPr>
          <p:spPr>
            <a:xfrm>
              <a:off x="10939264" y="5498802"/>
              <a:ext cx="26838" cy="26839"/>
            </a:xfrm>
            <a:custGeom>
              <a:avLst/>
              <a:gdLst/>
              <a:ahLst/>
              <a:cxnLst/>
              <a:rect l="l" t="t" r="r" b="b"/>
              <a:pathLst>
                <a:path w="26838" h="26839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345"/>
                    <a:pt x="26260" y="21739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6" name="Google Shape;1266;p53"/>
            <p:cNvSpPr/>
            <p:nvPr/>
          </p:nvSpPr>
          <p:spPr>
            <a:xfrm>
              <a:off x="11830758" y="5658197"/>
              <a:ext cx="137759" cy="137759"/>
            </a:xfrm>
            <a:custGeom>
              <a:avLst/>
              <a:gdLst/>
              <a:ahLst/>
              <a:cxnLst/>
              <a:rect l="l" t="t" r="r" b="b"/>
              <a:pathLst>
                <a:path w="137759" h="137759" extrusionOk="0">
                  <a:moveTo>
                    <a:pt x="137604" y="73401"/>
                  </a:moveTo>
                  <a:cubicBezTo>
                    <a:pt x="140136" y="35422"/>
                    <a:pt x="111381" y="2687"/>
                    <a:pt x="73401" y="155"/>
                  </a:cubicBezTo>
                  <a:cubicBezTo>
                    <a:pt x="35422" y="-2377"/>
                    <a:pt x="2687" y="26379"/>
                    <a:pt x="155" y="64359"/>
                  </a:cubicBezTo>
                  <a:cubicBezTo>
                    <a:pt x="-2377" y="102338"/>
                    <a:pt x="26379" y="135072"/>
                    <a:pt x="64359" y="137604"/>
                  </a:cubicBezTo>
                  <a:cubicBezTo>
                    <a:pt x="102338" y="140136"/>
                    <a:pt x="135254" y="111381"/>
                    <a:pt x="137604" y="734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7" name="Google Shape;1267;p53"/>
            <p:cNvSpPr/>
            <p:nvPr/>
          </p:nvSpPr>
          <p:spPr>
            <a:xfrm>
              <a:off x="11784676" y="5096318"/>
              <a:ext cx="110921" cy="110942"/>
            </a:xfrm>
            <a:custGeom>
              <a:avLst/>
              <a:gdLst/>
              <a:ahLst/>
              <a:cxnLst/>
              <a:rect l="l" t="t" r="r" b="b"/>
              <a:pathLst>
                <a:path w="110921" h="110942" extrusionOk="0">
                  <a:moveTo>
                    <a:pt x="110802" y="59078"/>
                  </a:moveTo>
                  <a:cubicBezTo>
                    <a:pt x="112791" y="28513"/>
                    <a:pt x="89642" y="2109"/>
                    <a:pt x="59078" y="119"/>
                  </a:cubicBezTo>
                  <a:cubicBezTo>
                    <a:pt x="28513" y="-1870"/>
                    <a:pt x="2109" y="21279"/>
                    <a:pt x="119" y="51844"/>
                  </a:cubicBezTo>
                  <a:cubicBezTo>
                    <a:pt x="-1870" y="82408"/>
                    <a:pt x="21279" y="108813"/>
                    <a:pt x="51844" y="110802"/>
                  </a:cubicBezTo>
                  <a:cubicBezTo>
                    <a:pt x="82408" y="112972"/>
                    <a:pt x="108813" y="89642"/>
                    <a:pt x="110802" y="5907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8" name="Google Shape;1268;p53"/>
            <p:cNvSpPr/>
            <p:nvPr/>
          </p:nvSpPr>
          <p:spPr>
            <a:xfrm>
              <a:off x="11200763" y="5282483"/>
              <a:ext cx="50927" cy="50927"/>
            </a:xfrm>
            <a:custGeom>
              <a:avLst/>
              <a:gdLst/>
              <a:ahLst/>
              <a:cxnLst/>
              <a:rect l="l" t="t" r="r" b="b"/>
              <a:pathLst>
                <a:path w="50927" h="50927" extrusionOk="0">
                  <a:moveTo>
                    <a:pt x="50874" y="27182"/>
                  </a:moveTo>
                  <a:cubicBezTo>
                    <a:pt x="51778" y="13075"/>
                    <a:pt x="41107" y="958"/>
                    <a:pt x="27182" y="53"/>
                  </a:cubicBezTo>
                  <a:cubicBezTo>
                    <a:pt x="13075" y="-851"/>
                    <a:pt x="958" y="9820"/>
                    <a:pt x="53" y="23745"/>
                  </a:cubicBezTo>
                  <a:cubicBezTo>
                    <a:pt x="-851" y="37852"/>
                    <a:pt x="9820" y="49969"/>
                    <a:pt x="23745" y="50874"/>
                  </a:cubicBezTo>
                  <a:cubicBezTo>
                    <a:pt x="37852" y="51778"/>
                    <a:pt x="49969" y="41107"/>
                    <a:pt x="50874" y="271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69" name="Google Shape;1269;p53"/>
            <p:cNvSpPr/>
            <p:nvPr/>
          </p:nvSpPr>
          <p:spPr>
            <a:xfrm>
              <a:off x="12698414" y="4373142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4"/>
                    <a:pt x="37676" y="962"/>
                    <a:pt x="24835" y="58"/>
                  </a:cubicBezTo>
                  <a:cubicBezTo>
                    <a:pt x="11995" y="-846"/>
                    <a:pt x="962" y="8920"/>
                    <a:pt x="58" y="21761"/>
                  </a:cubicBezTo>
                  <a:cubicBezTo>
                    <a:pt x="-846" y="34601"/>
                    <a:pt x="8920" y="45633"/>
                    <a:pt x="21760" y="46538"/>
                  </a:cubicBezTo>
                  <a:cubicBezTo>
                    <a:pt x="34601" y="47442"/>
                    <a:pt x="45814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0" name="Google Shape;1270;p53"/>
            <p:cNvSpPr/>
            <p:nvPr/>
          </p:nvSpPr>
          <p:spPr>
            <a:xfrm>
              <a:off x="12286237" y="3894954"/>
              <a:ext cx="57466" cy="57465"/>
            </a:xfrm>
            <a:custGeom>
              <a:avLst/>
              <a:gdLst/>
              <a:ahLst/>
              <a:cxnLst/>
              <a:rect l="l" t="t" r="r" b="b"/>
              <a:pathLst>
                <a:path w="57466" h="57465" extrusionOk="0">
                  <a:moveTo>
                    <a:pt x="57399" y="30632"/>
                  </a:moveTo>
                  <a:cubicBezTo>
                    <a:pt x="58484" y="14717"/>
                    <a:pt x="46366" y="1153"/>
                    <a:pt x="30632" y="68"/>
                  </a:cubicBezTo>
                  <a:cubicBezTo>
                    <a:pt x="14717" y="-1018"/>
                    <a:pt x="1153" y="11100"/>
                    <a:pt x="68" y="26834"/>
                  </a:cubicBezTo>
                  <a:cubicBezTo>
                    <a:pt x="-1018" y="42749"/>
                    <a:pt x="11100" y="56313"/>
                    <a:pt x="26834" y="57398"/>
                  </a:cubicBezTo>
                  <a:cubicBezTo>
                    <a:pt x="42750" y="58483"/>
                    <a:pt x="56314" y="46366"/>
                    <a:pt x="57399" y="306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1" name="Google Shape;1271;p53"/>
            <p:cNvSpPr/>
            <p:nvPr/>
          </p:nvSpPr>
          <p:spPr>
            <a:xfrm>
              <a:off x="12719404" y="5673315"/>
              <a:ext cx="35723" cy="35704"/>
            </a:xfrm>
            <a:custGeom>
              <a:avLst/>
              <a:gdLst/>
              <a:ahLst/>
              <a:cxnLst/>
              <a:rect l="l" t="t" r="r" b="b"/>
              <a:pathLst>
                <a:path w="35723" h="35704" extrusionOk="0">
                  <a:moveTo>
                    <a:pt x="35676" y="19037"/>
                  </a:moveTo>
                  <a:cubicBezTo>
                    <a:pt x="36399" y="9271"/>
                    <a:pt x="28804" y="771"/>
                    <a:pt x="19037" y="48"/>
                  </a:cubicBezTo>
                  <a:cubicBezTo>
                    <a:pt x="9271" y="-676"/>
                    <a:pt x="771" y="6920"/>
                    <a:pt x="48" y="16686"/>
                  </a:cubicBezTo>
                  <a:cubicBezTo>
                    <a:pt x="-676" y="26452"/>
                    <a:pt x="6920" y="34952"/>
                    <a:pt x="16686" y="35676"/>
                  </a:cubicBezTo>
                  <a:cubicBezTo>
                    <a:pt x="26633" y="36219"/>
                    <a:pt x="35134" y="28804"/>
                    <a:pt x="35676" y="190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2" name="Google Shape;1272;p53"/>
            <p:cNvSpPr/>
            <p:nvPr/>
          </p:nvSpPr>
          <p:spPr>
            <a:xfrm>
              <a:off x="12514905" y="5661607"/>
              <a:ext cx="50639" cy="50639"/>
            </a:xfrm>
            <a:custGeom>
              <a:avLst/>
              <a:gdLst/>
              <a:ahLst/>
              <a:cxnLst/>
              <a:rect l="l" t="t" r="r" b="b"/>
              <a:pathLst>
                <a:path w="50639" h="50639" extrusionOk="0">
                  <a:moveTo>
                    <a:pt x="50639" y="25320"/>
                  </a:moveTo>
                  <a:cubicBezTo>
                    <a:pt x="50639" y="39303"/>
                    <a:pt x="39303" y="50639"/>
                    <a:pt x="25320" y="50639"/>
                  </a:cubicBezTo>
                  <a:cubicBezTo>
                    <a:pt x="11336" y="50639"/>
                    <a:pt x="0" y="39303"/>
                    <a:pt x="0" y="25320"/>
                  </a:cubicBezTo>
                  <a:cubicBezTo>
                    <a:pt x="0" y="11336"/>
                    <a:pt x="11336" y="0"/>
                    <a:pt x="25320" y="0"/>
                  </a:cubicBezTo>
                  <a:cubicBezTo>
                    <a:pt x="39303" y="0"/>
                    <a:pt x="50639" y="11336"/>
                    <a:pt x="50639" y="2532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3" name="Google Shape;1273;p53"/>
            <p:cNvSpPr/>
            <p:nvPr/>
          </p:nvSpPr>
          <p:spPr>
            <a:xfrm>
              <a:off x="12433257" y="5142111"/>
              <a:ext cx="84986" cy="85007"/>
            </a:xfrm>
            <a:custGeom>
              <a:avLst/>
              <a:gdLst/>
              <a:ahLst/>
              <a:cxnLst/>
              <a:rect l="l" t="t" r="r" b="b"/>
              <a:pathLst>
                <a:path w="84986" h="85007" extrusionOk="0">
                  <a:moveTo>
                    <a:pt x="84903" y="45296"/>
                  </a:moveTo>
                  <a:cubicBezTo>
                    <a:pt x="86350" y="21966"/>
                    <a:pt x="68627" y="1711"/>
                    <a:pt x="45296" y="83"/>
                  </a:cubicBezTo>
                  <a:cubicBezTo>
                    <a:pt x="21966" y="-1364"/>
                    <a:pt x="1710" y="16360"/>
                    <a:pt x="83" y="39690"/>
                  </a:cubicBezTo>
                  <a:cubicBezTo>
                    <a:pt x="-1364" y="63020"/>
                    <a:pt x="16359" y="83276"/>
                    <a:pt x="39690" y="84903"/>
                  </a:cubicBezTo>
                  <a:cubicBezTo>
                    <a:pt x="63201" y="86531"/>
                    <a:pt x="83456" y="68807"/>
                    <a:pt x="84903" y="45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4" name="Google Shape;1274;p53"/>
            <p:cNvSpPr/>
            <p:nvPr/>
          </p:nvSpPr>
          <p:spPr>
            <a:xfrm>
              <a:off x="12717599" y="5671510"/>
              <a:ext cx="39513" cy="39514"/>
            </a:xfrm>
            <a:custGeom>
              <a:avLst/>
              <a:gdLst/>
              <a:ahLst/>
              <a:cxnLst/>
              <a:rect l="l" t="t" r="r" b="b"/>
              <a:pathLst>
                <a:path w="39513" h="39514" extrusionOk="0">
                  <a:moveTo>
                    <a:pt x="39470" y="21023"/>
                  </a:moveTo>
                  <a:cubicBezTo>
                    <a:pt x="40194" y="10172"/>
                    <a:pt x="31874" y="767"/>
                    <a:pt x="21023" y="44"/>
                  </a:cubicBezTo>
                  <a:cubicBezTo>
                    <a:pt x="10172" y="-679"/>
                    <a:pt x="767" y="7640"/>
                    <a:pt x="44" y="18491"/>
                  </a:cubicBezTo>
                  <a:cubicBezTo>
                    <a:pt x="-680" y="29342"/>
                    <a:pt x="7639" y="38747"/>
                    <a:pt x="18491" y="39470"/>
                  </a:cubicBezTo>
                  <a:cubicBezTo>
                    <a:pt x="29342" y="40194"/>
                    <a:pt x="38746" y="31874"/>
                    <a:pt x="39470" y="210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5" name="Google Shape;1275;p53"/>
            <p:cNvSpPr/>
            <p:nvPr/>
          </p:nvSpPr>
          <p:spPr>
            <a:xfrm>
              <a:off x="12529878" y="5685262"/>
              <a:ext cx="25213" cy="25214"/>
            </a:xfrm>
            <a:custGeom>
              <a:avLst/>
              <a:gdLst/>
              <a:ahLst/>
              <a:cxnLst/>
              <a:rect l="l" t="t" r="r" b="b"/>
              <a:pathLst>
                <a:path w="25213" h="25214" extrusionOk="0">
                  <a:moveTo>
                    <a:pt x="25176" y="13421"/>
                  </a:moveTo>
                  <a:cubicBezTo>
                    <a:pt x="25719" y="6548"/>
                    <a:pt x="20293" y="399"/>
                    <a:pt x="13420" y="37"/>
                  </a:cubicBezTo>
                  <a:cubicBezTo>
                    <a:pt x="6548" y="-505"/>
                    <a:pt x="399" y="4921"/>
                    <a:pt x="37" y="11793"/>
                  </a:cubicBezTo>
                  <a:cubicBezTo>
                    <a:pt x="-505" y="18666"/>
                    <a:pt x="4920" y="24815"/>
                    <a:pt x="11793" y="25176"/>
                  </a:cubicBezTo>
                  <a:cubicBezTo>
                    <a:pt x="18665" y="25719"/>
                    <a:pt x="24634" y="20474"/>
                    <a:pt x="25176" y="134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6" name="Google Shape;1276;p53"/>
            <p:cNvSpPr/>
            <p:nvPr/>
          </p:nvSpPr>
          <p:spPr>
            <a:xfrm>
              <a:off x="12530618" y="5677320"/>
              <a:ext cx="19395" cy="19395"/>
            </a:xfrm>
            <a:custGeom>
              <a:avLst/>
              <a:gdLst/>
              <a:ahLst/>
              <a:cxnLst/>
              <a:rect l="l" t="t" r="r" b="b"/>
              <a:pathLst>
                <a:path w="19395" h="19395" extrusionOk="0">
                  <a:moveTo>
                    <a:pt x="19374" y="10330"/>
                  </a:moveTo>
                  <a:cubicBezTo>
                    <a:pt x="19735" y="4905"/>
                    <a:pt x="15575" y="383"/>
                    <a:pt x="10331" y="22"/>
                  </a:cubicBezTo>
                  <a:cubicBezTo>
                    <a:pt x="4905" y="-340"/>
                    <a:pt x="383" y="3820"/>
                    <a:pt x="22" y="9065"/>
                  </a:cubicBezTo>
                  <a:cubicBezTo>
                    <a:pt x="-340" y="14309"/>
                    <a:pt x="3820" y="19011"/>
                    <a:pt x="9065" y="19373"/>
                  </a:cubicBezTo>
                  <a:cubicBezTo>
                    <a:pt x="14310" y="19735"/>
                    <a:pt x="19011" y="15575"/>
                    <a:pt x="19374" y="103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7" name="Google Shape;1277;p53"/>
            <p:cNvSpPr/>
            <p:nvPr/>
          </p:nvSpPr>
          <p:spPr>
            <a:xfrm>
              <a:off x="11878731" y="6854053"/>
              <a:ext cx="100049" cy="100048"/>
            </a:xfrm>
            <a:custGeom>
              <a:avLst/>
              <a:gdLst/>
              <a:ahLst/>
              <a:cxnLst/>
              <a:rect l="l" t="t" r="r" b="b"/>
              <a:pathLst>
                <a:path w="100049" h="100048" extrusionOk="0">
                  <a:moveTo>
                    <a:pt x="99940" y="53279"/>
                  </a:moveTo>
                  <a:cubicBezTo>
                    <a:pt x="101749" y="25609"/>
                    <a:pt x="80770" y="1917"/>
                    <a:pt x="53280" y="109"/>
                  </a:cubicBezTo>
                  <a:cubicBezTo>
                    <a:pt x="25609" y="-1700"/>
                    <a:pt x="1917" y="19279"/>
                    <a:pt x="109" y="46769"/>
                  </a:cubicBezTo>
                  <a:cubicBezTo>
                    <a:pt x="-1700" y="74440"/>
                    <a:pt x="19279" y="98131"/>
                    <a:pt x="46769" y="99940"/>
                  </a:cubicBezTo>
                  <a:cubicBezTo>
                    <a:pt x="74259" y="101749"/>
                    <a:pt x="98132" y="80770"/>
                    <a:pt x="99940" y="53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8" name="Google Shape;1278;p53"/>
            <p:cNvSpPr/>
            <p:nvPr/>
          </p:nvSpPr>
          <p:spPr>
            <a:xfrm>
              <a:off x="10699321" y="5914275"/>
              <a:ext cx="147006" cy="146986"/>
            </a:xfrm>
            <a:custGeom>
              <a:avLst/>
              <a:gdLst/>
              <a:ahLst/>
              <a:cxnLst/>
              <a:rect l="l" t="t" r="r" b="b"/>
              <a:pathLst>
                <a:path w="147006" h="146986" extrusionOk="0">
                  <a:moveTo>
                    <a:pt x="146840" y="78296"/>
                  </a:moveTo>
                  <a:cubicBezTo>
                    <a:pt x="149552" y="37785"/>
                    <a:pt x="118807" y="2879"/>
                    <a:pt x="78296" y="167"/>
                  </a:cubicBezTo>
                  <a:cubicBezTo>
                    <a:pt x="37784" y="-2546"/>
                    <a:pt x="2879" y="28199"/>
                    <a:pt x="167" y="68711"/>
                  </a:cubicBezTo>
                  <a:cubicBezTo>
                    <a:pt x="-2546" y="109222"/>
                    <a:pt x="28199" y="144127"/>
                    <a:pt x="68710" y="146840"/>
                  </a:cubicBezTo>
                  <a:cubicBezTo>
                    <a:pt x="109222" y="149371"/>
                    <a:pt x="144127" y="118807"/>
                    <a:pt x="146840" y="78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79" name="Google Shape;1279;p53"/>
            <p:cNvSpPr/>
            <p:nvPr/>
          </p:nvSpPr>
          <p:spPr>
            <a:xfrm>
              <a:off x="10363055" y="6323672"/>
              <a:ext cx="40597" cy="40597"/>
            </a:xfrm>
            <a:custGeom>
              <a:avLst/>
              <a:gdLst/>
              <a:ahLst/>
              <a:cxnLst/>
              <a:rect l="l" t="t" r="r" b="b"/>
              <a:pathLst>
                <a:path w="40597" h="40597" extrusionOk="0">
                  <a:moveTo>
                    <a:pt x="40554" y="21565"/>
                  </a:moveTo>
                  <a:cubicBezTo>
                    <a:pt x="41278" y="10352"/>
                    <a:pt x="32778" y="767"/>
                    <a:pt x="21565" y="43"/>
                  </a:cubicBezTo>
                  <a:cubicBezTo>
                    <a:pt x="10352" y="-681"/>
                    <a:pt x="766" y="7820"/>
                    <a:pt x="43" y="19033"/>
                  </a:cubicBezTo>
                  <a:cubicBezTo>
                    <a:pt x="-680" y="30246"/>
                    <a:pt x="7820" y="39831"/>
                    <a:pt x="19033" y="40554"/>
                  </a:cubicBezTo>
                  <a:cubicBezTo>
                    <a:pt x="30246" y="41278"/>
                    <a:pt x="39831" y="32778"/>
                    <a:pt x="40554" y="21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0" name="Google Shape;1280;p53"/>
            <p:cNvSpPr/>
            <p:nvPr/>
          </p:nvSpPr>
          <p:spPr>
            <a:xfrm>
              <a:off x="11924403" y="6899724"/>
              <a:ext cx="8525" cy="8525"/>
            </a:xfrm>
            <a:custGeom>
              <a:avLst/>
              <a:gdLst/>
              <a:ahLst/>
              <a:cxnLst/>
              <a:rect l="l" t="t" r="r" b="b"/>
              <a:pathLst>
                <a:path w="8525" h="8525" extrusionOk="0">
                  <a:moveTo>
                    <a:pt x="8513" y="4534"/>
                  </a:moveTo>
                  <a:cubicBezTo>
                    <a:pt x="8693" y="2183"/>
                    <a:pt x="6885" y="194"/>
                    <a:pt x="4534" y="12"/>
                  </a:cubicBezTo>
                  <a:cubicBezTo>
                    <a:pt x="2183" y="-169"/>
                    <a:pt x="193" y="1640"/>
                    <a:pt x="12" y="3991"/>
                  </a:cubicBezTo>
                  <a:cubicBezTo>
                    <a:pt x="-168" y="6343"/>
                    <a:pt x="1640" y="8332"/>
                    <a:pt x="3991" y="8513"/>
                  </a:cubicBezTo>
                  <a:cubicBezTo>
                    <a:pt x="6342" y="8694"/>
                    <a:pt x="8332" y="6885"/>
                    <a:pt x="8513" y="45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1" name="Google Shape;1281;p53"/>
            <p:cNvSpPr/>
            <p:nvPr/>
          </p:nvSpPr>
          <p:spPr>
            <a:xfrm>
              <a:off x="11868649" y="5695906"/>
              <a:ext cx="62159" cy="62181"/>
            </a:xfrm>
            <a:custGeom>
              <a:avLst/>
              <a:gdLst/>
              <a:ahLst/>
              <a:cxnLst/>
              <a:rect l="l" t="t" r="r" b="b"/>
              <a:pathLst>
                <a:path w="62159" h="62181" extrusionOk="0">
                  <a:moveTo>
                    <a:pt x="62096" y="33160"/>
                  </a:moveTo>
                  <a:cubicBezTo>
                    <a:pt x="63182" y="15978"/>
                    <a:pt x="50160" y="1329"/>
                    <a:pt x="33160" y="63"/>
                  </a:cubicBezTo>
                  <a:cubicBezTo>
                    <a:pt x="15978" y="-1022"/>
                    <a:pt x="1329" y="11999"/>
                    <a:pt x="63" y="29000"/>
                  </a:cubicBezTo>
                  <a:cubicBezTo>
                    <a:pt x="-1022" y="46181"/>
                    <a:pt x="12000" y="60830"/>
                    <a:pt x="29000" y="62096"/>
                  </a:cubicBezTo>
                  <a:cubicBezTo>
                    <a:pt x="46181" y="63362"/>
                    <a:pt x="61011" y="50341"/>
                    <a:pt x="62096" y="331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2" name="Google Shape;1282;p53"/>
            <p:cNvSpPr/>
            <p:nvPr/>
          </p:nvSpPr>
          <p:spPr>
            <a:xfrm>
              <a:off x="10768381" y="5983335"/>
              <a:ext cx="8886" cy="8874"/>
            </a:xfrm>
            <a:custGeom>
              <a:avLst/>
              <a:gdLst/>
              <a:ahLst/>
              <a:cxnLst/>
              <a:rect l="l" t="t" r="r" b="b"/>
              <a:pathLst>
                <a:path w="8886" h="8874" extrusionOk="0">
                  <a:moveTo>
                    <a:pt x="8874" y="4715"/>
                  </a:moveTo>
                  <a:cubicBezTo>
                    <a:pt x="9055" y="2364"/>
                    <a:pt x="7247" y="193"/>
                    <a:pt x="4715" y="12"/>
                  </a:cubicBezTo>
                  <a:cubicBezTo>
                    <a:pt x="2363" y="-168"/>
                    <a:pt x="193" y="1640"/>
                    <a:pt x="12" y="4172"/>
                  </a:cubicBezTo>
                  <a:cubicBezTo>
                    <a:pt x="-169" y="6523"/>
                    <a:pt x="1640" y="8694"/>
                    <a:pt x="4172" y="8875"/>
                  </a:cubicBezTo>
                  <a:cubicBezTo>
                    <a:pt x="6523" y="8875"/>
                    <a:pt x="8693" y="7066"/>
                    <a:pt x="8874" y="47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3" name="Google Shape;1283;p53"/>
            <p:cNvSpPr/>
            <p:nvPr/>
          </p:nvSpPr>
          <p:spPr>
            <a:xfrm>
              <a:off x="11920772" y="6896093"/>
              <a:ext cx="15967" cy="15967"/>
            </a:xfrm>
            <a:custGeom>
              <a:avLst/>
              <a:gdLst/>
              <a:ahLst/>
              <a:cxnLst/>
              <a:rect l="l" t="t" r="r" b="b"/>
              <a:pathLst>
                <a:path w="15967" h="15967" extrusionOk="0">
                  <a:moveTo>
                    <a:pt x="15941" y="8526"/>
                  </a:moveTo>
                  <a:cubicBezTo>
                    <a:pt x="16303" y="4186"/>
                    <a:pt x="12867" y="207"/>
                    <a:pt x="8526" y="26"/>
                  </a:cubicBezTo>
                  <a:cubicBezTo>
                    <a:pt x="4186" y="-335"/>
                    <a:pt x="207" y="3101"/>
                    <a:pt x="26" y="7441"/>
                  </a:cubicBezTo>
                  <a:cubicBezTo>
                    <a:pt x="-336" y="11782"/>
                    <a:pt x="3101" y="15760"/>
                    <a:pt x="7441" y="15941"/>
                  </a:cubicBezTo>
                  <a:cubicBezTo>
                    <a:pt x="11962" y="16303"/>
                    <a:pt x="15760" y="12867"/>
                    <a:pt x="15941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4" name="Google Shape;1284;p53"/>
            <p:cNvSpPr/>
            <p:nvPr/>
          </p:nvSpPr>
          <p:spPr>
            <a:xfrm>
              <a:off x="12281186" y="6714487"/>
              <a:ext cx="48941" cy="48940"/>
            </a:xfrm>
            <a:custGeom>
              <a:avLst/>
              <a:gdLst/>
              <a:ahLst/>
              <a:cxnLst/>
              <a:rect l="l" t="t" r="r" b="b"/>
              <a:pathLst>
                <a:path w="48941" h="48940" extrusionOk="0">
                  <a:moveTo>
                    <a:pt x="48886" y="26098"/>
                  </a:moveTo>
                  <a:cubicBezTo>
                    <a:pt x="49790" y="12534"/>
                    <a:pt x="39481" y="959"/>
                    <a:pt x="26098" y="55"/>
                  </a:cubicBezTo>
                  <a:cubicBezTo>
                    <a:pt x="12534" y="-849"/>
                    <a:pt x="959" y="9460"/>
                    <a:pt x="55" y="22843"/>
                  </a:cubicBezTo>
                  <a:cubicBezTo>
                    <a:pt x="-849" y="36407"/>
                    <a:pt x="9459" y="47982"/>
                    <a:pt x="22843" y="48886"/>
                  </a:cubicBezTo>
                  <a:cubicBezTo>
                    <a:pt x="36407" y="49790"/>
                    <a:pt x="48163" y="39481"/>
                    <a:pt x="48886" y="260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5" name="Google Shape;1285;p53"/>
            <p:cNvSpPr/>
            <p:nvPr/>
          </p:nvSpPr>
          <p:spPr>
            <a:xfrm>
              <a:off x="11894202" y="5721640"/>
              <a:ext cx="10872" cy="10872"/>
            </a:xfrm>
            <a:custGeom>
              <a:avLst/>
              <a:gdLst/>
              <a:ahLst/>
              <a:cxnLst/>
              <a:rect l="l" t="t" r="r" b="b"/>
              <a:pathLst>
                <a:path w="10872" h="10872" extrusionOk="0">
                  <a:moveTo>
                    <a:pt x="10862" y="5798"/>
                  </a:moveTo>
                  <a:cubicBezTo>
                    <a:pt x="11043" y="2723"/>
                    <a:pt x="8872" y="191"/>
                    <a:pt x="5798" y="11"/>
                  </a:cubicBezTo>
                  <a:cubicBezTo>
                    <a:pt x="2723" y="-170"/>
                    <a:pt x="191" y="2000"/>
                    <a:pt x="11" y="5074"/>
                  </a:cubicBezTo>
                  <a:cubicBezTo>
                    <a:pt x="-170" y="8149"/>
                    <a:pt x="2000" y="10681"/>
                    <a:pt x="5074" y="10862"/>
                  </a:cubicBezTo>
                  <a:cubicBezTo>
                    <a:pt x="8149" y="11043"/>
                    <a:pt x="10681" y="8872"/>
                    <a:pt x="10862" y="57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6" name="Google Shape;1286;p53"/>
            <p:cNvSpPr/>
            <p:nvPr/>
          </p:nvSpPr>
          <p:spPr>
            <a:xfrm>
              <a:off x="12463524" y="5172197"/>
              <a:ext cx="24813" cy="24833"/>
            </a:xfrm>
            <a:custGeom>
              <a:avLst/>
              <a:gdLst/>
              <a:ahLst/>
              <a:cxnLst/>
              <a:rect l="l" t="t" r="r" b="b"/>
              <a:pathLst>
                <a:path w="24813" h="24833" extrusionOk="0">
                  <a:moveTo>
                    <a:pt x="24795" y="13221"/>
                  </a:moveTo>
                  <a:cubicBezTo>
                    <a:pt x="25157" y="6348"/>
                    <a:pt x="20093" y="380"/>
                    <a:pt x="13220" y="18"/>
                  </a:cubicBezTo>
                  <a:cubicBezTo>
                    <a:pt x="6348" y="-344"/>
                    <a:pt x="380" y="4720"/>
                    <a:pt x="18" y="11593"/>
                  </a:cubicBezTo>
                  <a:cubicBezTo>
                    <a:pt x="-344" y="18465"/>
                    <a:pt x="4720" y="24434"/>
                    <a:pt x="11593" y="24795"/>
                  </a:cubicBezTo>
                  <a:cubicBezTo>
                    <a:pt x="18284" y="25338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7" name="Google Shape;1287;p53"/>
            <p:cNvSpPr/>
            <p:nvPr/>
          </p:nvSpPr>
          <p:spPr>
            <a:xfrm>
              <a:off x="11830869" y="2825946"/>
              <a:ext cx="39154" cy="39135"/>
            </a:xfrm>
            <a:custGeom>
              <a:avLst/>
              <a:gdLst/>
              <a:ahLst/>
              <a:cxnLst/>
              <a:rect l="l" t="t" r="r" b="b"/>
              <a:pathLst>
                <a:path w="39154" h="39135" extrusionOk="0">
                  <a:moveTo>
                    <a:pt x="39109" y="20843"/>
                  </a:moveTo>
                  <a:cubicBezTo>
                    <a:pt x="39833" y="9992"/>
                    <a:pt x="31694" y="587"/>
                    <a:pt x="20843" y="45"/>
                  </a:cubicBezTo>
                  <a:cubicBezTo>
                    <a:pt x="9992" y="-679"/>
                    <a:pt x="587" y="7460"/>
                    <a:pt x="45" y="18311"/>
                  </a:cubicBezTo>
                  <a:cubicBezTo>
                    <a:pt x="-679" y="29162"/>
                    <a:pt x="7460" y="38567"/>
                    <a:pt x="18311" y="39109"/>
                  </a:cubicBezTo>
                  <a:cubicBezTo>
                    <a:pt x="29162" y="39652"/>
                    <a:pt x="38386" y="31694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8" name="Google Shape;1288;p53"/>
            <p:cNvSpPr/>
            <p:nvPr/>
          </p:nvSpPr>
          <p:spPr>
            <a:xfrm>
              <a:off x="12187670" y="3138980"/>
              <a:ext cx="55841" cy="55822"/>
            </a:xfrm>
            <a:custGeom>
              <a:avLst/>
              <a:gdLst/>
              <a:ahLst/>
              <a:cxnLst/>
              <a:rect l="l" t="t" r="r" b="b"/>
              <a:pathLst>
                <a:path w="55841" h="55822" extrusionOk="0">
                  <a:moveTo>
                    <a:pt x="55772" y="29730"/>
                  </a:moveTo>
                  <a:cubicBezTo>
                    <a:pt x="56858" y="14357"/>
                    <a:pt x="45102" y="1155"/>
                    <a:pt x="29729" y="69"/>
                  </a:cubicBezTo>
                  <a:cubicBezTo>
                    <a:pt x="14357" y="-1016"/>
                    <a:pt x="1155" y="10740"/>
                    <a:pt x="70" y="26113"/>
                  </a:cubicBezTo>
                  <a:cubicBezTo>
                    <a:pt x="-1016" y="41485"/>
                    <a:pt x="10740" y="54687"/>
                    <a:pt x="26112" y="55773"/>
                  </a:cubicBezTo>
                  <a:cubicBezTo>
                    <a:pt x="41485" y="56677"/>
                    <a:pt x="54687" y="45102"/>
                    <a:pt x="55772" y="297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89" name="Google Shape;1289;p53"/>
            <p:cNvSpPr/>
            <p:nvPr/>
          </p:nvSpPr>
          <p:spPr>
            <a:xfrm>
              <a:off x="8138501" y="5325312"/>
              <a:ext cx="80653" cy="80653"/>
            </a:xfrm>
            <a:custGeom>
              <a:avLst/>
              <a:gdLst/>
              <a:ahLst/>
              <a:cxnLst/>
              <a:rect l="l" t="t" r="r" b="b"/>
              <a:pathLst>
                <a:path w="80653" h="80653" extrusionOk="0">
                  <a:moveTo>
                    <a:pt x="80567" y="42949"/>
                  </a:moveTo>
                  <a:cubicBezTo>
                    <a:pt x="82014" y="20704"/>
                    <a:pt x="65194" y="1534"/>
                    <a:pt x="42949" y="87"/>
                  </a:cubicBezTo>
                  <a:cubicBezTo>
                    <a:pt x="20704" y="-1360"/>
                    <a:pt x="1534" y="15460"/>
                    <a:pt x="87" y="37705"/>
                  </a:cubicBezTo>
                  <a:cubicBezTo>
                    <a:pt x="-1360" y="59950"/>
                    <a:pt x="15459" y="79120"/>
                    <a:pt x="37705" y="80567"/>
                  </a:cubicBezTo>
                  <a:cubicBezTo>
                    <a:pt x="59950" y="82014"/>
                    <a:pt x="79120" y="65194"/>
                    <a:pt x="80567" y="429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0" name="Google Shape;1290;p53"/>
            <p:cNvSpPr/>
            <p:nvPr/>
          </p:nvSpPr>
          <p:spPr>
            <a:xfrm>
              <a:off x="8049711" y="5812001"/>
              <a:ext cx="69421" cy="69421"/>
            </a:xfrm>
            <a:custGeom>
              <a:avLst/>
              <a:gdLst/>
              <a:ahLst/>
              <a:cxnLst/>
              <a:rect l="l" t="t" r="r" b="b"/>
              <a:pathLst>
                <a:path w="69421" h="69421" extrusionOk="0">
                  <a:moveTo>
                    <a:pt x="69344" y="36971"/>
                  </a:moveTo>
                  <a:cubicBezTo>
                    <a:pt x="70610" y="17801"/>
                    <a:pt x="56142" y="1343"/>
                    <a:pt x="36971" y="77"/>
                  </a:cubicBezTo>
                  <a:cubicBezTo>
                    <a:pt x="17801" y="-1189"/>
                    <a:pt x="1343" y="13279"/>
                    <a:pt x="77" y="32450"/>
                  </a:cubicBezTo>
                  <a:cubicBezTo>
                    <a:pt x="-1189" y="51620"/>
                    <a:pt x="13279" y="68078"/>
                    <a:pt x="32450" y="69344"/>
                  </a:cubicBezTo>
                  <a:cubicBezTo>
                    <a:pt x="51621" y="70611"/>
                    <a:pt x="68078" y="56142"/>
                    <a:pt x="69344" y="369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1" name="Google Shape;1291;p53"/>
            <p:cNvSpPr/>
            <p:nvPr/>
          </p:nvSpPr>
          <p:spPr>
            <a:xfrm>
              <a:off x="7773757" y="5442907"/>
              <a:ext cx="36447" cy="36446"/>
            </a:xfrm>
            <a:custGeom>
              <a:avLst/>
              <a:gdLst/>
              <a:ahLst/>
              <a:cxnLst/>
              <a:rect l="l" t="t" r="r" b="b"/>
              <a:pathLst>
                <a:path w="36447" h="36446" extrusionOk="0">
                  <a:moveTo>
                    <a:pt x="36399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452" y="-676"/>
                    <a:pt x="771" y="6920"/>
                    <a:pt x="48" y="17048"/>
                  </a:cubicBezTo>
                  <a:cubicBezTo>
                    <a:pt x="-676" y="26995"/>
                    <a:pt x="6920" y="35676"/>
                    <a:pt x="17048" y="36399"/>
                  </a:cubicBezTo>
                  <a:cubicBezTo>
                    <a:pt x="27176" y="37123"/>
                    <a:pt x="35857" y="29527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2" name="Google Shape;1292;p53"/>
            <p:cNvSpPr/>
            <p:nvPr/>
          </p:nvSpPr>
          <p:spPr>
            <a:xfrm>
              <a:off x="8165679" y="5352670"/>
              <a:ext cx="25936" cy="25917"/>
            </a:xfrm>
            <a:custGeom>
              <a:avLst/>
              <a:gdLst/>
              <a:ahLst/>
              <a:cxnLst/>
              <a:rect l="l" t="t" r="r" b="b"/>
              <a:pathLst>
                <a:path w="25936" h="25917" extrusionOk="0">
                  <a:moveTo>
                    <a:pt x="25900" y="13783"/>
                  </a:moveTo>
                  <a:cubicBezTo>
                    <a:pt x="26442" y="6729"/>
                    <a:pt x="21017" y="580"/>
                    <a:pt x="13782" y="37"/>
                  </a:cubicBezTo>
                  <a:cubicBezTo>
                    <a:pt x="6729" y="-505"/>
                    <a:pt x="580" y="4921"/>
                    <a:pt x="37" y="12155"/>
                  </a:cubicBezTo>
                  <a:cubicBezTo>
                    <a:pt x="-505" y="19208"/>
                    <a:pt x="4920" y="25357"/>
                    <a:pt x="12155" y="25900"/>
                  </a:cubicBezTo>
                  <a:cubicBezTo>
                    <a:pt x="19389" y="26262"/>
                    <a:pt x="25538" y="21017"/>
                    <a:pt x="25900" y="137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3" name="Google Shape;1293;p53"/>
            <p:cNvSpPr/>
            <p:nvPr/>
          </p:nvSpPr>
          <p:spPr>
            <a:xfrm>
              <a:off x="8132938" y="4901614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2"/>
                    <a:pt x="32958" y="766"/>
                    <a:pt x="21746" y="43"/>
                  </a:cubicBezTo>
                  <a:cubicBezTo>
                    <a:pt x="10533" y="-681"/>
                    <a:pt x="766" y="7820"/>
                    <a:pt x="43" y="19032"/>
                  </a:cubicBezTo>
                  <a:cubicBezTo>
                    <a:pt x="-680" y="30246"/>
                    <a:pt x="7820" y="40012"/>
                    <a:pt x="19033" y="40735"/>
                  </a:cubicBezTo>
                  <a:cubicBezTo>
                    <a:pt x="30427" y="41459"/>
                    <a:pt x="40012" y="32958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4" name="Google Shape;1294;p53"/>
            <p:cNvSpPr/>
            <p:nvPr/>
          </p:nvSpPr>
          <p:spPr>
            <a:xfrm>
              <a:off x="7770689" y="5439838"/>
              <a:ext cx="42583" cy="42583"/>
            </a:xfrm>
            <a:custGeom>
              <a:avLst/>
              <a:gdLst/>
              <a:ahLst/>
              <a:cxnLst/>
              <a:rect l="l" t="t" r="r" b="b"/>
              <a:pathLst>
                <a:path w="42583" h="42583" extrusionOk="0">
                  <a:moveTo>
                    <a:pt x="42542" y="22648"/>
                  </a:moveTo>
                  <a:cubicBezTo>
                    <a:pt x="43266" y="10893"/>
                    <a:pt x="34404" y="765"/>
                    <a:pt x="22648" y="41"/>
                  </a:cubicBezTo>
                  <a:cubicBezTo>
                    <a:pt x="10893" y="-682"/>
                    <a:pt x="765" y="8180"/>
                    <a:pt x="41" y="19935"/>
                  </a:cubicBezTo>
                  <a:cubicBezTo>
                    <a:pt x="-682" y="31691"/>
                    <a:pt x="8180" y="41819"/>
                    <a:pt x="19935" y="42542"/>
                  </a:cubicBezTo>
                  <a:cubicBezTo>
                    <a:pt x="31691" y="43266"/>
                    <a:pt x="41819" y="34404"/>
                    <a:pt x="42542" y="2264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5" name="Google Shape;1295;p53"/>
            <p:cNvSpPr/>
            <p:nvPr/>
          </p:nvSpPr>
          <p:spPr>
            <a:xfrm rot="-4644878">
              <a:off x="11296721" y="4960603"/>
              <a:ext cx="61130" cy="61130"/>
            </a:xfrm>
            <a:custGeom>
              <a:avLst/>
              <a:gdLst/>
              <a:ahLst/>
              <a:cxnLst/>
              <a:rect l="l" t="t" r="r" b="b"/>
              <a:pathLst>
                <a:path w="61130" h="61130" extrusionOk="0">
                  <a:moveTo>
                    <a:pt x="61131" y="30565"/>
                  </a:moveTo>
                  <a:cubicBezTo>
                    <a:pt x="61131" y="47446"/>
                    <a:pt x="47446" y="61131"/>
                    <a:pt x="30565" y="61131"/>
                  </a:cubicBezTo>
                  <a:cubicBezTo>
                    <a:pt x="13685" y="61131"/>
                    <a:pt x="0" y="47446"/>
                    <a:pt x="0" y="30565"/>
                  </a:cubicBezTo>
                  <a:cubicBezTo>
                    <a:pt x="0" y="13685"/>
                    <a:pt x="13685" y="0"/>
                    <a:pt x="30565" y="0"/>
                  </a:cubicBezTo>
                  <a:cubicBezTo>
                    <a:pt x="47446" y="0"/>
                    <a:pt x="61131" y="13685"/>
                    <a:pt x="61131" y="30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6" name="Google Shape;1296;p53"/>
            <p:cNvSpPr/>
            <p:nvPr/>
          </p:nvSpPr>
          <p:spPr>
            <a:xfrm>
              <a:off x="11826898" y="5138721"/>
              <a:ext cx="26296" cy="26277"/>
            </a:xfrm>
            <a:custGeom>
              <a:avLst/>
              <a:gdLst/>
              <a:ahLst/>
              <a:cxnLst/>
              <a:rect l="l" t="t" r="r" b="b"/>
              <a:pathLst>
                <a:path w="26296" h="26277" extrusionOk="0">
                  <a:moveTo>
                    <a:pt x="26260" y="13962"/>
                  </a:moveTo>
                  <a:cubicBezTo>
                    <a:pt x="26803" y="6728"/>
                    <a:pt x="21196" y="398"/>
                    <a:pt x="13962" y="36"/>
                  </a:cubicBezTo>
                  <a:cubicBezTo>
                    <a:pt x="6728" y="-506"/>
                    <a:pt x="398" y="5100"/>
                    <a:pt x="36" y="12334"/>
                  </a:cubicBezTo>
                  <a:cubicBezTo>
                    <a:pt x="-506" y="19568"/>
                    <a:pt x="5100" y="25898"/>
                    <a:pt x="12334" y="26260"/>
                  </a:cubicBezTo>
                  <a:cubicBezTo>
                    <a:pt x="19569" y="26622"/>
                    <a:pt x="25718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7" name="Google Shape;1297;p53"/>
            <p:cNvSpPr/>
            <p:nvPr/>
          </p:nvSpPr>
          <p:spPr>
            <a:xfrm>
              <a:off x="11215445" y="5297165"/>
              <a:ext cx="21743" cy="21743"/>
            </a:xfrm>
            <a:custGeom>
              <a:avLst/>
              <a:gdLst/>
              <a:ahLst/>
              <a:cxnLst/>
              <a:rect l="l" t="t" r="r" b="b"/>
              <a:pathLst>
                <a:path w="21743" h="21743" extrusionOk="0">
                  <a:moveTo>
                    <a:pt x="21723" y="11595"/>
                  </a:moveTo>
                  <a:cubicBezTo>
                    <a:pt x="22085" y="5627"/>
                    <a:pt x="17563" y="382"/>
                    <a:pt x="11595" y="20"/>
                  </a:cubicBezTo>
                  <a:cubicBezTo>
                    <a:pt x="5627" y="-342"/>
                    <a:pt x="382" y="4180"/>
                    <a:pt x="20" y="10148"/>
                  </a:cubicBezTo>
                  <a:cubicBezTo>
                    <a:pt x="-342" y="16116"/>
                    <a:pt x="4180" y="21361"/>
                    <a:pt x="10148" y="21723"/>
                  </a:cubicBezTo>
                  <a:cubicBezTo>
                    <a:pt x="16116" y="22085"/>
                    <a:pt x="21180" y="17563"/>
                    <a:pt x="21723" y="1159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8" name="Google Shape;1298;p53"/>
            <p:cNvSpPr/>
            <p:nvPr/>
          </p:nvSpPr>
          <p:spPr>
            <a:xfrm>
              <a:off x="11365161" y="4188134"/>
              <a:ext cx="53455" cy="53455"/>
            </a:xfrm>
            <a:custGeom>
              <a:avLst/>
              <a:gdLst/>
              <a:ahLst/>
              <a:cxnLst/>
              <a:rect l="l" t="t" r="r" b="b"/>
              <a:pathLst>
                <a:path w="53455" h="53455" extrusionOk="0">
                  <a:moveTo>
                    <a:pt x="53404" y="28446"/>
                  </a:moveTo>
                  <a:cubicBezTo>
                    <a:pt x="54308" y="13797"/>
                    <a:pt x="43276" y="956"/>
                    <a:pt x="28446" y="52"/>
                  </a:cubicBezTo>
                  <a:cubicBezTo>
                    <a:pt x="13797" y="-852"/>
                    <a:pt x="956" y="10180"/>
                    <a:pt x="52" y="25010"/>
                  </a:cubicBezTo>
                  <a:cubicBezTo>
                    <a:pt x="-852" y="39659"/>
                    <a:pt x="10180" y="52500"/>
                    <a:pt x="25010" y="53404"/>
                  </a:cubicBezTo>
                  <a:cubicBezTo>
                    <a:pt x="39840" y="54308"/>
                    <a:pt x="52500" y="43276"/>
                    <a:pt x="53404" y="2844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299" name="Google Shape;1299;p53"/>
            <p:cNvSpPr/>
            <p:nvPr/>
          </p:nvSpPr>
          <p:spPr>
            <a:xfrm>
              <a:off x="12272838" y="3881554"/>
              <a:ext cx="84264" cy="84264"/>
            </a:xfrm>
            <a:custGeom>
              <a:avLst/>
              <a:gdLst/>
              <a:ahLst/>
              <a:cxnLst/>
              <a:rect l="l" t="t" r="r" b="b"/>
              <a:pathLst>
                <a:path w="84264" h="84264" extrusionOk="0">
                  <a:moveTo>
                    <a:pt x="84181" y="44935"/>
                  </a:moveTo>
                  <a:cubicBezTo>
                    <a:pt x="85627" y="21786"/>
                    <a:pt x="68084" y="1711"/>
                    <a:pt x="44935" y="83"/>
                  </a:cubicBezTo>
                  <a:cubicBezTo>
                    <a:pt x="21786" y="-1363"/>
                    <a:pt x="1711" y="16179"/>
                    <a:pt x="83" y="39329"/>
                  </a:cubicBezTo>
                  <a:cubicBezTo>
                    <a:pt x="-1364" y="62478"/>
                    <a:pt x="16179" y="82553"/>
                    <a:pt x="39329" y="84181"/>
                  </a:cubicBezTo>
                  <a:cubicBezTo>
                    <a:pt x="62478" y="85628"/>
                    <a:pt x="82553" y="68085"/>
                    <a:pt x="84181" y="449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0" name="Google Shape;1300;p53"/>
            <p:cNvSpPr/>
            <p:nvPr/>
          </p:nvSpPr>
          <p:spPr>
            <a:xfrm>
              <a:off x="11580754" y="4269172"/>
              <a:ext cx="25575" cy="25555"/>
            </a:xfrm>
            <a:custGeom>
              <a:avLst/>
              <a:gdLst/>
              <a:ahLst/>
              <a:cxnLst/>
              <a:rect l="l" t="t" r="r" b="b"/>
              <a:pathLst>
                <a:path w="25575" h="25555" extrusionOk="0">
                  <a:moveTo>
                    <a:pt x="25538" y="13601"/>
                  </a:moveTo>
                  <a:cubicBezTo>
                    <a:pt x="26081" y="6548"/>
                    <a:pt x="20655" y="399"/>
                    <a:pt x="13601" y="37"/>
                  </a:cubicBezTo>
                  <a:cubicBezTo>
                    <a:pt x="6548" y="-505"/>
                    <a:pt x="399" y="4920"/>
                    <a:pt x="37" y="11974"/>
                  </a:cubicBezTo>
                  <a:cubicBezTo>
                    <a:pt x="-505" y="19027"/>
                    <a:pt x="4921" y="25176"/>
                    <a:pt x="11974" y="25538"/>
                  </a:cubicBezTo>
                  <a:cubicBezTo>
                    <a:pt x="19027" y="25899"/>
                    <a:pt x="25176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1" name="Google Shape;1301;p53"/>
            <p:cNvSpPr/>
            <p:nvPr/>
          </p:nvSpPr>
          <p:spPr>
            <a:xfrm>
              <a:off x="10656401" y="4988786"/>
              <a:ext cx="40235" cy="40259"/>
            </a:xfrm>
            <a:custGeom>
              <a:avLst/>
              <a:gdLst/>
              <a:ahLst/>
              <a:cxnLst/>
              <a:rect l="l" t="t" r="r" b="b"/>
              <a:pathLst>
                <a:path w="40235" h="40259" extrusionOk="0">
                  <a:moveTo>
                    <a:pt x="40193" y="21565"/>
                  </a:moveTo>
                  <a:cubicBezTo>
                    <a:pt x="40916" y="10533"/>
                    <a:pt x="32416" y="947"/>
                    <a:pt x="21384" y="43"/>
                  </a:cubicBezTo>
                  <a:cubicBezTo>
                    <a:pt x="10352" y="-680"/>
                    <a:pt x="766" y="7820"/>
                    <a:pt x="43" y="18852"/>
                  </a:cubicBezTo>
                  <a:cubicBezTo>
                    <a:pt x="-681" y="29884"/>
                    <a:pt x="7820" y="39469"/>
                    <a:pt x="18852" y="40193"/>
                  </a:cubicBezTo>
                  <a:cubicBezTo>
                    <a:pt x="29884" y="41097"/>
                    <a:pt x="39469" y="32778"/>
                    <a:pt x="40193" y="215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2" name="Google Shape;1302;p53"/>
            <p:cNvSpPr/>
            <p:nvPr/>
          </p:nvSpPr>
          <p:spPr>
            <a:xfrm>
              <a:off x="10438972" y="5302164"/>
              <a:ext cx="82278" cy="82299"/>
            </a:xfrm>
            <a:custGeom>
              <a:avLst/>
              <a:gdLst/>
              <a:ahLst/>
              <a:cxnLst/>
              <a:rect l="l" t="t" r="r" b="b"/>
              <a:pathLst>
                <a:path w="82278" h="82299" extrusionOk="0">
                  <a:moveTo>
                    <a:pt x="82193" y="43852"/>
                  </a:moveTo>
                  <a:cubicBezTo>
                    <a:pt x="83640" y="21245"/>
                    <a:pt x="66459" y="1532"/>
                    <a:pt x="43852" y="85"/>
                  </a:cubicBezTo>
                  <a:cubicBezTo>
                    <a:pt x="21245" y="-1362"/>
                    <a:pt x="1532" y="15819"/>
                    <a:pt x="85" y="38426"/>
                  </a:cubicBezTo>
                  <a:cubicBezTo>
                    <a:pt x="-1362" y="61033"/>
                    <a:pt x="15820" y="80746"/>
                    <a:pt x="38426" y="82193"/>
                  </a:cubicBezTo>
                  <a:cubicBezTo>
                    <a:pt x="61214" y="83821"/>
                    <a:pt x="80746" y="66639"/>
                    <a:pt x="82193" y="4385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3" name="Google Shape;1303;p53"/>
            <p:cNvSpPr/>
            <p:nvPr/>
          </p:nvSpPr>
          <p:spPr>
            <a:xfrm>
              <a:off x="10400696" y="4885722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6"/>
                  </a:cubicBezTo>
                  <a:cubicBezTo>
                    <a:pt x="16839" y="22807"/>
                    <a:pt x="22084" y="18105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4" name="Google Shape;1304;p53"/>
            <p:cNvSpPr/>
            <p:nvPr/>
          </p:nvSpPr>
          <p:spPr>
            <a:xfrm>
              <a:off x="10648979" y="4981544"/>
              <a:ext cx="55080" cy="55080"/>
            </a:xfrm>
            <a:custGeom>
              <a:avLst/>
              <a:gdLst/>
              <a:ahLst/>
              <a:cxnLst/>
              <a:rect l="l" t="t" r="r" b="b"/>
              <a:pathLst>
                <a:path w="55080" h="55080" extrusionOk="0">
                  <a:moveTo>
                    <a:pt x="55030" y="29349"/>
                  </a:moveTo>
                  <a:cubicBezTo>
                    <a:pt x="55934" y="14157"/>
                    <a:pt x="44541" y="954"/>
                    <a:pt x="29349" y="50"/>
                  </a:cubicBezTo>
                  <a:cubicBezTo>
                    <a:pt x="14157" y="-854"/>
                    <a:pt x="955" y="10540"/>
                    <a:pt x="50" y="25732"/>
                  </a:cubicBezTo>
                  <a:cubicBezTo>
                    <a:pt x="-854" y="40923"/>
                    <a:pt x="10540" y="54126"/>
                    <a:pt x="25732" y="55030"/>
                  </a:cubicBezTo>
                  <a:cubicBezTo>
                    <a:pt x="40924" y="55934"/>
                    <a:pt x="53945" y="44540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5" name="Google Shape;1305;p53"/>
            <p:cNvSpPr/>
            <p:nvPr/>
          </p:nvSpPr>
          <p:spPr>
            <a:xfrm>
              <a:off x="10902298" y="5462016"/>
              <a:ext cx="100410" cy="100410"/>
            </a:xfrm>
            <a:custGeom>
              <a:avLst/>
              <a:gdLst/>
              <a:ahLst/>
              <a:cxnLst/>
              <a:rect l="l" t="t" r="r" b="b"/>
              <a:pathLst>
                <a:path w="100410" h="100410" extrusionOk="0">
                  <a:moveTo>
                    <a:pt x="100302" y="53461"/>
                  </a:moveTo>
                  <a:cubicBezTo>
                    <a:pt x="102111" y="25790"/>
                    <a:pt x="81131" y="1917"/>
                    <a:pt x="53461" y="109"/>
                  </a:cubicBezTo>
                  <a:cubicBezTo>
                    <a:pt x="25790" y="-1700"/>
                    <a:pt x="1917" y="19279"/>
                    <a:pt x="109" y="46950"/>
                  </a:cubicBezTo>
                  <a:cubicBezTo>
                    <a:pt x="-1700" y="74621"/>
                    <a:pt x="19279" y="98494"/>
                    <a:pt x="46950" y="100302"/>
                  </a:cubicBezTo>
                  <a:cubicBezTo>
                    <a:pt x="74621" y="102111"/>
                    <a:pt x="98493" y="81131"/>
                    <a:pt x="100302" y="5346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6" name="Google Shape;1306;p53"/>
            <p:cNvSpPr/>
            <p:nvPr/>
          </p:nvSpPr>
          <p:spPr>
            <a:xfrm>
              <a:off x="10466331" y="5329523"/>
              <a:ext cx="27560" cy="27560"/>
            </a:xfrm>
            <a:custGeom>
              <a:avLst/>
              <a:gdLst/>
              <a:ahLst/>
              <a:cxnLst/>
              <a:rect l="l" t="t" r="r" b="b"/>
              <a:pathLst>
                <a:path w="27560" h="27560" extrusionOk="0">
                  <a:moveTo>
                    <a:pt x="27525" y="14684"/>
                  </a:moveTo>
                  <a:cubicBezTo>
                    <a:pt x="28068" y="7089"/>
                    <a:pt x="22280" y="578"/>
                    <a:pt x="14684" y="35"/>
                  </a:cubicBezTo>
                  <a:cubicBezTo>
                    <a:pt x="7089" y="-507"/>
                    <a:pt x="578" y="5280"/>
                    <a:pt x="35" y="12876"/>
                  </a:cubicBezTo>
                  <a:cubicBezTo>
                    <a:pt x="-508" y="20472"/>
                    <a:pt x="5280" y="26983"/>
                    <a:pt x="12876" y="27525"/>
                  </a:cubicBezTo>
                  <a:cubicBezTo>
                    <a:pt x="20472" y="28068"/>
                    <a:pt x="26982" y="22281"/>
                    <a:pt x="27525" y="146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7" name="Google Shape;1307;p53"/>
            <p:cNvSpPr/>
            <p:nvPr/>
          </p:nvSpPr>
          <p:spPr>
            <a:xfrm>
              <a:off x="10666189" y="4998755"/>
              <a:ext cx="20659" cy="20659"/>
            </a:xfrm>
            <a:custGeom>
              <a:avLst/>
              <a:gdLst/>
              <a:ahLst/>
              <a:cxnLst/>
              <a:rect l="l" t="t" r="r" b="b"/>
              <a:pathLst>
                <a:path w="20659" h="20659" extrusionOk="0">
                  <a:moveTo>
                    <a:pt x="20638" y="11053"/>
                  </a:moveTo>
                  <a:cubicBezTo>
                    <a:pt x="21000" y="5266"/>
                    <a:pt x="16660" y="383"/>
                    <a:pt x="11053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0" y="15394"/>
                    <a:pt x="4000" y="20277"/>
                    <a:pt x="9606" y="20638"/>
                  </a:cubicBezTo>
                  <a:cubicBezTo>
                    <a:pt x="15394" y="21000"/>
                    <a:pt x="20277" y="16660"/>
                    <a:pt x="20638" y="1105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8" name="Google Shape;1308;p53"/>
            <p:cNvSpPr/>
            <p:nvPr/>
          </p:nvSpPr>
          <p:spPr>
            <a:xfrm>
              <a:off x="11203671" y="5285391"/>
              <a:ext cx="45111" cy="45132"/>
            </a:xfrm>
            <a:custGeom>
              <a:avLst/>
              <a:gdLst/>
              <a:ahLst/>
              <a:cxnLst/>
              <a:rect l="l" t="t" r="r" b="b"/>
              <a:pathLst>
                <a:path w="45111" h="45132" extrusionOk="0">
                  <a:moveTo>
                    <a:pt x="45072" y="24093"/>
                  </a:moveTo>
                  <a:cubicBezTo>
                    <a:pt x="45795" y="11614"/>
                    <a:pt x="36391" y="943"/>
                    <a:pt x="24093" y="39"/>
                  </a:cubicBezTo>
                  <a:cubicBezTo>
                    <a:pt x="11614" y="-684"/>
                    <a:pt x="943" y="8720"/>
                    <a:pt x="39" y="21018"/>
                  </a:cubicBezTo>
                  <a:cubicBezTo>
                    <a:pt x="-684" y="33497"/>
                    <a:pt x="8720" y="44168"/>
                    <a:pt x="21018" y="45072"/>
                  </a:cubicBezTo>
                  <a:cubicBezTo>
                    <a:pt x="33497" y="45976"/>
                    <a:pt x="44348" y="36572"/>
                    <a:pt x="45072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09" name="Google Shape;1309;p53"/>
            <p:cNvSpPr/>
            <p:nvPr/>
          </p:nvSpPr>
          <p:spPr>
            <a:xfrm>
              <a:off x="10916799" y="5476518"/>
              <a:ext cx="71407" cy="71406"/>
            </a:xfrm>
            <a:custGeom>
              <a:avLst/>
              <a:gdLst/>
              <a:ahLst/>
              <a:cxnLst/>
              <a:rect l="l" t="t" r="r" b="b"/>
              <a:pathLst>
                <a:path w="71407" h="71406" extrusionOk="0">
                  <a:moveTo>
                    <a:pt x="71332" y="38055"/>
                  </a:moveTo>
                  <a:cubicBezTo>
                    <a:pt x="72598" y="18342"/>
                    <a:pt x="57768" y="1342"/>
                    <a:pt x="38055" y="75"/>
                  </a:cubicBezTo>
                  <a:cubicBezTo>
                    <a:pt x="18342" y="-1191"/>
                    <a:pt x="1341" y="13639"/>
                    <a:pt x="75" y="33353"/>
                  </a:cubicBezTo>
                  <a:cubicBezTo>
                    <a:pt x="-1190" y="53066"/>
                    <a:pt x="13639" y="70066"/>
                    <a:pt x="33353" y="71332"/>
                  </a:cubicBezTo>
                  <a:cubicBezTo>
                    <a:pt x="53066" y="72598"/>
                    <a:pt x="70066" y="57587"/>
                    <a:pt x="71332" y="380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0" name="Google Shape;1310;p53"/>
            <p:cNvSpPr/>
            <p:nvPr/>
          </p:nvSpPr>
          <p:spPr>
            <a:xfrm>
              <a:off x="10667633" y="5000199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385"/>
                    <a:pt x="9428" y="24"/>
                  </a:cubicBezTo>
                  <a:cubicBezTo>
                    <a:pt x="4545" y="-338"/>
                    <a:pt x="386" y="3460"/>
                    <a:pt x="24" y="8343"/>
                  </a:cubicBezTo>
                  <a:cubicBezTo>
                    <a:pt x="-338" y="13226"/>
                    <a:pt x="3460" y="17386"/>
                    <a:pt x="8343" y="17748"/>
                  </a:cubicBezTo>
                  <a:cubicBezTo>
                    <a:pt x="13226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1" name="Google Shape;1311;p53"/>
            <p:cNvSpPr/>
            <p:nvPr/>
          </p:nvSpPr>
          <p:spPr>
            <a:xfrm>
              <a:off x="11296063" y="4960371"/>
              <a:ext cx="61618" cy="61618"/>
            </a:xfrm>
            <a:custGeom>
              <a:avLst/>
              <a:gdLst/>
              <a:ahLst/>
              <a:cxnLst/>
              <a:rect l="l" t="t" r="r" b="b"/>
              <a:pathLst>
                <a:path w="61618" h="61618" extrusionOk="0">
                  <a:moveTo>
                    <a:pt x="61555" y="32799"/>
                  </a:moveTo>
                  <a:cubicBezTo>
                    <a:pt x="62640" y="15798"/>
                    <a:pt x="49799" y="1149"/>
                    <a:pt x="32799" y="64"/>
                  </a:cubicBezTo>
                  <a:cubicBezTo>
                    <a:pt x="15799" y="-1021"/>
                    <a:pt x="1149" y="11819"/>
                    <a:pt x="64" y="28820"/>
                  </a:cubicBezTo>
                  <a:cubicBezTo>
                    <a:pt x="-1021" y="45820"/>
                    <a:pt x="11820" y="60469"/>
                    <a:pt x="28820" y="61554"/>
                  </a:cubicBezTo>
                  <a:cubicBezTo>
                    <a:pt x="45820" y="62640"/>
                    <a:pt x="60469" y="49799"/>
                    <a:pt x="61555" y="327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2" name="Google Shape;1312;p53"/>
            <p:cNvSpPr/>
            <p:nvPr/>
          </p:nvSpPr>
          <p:spPr>
            <a:xfrm>
              <a:off x="11215445" y="5297165"/>
              <a:ext cx="21382" cy="21382"/>
            </a:xfrm>
            <a:custGeom>
              <a:avLst/>
              <a:gdLst/>
              <a:ahLst/>
              <a:cxnLst/>
              <a:rect l="l" t="t" r="r" b="b"/>
              <a:pathLst>
                <a:path w="21382" h="21382" extrusionOk="0">
                  <a:moveTo>
                    <a:pt x="21362" y="11415"/>
                  </a:moveTo>
                  <a:cubicBezTo>
                    <a:pt x="21724" y="5627"/>
                    <a:pt x="17383" y="564"/>
                    <a:pt x="11415" y="21"/>
                  </a:cubicBezTo>
                  <a:cubicBezTo>
                    <a:pt x="5627" y="-341"/>
                    <a:pt x="564" y="4000"/>
                    <a:pt x="21" y="9968"/>
                  </a:cubicBezTo>
                  <a:cubicBezTo>
                    <a:pt x="-341" y="15755"/>
                    <a:pt x="4000" y="20819"/>
                    <a:pt x="9968" y="21362"/>
                  </a:cubicBezTo>
                  <a:cubicBezTo>
                    <a:pt x="15936" y="21724"/>
                    <a:pt x="21000" y="17383"/>
                    <a:pt x="21362" y="114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3" name="Google Shape;1313;p53"/>
            <p:cNvSpPr/>
            <p:nvPr/>
          </p:nvSpPr>
          <p:spPr>
            <a:xfrm>
              <a:off x="8483773" y="5157138"/>
              <a:ext cx="59813" cy="59813"/>
            </a:xfrm>
            <a:custGeom>
              <a:avLst/>
              <a:gdLst/>
              <a:ahLst/>
              <a:cxnLst/>
              <a:rect l="l" t="t" r="r" b="b"/>
              <a:pathLst>
                <a:path w="59813" h="59813" extrusionOk="0">
                  <a:moveTo>
                    <a:pt x="59748" y="31896"/>
                  </a:moveTo>
                  <a:cubicBezTo>
                    <a:pt x="60833" y="15438"/>
                    <a:pt x="48354" y="1151"/>
                    <a:pt x="31896" y="66"/>
                  </a:cubicBezTo>
                  <a:cubicBezTo>
                    <a:pt x="15438" y="-1019"/>
                    <a:pt x="1151" y="11460"/>
                    <a:pt x="66" y="27917"/>
                  </a:cubicBezTo>
                  <a:cubicBezTo>
                    <a:pt x="-1019" y="44375"/>
                    <a:pt x="11460" y="58663"/>
                    <a:pt x="27917" y="59748"/>
                  </a:cubicBezTo>
                  <a:cubicBezTo>
                    <a:pt x="44375" y="60833"/>
                    <a:pt x="58663" y="48354"/>
                    <a:pt x="59748" y="318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4" name="Google Shape;1314;p53"/>
            <p:cNvSpPr/>
            <p:nvPr/>
          </p:nvSpPr>
          <p:spPr>
            <a:xfrm>
              <a:off x="8137057" y="5324049"/>
              <a:ext cx="83361" cy="83361"/>
            </a:xfrm>
            <a:custGeom>
              <a:avLst/>
              <a:gdLst/>
              <a:ahLst/>
              <a:cxnLst/>
              <a:rect l="l" t="t" r="r" b="b"/>
              <a:pathLst>
                <a:path w="83361" h="83361" extrusionOk="0">
                  <a:moveTo>
                    <a:pt x="83277" y="44394"/>
                  </a:moveTo>
                  <a:cubicBezTo>
                    <a:pt x="84724" y="21425"/>
                    <a:pt x="67362" y="1531"/>
                    <a:pt x="44394" y="84"/>
                  </a:cubicBezTo>
                  <a:cubicBezTo>
                    <a:pt x="21425" y="-1363"/>
                    <a:pt x="1531" y="15999"/>
                    <a:pt x="84" y="38968"/>
                  </a:cubicBezTo>
                  <a:cubicBezTo>
                    <a:pt x="-1363" y="61936"/>
                    <a:pt x="15999" y="81830"/>
                    <a:pt x="38968" y="83277"/>
                  </a:cubicBezTo>
                  <a:cubicBezTo>
                    <a:pt x="61937" y="84724"/>
                    <a:pt x="81830" y="67362"/>
                    <a:pt x="83277" y="443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5" name="Google Shape;1315;p53"/>
            <p:cNvSpPr/>
            <p:nvPr/>
          </p:nvSpPr>
          <p:spPr>
            <a:xfrm>
              <a:off x="8131856" y="4900350"/>
              <a:ext cx="43124" cy="43146"/>
            </a:xfrm>
            <a:custGeom>
              <a:avLst/>
              <a:gdLst/>
              <a:ahLst/>
              <a:cxnLst/>
              <a:rect l="l" t="t" r="r" b="b"/>
              <a:pathLst>
                <a:path w="43124" h="43146" extrusionOk="0">
                  <a:moveTo>
                    <a:pt x="43084" y="23009"/>
                  </a:moveTo>
                  <a:cubicBezTo>
                    <a:pt x="43807" y="11073"/>
                    <a:pt x="34765" y="764"/>
                    <a:pt x="23009" y="41"/>
                  </a:cubicBezTo>
                  <a:cubicBezTo>
                    <a:pt x="11073" y="-683"/>
                    <a:pt x="764" y="8360"/>
                    <a:pt x="41" y="20115"/>
                  </a:cubicBezTo>
                  <a:cubicBezTo>
                    <a:pt x="-683" y="32052"/>
                    <a:pt x="8360" y="42360"/>
                    <a:pt x="20115" y="43084"/>
                  </a:cubicBezTo>
                  <a:cubicBezTo>
                    <a:pt x="32052" y="43988"/>
                    <a:pt x="42361" y="34946"/>
                    <a:pt x="43084" y="230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6" name="Google Shape;1316;p53"/>
            <p:cNvSpPr/>
            <p:nvPr/>
          </p:nvSpPr>
          <p:spPr>
            <a:xfrm>
              <a:off x="10216406" y="3545591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5"/>
                  </a:cubicBezTo>
                  <a:cubicBezTo>
                    <a:pt x="16839" y="22807"/>
                    <a:pt x="22084" y="18105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7" name="Google Shape;1317;p53"/>
            <p:cNvSpPr/>
            <p:nvPr/>
          </p:nvSpPr>
          <p:spPr>
            <a:xfrm>
              <a:off x="7875213" y="4712794"/>
              <a:ext cx="53815" cy="53815"/>
            </a:xfrm>
            <a:custGeom>
              <a:avLst/>
              <a:gdLst/>
              <a:ahLst/>
              <a:cxnLst/>
              <a:rect l="l" t="t" r="r" b="b"/>
              <a:pathLst>
                <a:path w="53815" h="53815" extrusionOk="0">
                  <a:moveTo>
                    <a:pt x="53765" y="28626"/>
                  </a:moveTo>
                  <a:cubicBezTo>
                    <a:pt x="54669" y="13796"/>
                    <a:pt x="43456" y="955"/>
                    <a:pt x="28626" y="51"/>
                  </a:cubicBezTo>
                  <a:cubicBezTo>
                    <a:pt x="13796" y="-853"/>
                    <a:pt x="955" y="10360"/>
                    <a:pt x="51" y="25190"/>
                  </a:cubicBezTo>
                  <a:cubicBezTo>
                    <a:pt x="-853" y="40020"/>
                    <a:pt x="10360" y="52861"/>
                    <a:pt x="25190" y="53765"/>
                  </a:cubicBezTo>
                  <a:cubicBezTo>
                    <a:pt x="40020" y="54669"/>
                    <a:pt x="52680" y="43456"/>
                    <a:pt x="53765" y="286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8" name="Google Shape;1318;p53"/>
            <p:cNvSpPr/>
            <p:nvPr/>
          </p:nvSpPr>
          <p:spPr>
            <a:xfrm>
              <a:off x="8338184" y="4424134"/>
              <a:ext cx="57827" cy="57827"/>
            </a:xfrm>
            <a:custGeom>
              <a:avLst/>
              <a:gdLst/>
              <a:ahLst/>
              <a:cxnLst/>
              <a:rect l="l" t="t" r="r" b="b"/>
              <a:pathLst>
                <a:path w="57827" h="57827" extrusionOk="0">
                  <a:moveTo>
                    <a:pt x="57760" y="30813"/>
                  </a:moveTo>
                  <a:cubicBezTo>
                    <a:pt x="58845" y="14898"/>
                    <a:pt x="46728" y="1153"/>
                    <a:pt x="30813" y="68"/>
                  </a:cubicBezTo>
                  <a:cubicBezTo>
                    <a:pt x="14898" y="-1018"/>
                    <a:pt x="1153" y="11100"/>
                    <a:pt x="68" y="27015"/>
                  </a:cubicBezTo>
                  <a:cubicBezTo>
                    <a:pt x="-1018" y="42930"/>
                    <a:pt x="11100" y="56675"/>
                    <a:pt x="27015" y="57760"/>
                  </a:cubicBezTo>
                  <a:cubicBezTo>
                    <a:pt x="42930" y="58845"/>
                    <a:pt x="56675" y="46728"/>
                    <a:pt x="57760" y="30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19" name="Google Shape;1319;p53"/>
            <p:cNvSpPr/>
            <p:nvPr/>
          </p:nvSpPr>
          <p:spPr>
            <a:xfrm>
              <a:off x="7569506" y="4494079"/>
              <a:ext cx="96079" cy="96058"/>
            </a:xfrm>
            <a:custGeom>
              <a:avLst/>
              <a:gdLst/>
              <a:ahLst/>
              <a:cxnLst/>
              <a:rect l="l" t="t" r="r" b="b"/>
              <a:pathLst>
                <a:path w="96079" h="96058" extrusionOk="0">
                  <a:moveTo>
                    <a:pt x="95966" y="51114"/>
                  </a:moveTo>
                  <a:cubicBezTo>
                    <a:pt x="97775" y="24709"/>
                    <a:pt x="77700" y="1741"/>
                    <a:pt x="51114" y="113"/>
                  </a:cubicBezTo>
                  <a:cubicBezTo>
                    <a:pt x="24709" y="-1695"/>
                    <a:pt x="1741" y="18380"/>
                    <a:pt x="113" y="44965"/>
                  </a:cubicBezTo>
                  <a:cubicBezTo>
                    <a:pt x="-1695" y="71370"/>
                    <a:pt x="18380" y="94338"/>
                    <a:pt x="44965" y="95966"/>
                  </a:cubicBezTo>
                  <a:cubicBezTo>
                    <a:pt x="71370" y="97594"/>
                    <a:pt x="94158" y="77519"/>
                    <a:pt x="95966" y="5111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0" name="Google Shape;1320;p53"/>
            <p:cNvSpPr/>
            <p:nvPr/>
          </p:nvSpPr>
          <p:spPr>
            <a:xfrm>
              <a:off x="7883176" y="4720576"/>
              <a:ext cx="38070" cy="38070"/>
            </a:xfrm>
            <a:custGeom>
              <a:avLst/>
              <a:gdLst/>
              <a:ahLst/>
              <a:cxnLst/>
              <a:rect l="l" t="t" r="r" b="b"/>
              <a:pathLst>
                <a:path w="38070" h="38070" extrusionOk="0">
                  <a:moveTo>
                    <a:pt x="38025" y="20302"/>
                  </a:moveTo>
                  <a:cubicBezTo>
                    <a:pt x="38749" y="9812"/>
                    <a:pt x="30791" y="769"/>
                    <a:pt x="20301" y="46"/>
                  </a:cubicBezTo>
                  <a:cubicBezTo>
                    <a:pt x="9812" y="-678"/>
                    <a:pt x="769" y="7280"/>
                    <a:pt x="46" y="17769"/>
                  </a:cubicBezTo>
                  <a:cubicBezTo>
                    <a:pt x="-678" y="28259"/>
                    <a:pt x="7280" y="37302"/>
                    <a:pt x="17769" y="38025"/>
                  </a:cubicBezTo>
                  <a:cubicBezTo>
                    <a:pt x="28259" y="38748"/>
                    <a:pt x="37302" y="30791"/>
                    <a:pt x="38025" y="203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1" name="Google Shape;1321;p53"/>
            <p:cNvSpPr/>
            <p:nvPr/>
          </p:nvSpPr>
          <p:spPr>
            <a:xfrm>
              <a:off x="8138555" y="4907050"/>
              <a:ext cx="29905" cy="29906"/>
            </a:xfrm>
            <a:custGeom>
              <a:avLst/>
              <a:gdLst/>
              <a:ahLst/>
              <a:cxnLst/>
              <a:rect l="l" t="t" r="r" b="b"/>
              <a:pathLst>
                <a:path w="29905" h="29906" extrusionOk="0">
                  <a:moveTo>
                    <a:pt x="29873" y="15948"/>
                  </a:moveTo>
                  <a:cubicBezTo>
                    <a:pt x="30416" y="7628"/>
                    <a:pt x="24086" y="575"/>
                    <a:pt x="15948" y="32"/>
                  </a:cubicBezTo>
                  <a:cubicBezTo>
                    <a:pt x="7628" y="-510"/>
                    <a:pt x="575" y="5820"/>
                    <a:pt x="32" y="13958"/>
                  </a:cubicBezTo>
                  <a:cubicBezTo>
                    <a:pt x="-510" y="22278"/>
                    <a:pt x="5820" y="29331"/>
                    <a:pt x="13958" y="29874"/>
                  </a:cubicBezTo>
                  <a:cubicBezTo>
                    <a:pt x="22097" y="30416"/>
                    <a:pt x="29331" y="24267"/>
                    <a:pt x="29873" y="1594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2" name="Google Shape;1322;p53"/>
            <p:cNvSpPr/>
            <p:nvPr/>
          </p:nvSpPr>
          <p:spPr>
            <a:xfrm>
              <a:off x="7757992" y="5426961"/>
              <a:ext cx="68338" cy="68338"/>
            </a:xfrm>
            <a:custGeom>
              <a:avLst/>
              <a:gdLst/>
              <a:ahLst/>
              <a:cxnLst/>
              <a:rect l="l" t="t" r="r" b="b"/>
              <a:pathLst>
                <a:path w="68338" h="68338" extrusionOk="0">
                  <a:moveTo>
                    <a:pt x="68260" y="36430"/>
                  </a:moveTo>
                  <a:cubicBezTo>
                    <a:pt x="69526" y="17621"/>
                    <a:pt x="55239" y="1344"/>
                    <a:pt x="36430" y="78"/>
                  </a:cubicBezTo>
                  <a:cubicBezTo>
                    <a:pt x="17621" y="-1188"/>
                    <a:pt x="1344" y="13100"/>
                    <a:pt x="78" y="31909"/>
                  </a:cubicBezTo>
                  <a:cubicBezTo>
                    <a:pt x="-1188" y="50717"/>
                    <a:pt x="13100" y="66994"/>
                    <a:pt x="31908" y="68260"/>
                  </a:cubicBezTo>
                  <a:cubicBezTo>
                    <a:pt x="50717" y="69526"/>
                    <a:pt x="66994" y="55239"/>
                    <a:pt x="68260" y="364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3" name="Google Shape;1323;p53"/>
            <p:cNvSpPr/>
            <p:nvPr/>
          </p:nvSpPr>
          <p:spPr>
            <a:xfrm>
              <a:off x="7893505" y="4731086"/>
              <a:ext cx="17050" cy="17032"/>
            </a:xfrm>
            <a:custGeom>
              <a:avLst/>
              <a:gdLst/>
              <a:ahLst/>
              <a:cxnLst/>
              <a:rect l="l" t="t" r="r" b="b"/>
              <a:pathLst>
                <a:path w="17050" h="17032" extrusionOk="0">
                  <a:moveTo>
                    <a:pt x="17025" y="9068"/>
                  </a:moveTo>
                  <a:cubicBezTo>
                    <a:pt x="17387" y="4366"/>
                    <a:pt x="13770" y="387"/>
                    <a:pt x="9068" y="25"/>
                  </a:cubicBezTo>
                  <a:cubicBezTo>
                    <a:pt x="4365" y="-337"/>
                    <a:pt x="387" y="3280"/>
                    <a:pt x="25" y="7983"/>
                  </a:cubicBezTo>
                  <a:cubicBezTo>
                    <a:pt x="-337" y="12685"/>
                    <a:pt x="3280" y="16664"/>
                    <a:pt x="7983" y="17025"/>
                  </a:cubicBezTo>
                  <a:cubicBezTo>
                    <a:pt x="12685" y="17206"/>
                    <a:pt x="16664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4" name="Google Shape;1324;p53"/>
            <p:cNvSpPr/>
            <p:nvPr/>
          </p:nvSpPr>
          <p:spPr>
            <a:xfrm>
              <a:off x="8363015" y="4448964"/>
              <a:ext cx="8165" cy="8164"/>
            </a:xfrm>
            <a:custGeom>
              <a:avLst/>
              <a:gdLst/>
              <a:ahLst/>
              <a:cxnLst/>
              <a:rect l="l" t="t" r="r" b="b"/>
              <a:pathLst>
                <a:path w="8165" h="8164" extrusionOk="0">
                  <a:moveTo>
                    <a:pt x="8152" y="4354"/>
                  </a:moveTo>
                  <a:cubicBezTo>
                    <a:pt x="8333" y="2184"/>
                    <a:pt x="6705" y="195"/>
                    <a:pt x="4354" y="14"/>
                  </a:cubicBezTo>
                  <a:cubicBezTo>
                    <a:pt x="2184" y="-167"/>
                    <a:pt x="195" y="1461"/>
                    <a:pt x="14" y="3812"/>
                  </a:cubicBezTo>
                  <a:cubicBezTo>
                    <a:pt x="-167" y="5982"/>
                    <a:pt x="1461" y="7971"/>
                    <a:pt x="3812" y="8152"/>
                  </a:cubicBezTo>
                  <a:cubicBezTo>
                    <a:pt x="6163" y="8333"/>
                    <a:pt x="7971" y="6524"/>
                    <a:pt x="8152" y="435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5" name="Google Shape;1325;p53"/>
            <p:cNvSpPr/>
            <p:nvPr/>
          </p:nvSpPr>
          <p:spPr>
            <a:xfrm>
              <a:off x="8140179" y="4908855"/>
              <a:ext cx="26296" cy="26296"/>
            </a:xfrm>
            <a:custGeom>
              <a:avLst/>
              <a:gdLst/>
              <a:ahLst/>
              <a:cxnLst/>
              <a:rect l="l" t="t" r="r" b="b"/>
              <a:pathLst>
                <a:path w="26296" h="26296" extrusionOk="0">
                  <a:moveTo>
                    <a:pt x="26260" y="13962"/>
                  </a:moveTo>
                  <a:cubicBezTo>
                    <a:pt x="26803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4" y="26260"/>
                  </a:cubicBezTo>
                  <a:cubicBezTo>
                    <a:pt x="19569" y="26803"/>
                    <a:pt x="25898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6" name="Google Shape;1326;p53"/>
            <p:cNvSpPr/>
            <p:nvPr/>
          </p:nvSpPr>
          <p:spPr>
            <a:xfrm>
              <a:off x="8893729" y="4931390"/>
              <a:ext cx="101855" cy="101854"/>
            </a:xfrm>
            <a:custGeom>
              <a:avLst/>
              <a:gdLst/>
              <a:ahLst/>
              <a:cxnLst/>
              <a:rect l="l" t="t" r="r" b="b"/>
              <a:pathLst>
                <a:path w="101855" h="101854" extrusionOk="0">
                  <a:moveTo>
                    <a:pt x="101748" y="54183"/>
                  </a:moveTo>
                  <a:cubicBezTo>
                    <a:pt x="103557" y="26151"/>
                    <a:pt x="82397" y="1916"/>
                    <a:pt x="54183" y="108"/>
                  </a:cubicBezTo>
                  <a:cubicBezTo>
                    <a:pt x="26151" y="-1701"/>
                    <a:pt x="1916" y="19459"/>
                    <a:pt x="108" y="47673"/>
                  </a:cubicBezTo>
                  <a:cubicBezTo>
                    <a:pt x="-1701" y="75705"/>
                    <a:pt x="19459" y="99940"/>
                    <a:pt x="47672" y="101748"/>
                  </a:cubicBezTo>
                  <a:cubicBezTo>
                    <a:pt x="75705" y="103557"/>
                    <a:pt x="99939" y="82216"/>
                    <a:pt x="101748" y="5418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7" name="Google Shape;1327;p53"/>
            <p:cNvSpPr/>
            <p:nvPr/>
          </p:nvSpPr>
          <p:spPr>
            <a:xfrm>
              <a:off x="8341814" y="4427764"/>
              <a:ext cx="50386" cy="50386"/>
            </a:xfrm>
            <a:custGeom>
              <a:avLst/>
              <a:gdLst/>
              <a:ahLst/>
              <a:cxnLst/>
              <a:rect l="l" t="t" r="r" b="b"/>
              <a:pathLst>
                <a:path w="50386" h="50386" extrusionOk="0">
                  <a:moveTo>
                    <a:pt x="50332" y="26821"/>
                  </a:moveTo>
                  <a:cubicBezTo>
                    <a:pt x="51236" y="12895"/>
                    <a:pt x="40747" y="959"/>
                    <a:pt x="26821" y="54"/>
                  </a:cubicBezTo>
                  <a:cubicBezTo>
                    <a:pt x="12895" y="-850"/>
                    <a:pt x="959" y="9640"/>
                    <a:pt x="54" y="23565"/>
                  </a:cubicBezTo>
                  <a:cubicBezTo>
                    <a:pt x="-850" y="37491"/>
                    <a:pt x="9640" y="49428"/>
                    <a:pt x="23565" y="50332"/>
                  </a:cubicBezTo>
                  <a:cubicBezTo>
                    <a:pt x="37491" y="51236"/>
                    <a:pt x="49428" y="40747"/>
                    <a:pt x="50332" y="268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8" name="Google Shape;1328;p53"/>
            <p:cNvSpPr/>
            <p:nvPr/>
          </p:nvSpPr>
          <p:spPr>
            <a:xfrm>
              <a:off x="8133841" y="4902516"/>
              <a:ext cx="39154" cy="39153"/>
            </a:xfrm>
            <a:custGeom>
              <a:avLst/>
              <a:gdLst/>
              <a:ahLst/>
              <a:cxnLst/>
              <a:rect l="l" t="t" r="r" b="b"/>
              <a:pathLst>
                <a:path w="39154" h="39153" extrusionOk="0">
                  <a:moveTo>
                    <a:pt x="39109" y="20843"/>
                  </a:moveTo>
                  <a:cubicBezTo>
                    <a:pt x="39833" y="9992"/>
                    <a:pt x="31694" y="768"/>
                    <a:pt x="20843" y="45"/>
                  </a:cubicBezTo>
                  <a:cubicBezTo>
                    <a:pt x="9992" y="-679"/>
                    <a:pt x="768" y="7460"/>
                    <a:pt x="45" y="18311"/>
                  </a:cubicBezTo>
                  <a:cubicBezTo>
                    <a:pt x="-679" y="29162"/>
                    <a:pt x="7460" y="38386"/>
                    <a:pt x="18311" y="39109"/>
                  </a:cubicBezTo>
                  <a:cubicBezTo>
                    <a:pt x="28981" y="39833"/>
                    <a:pt x="38386" y="31513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29" name="Google Shape;1329;p53"/>
            <p:cNvSpPr/>
            <p:nvPr/>
          </p:nvSpPr>
          <p:spPr>
            <a:xfrm>
              <a:off x="8933063" y="4970544"/>
              <a:ext cx="23367" cy="23390"/>
            </a:xfrm>
            <a:custGeom>
              <a:avLst/>
              <a:gdLst/>
              <a:ahLst/>
              <a:cxnLst/>
              <a:rect l="l" t="t" r="r" b="b"/>
              <a:pathLst>
                <a:path w="23367" h="23390" extrusionOk="0">
                  <a:moveTo>
                    <a:pt x="23349" y="12498"/>
                  </a:moveTo>
                  <a:cubicBezTo>
                    <a:pt x="23711" y="5987"/>
                    <a:pt x="18828" y="380"/>
                    <a:pt x="12498" y="19"/>
                  </a:cubicBezTo>
                  <a:cubicBezTo>
                    <a:pt x="6168" y="-343"/>
                    <a:pt x="381" y="4540"/>
                    <a:pt x="19" y="10870"/>
                  </a:cubicBezTo>
                  <a:cubicBezTo>
                    <a:pt x="-343" y="17381"/>
                    <a:pt x="4540" y="22987"/>
                    <a:pt x="10870" y="23349"/>
                  </a:cubicBezTo>
                  <a:cubicBezTo>
                    <a:pt x="17381" y="23892"/>
                    <a:pt x="22987" y="19009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0" name="Google Shape;1330;p53"/>
            <p:cNvSpPr/>
            <p:nvPr/>
          </p:nvSpPr>
          <p:spPr>
            <a:xfrm>
              <a:off x="8496289" y="5169655"/>
              <a:ext cx="34781" cy="34781"/>
            </a:xfrm>
            <a:custGeom>
              <a:avLst/>
              <a:gdLst/>
              <a:ahLst/>
              <a:cxnLst/>
              <a:rect l="l" t="t" r="r" b="b"/>
              <a:pathLst>
                <a:path w="34781" h="34781" extrusionOk="0">
                  <a:moveTo>
                    <a:pt x="34753" y="18476"/>
                  </a:moveTo>
                  <a:cubicBezTo>
                    <a:pt x="35295" y="8891"/>
                    <a:pt x="28061" y="571"/>
                    <a:pt x="18476" y="29"/>
                  </a:cubicBezTo>
                  <a:cubicBezTo>
                    <a:pt x="8891" y="-514"/>
                    <a:pt x="571" y="6720"/>
                    <a:pt x="29" y="16305"/>
                  </a:cubicBezTo>
                  <a:cubicBezTo>
                    <a:pt x="-514" y="25891"/>
                    <a:pt x="6720" y="34210"/>
                    <a:pt x="16306" y="34753"/>
                  </a:cubicBezTo>
                  <a:cubicBezTo>
                    <a:pt x="25891" y="35295"/>
                    <a:pt x="34210" y="28061"/>
                    <a:pt x="34753" y="184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1" name="Google Shape;1331;p53"/>
            <p:cNvSpPr/>
            <p:nvPr/>
          </p:nvSpPr>
          <p:spPr>
            <a:xfrm>
              <a:off x="8119158" y="4887834"/>
              <a:ext cx="68519" cy="68498"/>
            </a:xfrm>
            <a:custGeom>
              <a:avLst/>
              <a:gdLst/>
              <a:ahLst/>
              <a:cxnLst/>
              <a:rect l="l" t="t" r="r" b="b"/>
              <a:pathLst>
                <a:path w="68519" h="68498" extrusionOk="0">
                  <a:moveTo>
                    <a:pt x="68441" y="36430"/>
                  </a:moveTo>
                  <a:cubicBezTo>
                    <a:pt x="69707" y="17621"/>
                    <a:pt x="55420" y="1344"/>
                    <a:pt x="36430" y="78"/>
                  </a:cubicBezTo>
                  <a:cubicBezTo>
                    <a:pt x="17621" y="-1188"/>
                    <a:pt x="1344" y="13100"/>
                    <a:pt x="78" y="32089"/>
                  </a:cubicBezTo>
                  <a:cubicBezTo>
                    <a:pt x="-1188" y="50898"/>
                    <a:pt x="13100" y="67175"/>
                    <a:pt x="32089" y="68441"/>
                  </a:cubicBezTo>
                  <a:cubicBezTo>
                    <a:pt x="50898" y="69526"/>
                    <a:pt x="67175" y="55239"/>
                    <a:pt x="68441" y="364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2" name="Google Shape;1332;p53"/>
            <p:cNvSpPr/>
            <p:nvPr/>
          </p:nvSpPr>
          <p:spPr>
            <a:xfrm>
              <a:off x="8935049" y="4972530"/>
              <a:ext cx="19395" cy="19420"/>
            </a:xfrm>
            <a:custGeom>
              <a:avLst/>
              <a:gdLst/>
              <a:ahLst/>
              <a:cxnLst/>
              <a:rect l="l" t="t" r="r" b="b"/>
              <a:pathLst>
                <a:path w="19395" h="19420" extrusionOk="0">
                  <a:moveTo>
                    <a:pt x="19373" y="10330"/>
                  </a:moveTo>
                  <a:cubicBezTo>
                    <a:pt x="19735" y="4905"/>
                    <a:pt x="15575" y="383"/>
                    <a:pt x="10331" y="22"/>
                  </a:cubicBezTo>
                  <a:cubicBezTo>
                    <a:pt x="4905" y="-340"/>
                    <a:pt x="384" y="3820"/>
                    <a:pt x="22" y="9065"/>
                  </a:cubicBezTo>
                  <a:cubicBezTo>
                    <a:pt x="-340" y="14490"/>
                    <a:pt x="3820" y="19011"/>
                    <a:pt x="9065" y="19373"/>
                  </a:cubicBezTo>
                  <a:cubicBezTo>
                    <a:pt x="14309" y="19916"/>
                    <a:pt x="19012" y="15756"/>
                    <a:pt x="19373" y="103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3" name="Google Shape;1333;p53"/>
            <p:cNvSpPr/>
            <p:nvPr/>
          </p:nvSpPr>
          <p:spPr>
            <a:xfrm>
              <a:off x="8712208" y="5247581"/>
              <a:ext cx="55080" cy="55080"/>
            </a:xfrm>
            <a:custGeom>
              <a:avLst/>
              <a:gdLst/>
              <a:ahLst/>
              <a:cxnLst/>
              <a:rect l="l" t="t" r="r" b="b"/>
              <a:pathLst>
                <a:path w="55080" h="55080" extrusionOk="0">
                  <a:moveTo>
                    <a:pt x="55030" y="29349"/>
                  </a:moveTo>
                  <a:cubicBezTo>
                    <a:pt x="55934" y="14157"/>
                    <a:pt x="44540" y="955"/>
                    <a:pt x="29349" y="50"/>
                  </a:cubicBezTo>
                  <a:cubicBezTo>
                    <a:pt x="14157" y="-854"/>
                    <a:pt x="954" y="10540"/>
                    <a:pt x="50" y="25732"/>
                  </a:cubicBezTo>
                  <a:cubicBezTo>
                    <a:pt x="-854" y="40924"/>
                    <a:pt x="10540" y="54126"/>
                    <a:pt x="25732" y="55030"/>
                  </a:cubicBezTo>
                  <a:cubicBezTo>
                    <a:pt x="40923" y="55934"/>
                    <a:pt x="53945" y="44541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4" name="Google Shape;1334;p53"/>
            <p:cNvSpPr/>
            <p:nvPr/>
          </p:nvSpPr>
          <p:spPr>
            <a:xfrm>
              <a:off x="8471097" y="5144281"/>
              <a:ext cx="85347" cy="85367"/>
            </a:xfrm>
            <a:custGeom>
              <a:avLst/>
              <a:gdLst/>
              <a:ahLst/>
              <a:cxnLst/>
              <a:rect l="l" t="t" r="r" b="b"/>
              <a:pathLst>
                <a:path w="85347" h="85367" extrusionOk="0">
                  <a:moveTo>
                    <a:pt x="85265" y="45477"/>
                  </a:moveTo>
                  <a:cubicBezTo>
                    <a:pt x="86712" y="21966"/>
                    <a:pt x="68988" y="1530"/>
                    <a:pt x="45477" y="83"/>
                  </a:cubicBezTo>
                  <a:cubicBezTo>
                    <a:pt x="21966" y="-1364"/>
                    <a:pt x="1529" y="16359"/>
                    <a:pt x="83" y="39871"/>
                  </a:cubicBezTo>
                  <a:cubicBezTo>
                    <a:pt x="-1364" y="63382"/>
                    <a:pt x="16360" y="83818"/>
                    <a:pt x="39871" y="85265"/>
                  </a:cubicBezTo>
                  <a:cubicBezTo>
                    <a:pt x="63382" y="86893"/>
                    <a:pt x="83637" y="68988"/>
                    <a:pt x="85265" y="454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5" name="Google Shape;1335;p53"/>
            <p:cNvSpPr/>
            <p:nvPr/>
          </p:nvSpPr>
          <p:spPr>
            <a:xfrm>
              <a:off x="8941026" y="4978506"/>
              <a:ext cx="7442" cy="7443"/>
            </a:xfrm>
            <a:custGeom>
              <a:avLst/>
              <a:gdLst/>
              <a:ahLst/>
              <a:cxnLst/>
              <a:rect l="l" t="t" r="r" b="b"/>
              <a:pathLst>
                <a:path w="7442" h="7443" extrusionOk="0">
                  <a:moveTo>
                    <a:pt x="7429" y="3992"/>
                  </a:moveTo>
                  <a:cubicBezTo>
                    <a:pt x="7610" y="2003"/>
                    <a:pt x="5982" y="195"/>
                    <a:pt x="3992" y="14"/>
                  </a:cubicBezTo>
                  <a:cubicBezTo>
                    <a:pt x="2003" y="-167"/>
                    <a:pt x="195" y="1460"/>
                    <a:pt x="14" y="3450"/>
                  </a:cubicBezTo>
                  <a:cubicBezTo>
                    <a:pt x="-167" y="5439"/>
                    <a:pt x="1460" y="7248"/>
                    <a:pt x="3450" y="7429"/>
                  </a:cubicBezTo>
                  <a:cubicBezTo>
                    <a:pt x="5439" y="7610"/>
                    <a:pt x="7248" y="6163"/>
                    <a:pt x="7429" y="39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6" name="Google Shape;1336;p53"/>
            <p:cNvSpPr/>
            <p:nvPr/>
          </p:nvSpPr>
          <p:spPr>
            <a:xfrm>
              <a:off x="9548275" y="5175035"/>
              <a:ext cx="73212" cy="73212"/>
            </a:xfrm>
            <a:custGeom>
              <a:avLst/>
              <a:gdLst/>
              <a:ahLst/>
              <a:cxnLst/>
              <a:rect l="l" t="t" r="r" b="b"/>
              <a:pathLst>
                <a:path w="73212" h="73212" extrusionOk="0">
                  <a:moveTo>
                    <a:pt x="73139" y="38957"/>
                  </a:moveTo>
                  <a:cubicBezTo>
                    <a:pt x="74405" y="18702"/>
                    <a:pt x="59213" y="1340"/>
                    <a:pt x="38957" y="74"/>
                  </a:cubicBezTo>
                  <a:cubicBezTo>
                    <a:pt x="18702" y="-1192"/>
                    <a:pt x="1340" y="14000"/>
                    <a:pt x="74" y="34255"/>
                  </a:cubicBezTo>
                  <a:cubicBezTo>
                    <a:pt x="-1192" y="54511"/>
                    <a:pt x="14000" y="71873"/>
                    <a:pt x="34255" y="73139"/>
                  </a:cubicBezTo>
                  <a:cubicBezTo>
                    <a:pt x="54330" y="74405"/>
                    <a:pt x="71692" y="59213"/>
                    <a:pt x="73139" y="389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7" name="Google Shape;1337;p53"/>
            <p:cNvSpPr/>
            <p:nvPr/>
          </p:nvSpPr>
          <p:spPr>
            <a:xfrm>
              <a:off x="8708938" y="5244492"/>
              <a:ext cx="61258" cy="61278"/>
            </a:xfrm>
            <a:custGeom>
              <a:avLst/>
              <a:gdLst/>
              <a:ahLst/>
              <a:cxnLst/>
              <a:rect l="l" t="t" r="r" b="b"/>
              <a:pathLst>
                <a:path w="61258" h="61278" extrusionOk="0">
                  <a:moveTo>
                    <a:pt x="61194" y="32619"/>
                  </a:moveTo>
                  <a:cubicBezTo>
                    <a:pt x="62279" y="15799"/>
                    <a:pt x="49619" y="1150"/>
                    <a:pt x="32619" y="65"/>
                  </a:cubicBezTo>
                  <a:cubicBezTo>
                    <a:pt x="15799" y="-1020"/>
                    <a:pt x="1331" y="11640"/>
                    <a:pt x="65" y="28640"/>
                  </a:cubicBezTo>
                  <a:cubicBezTo>
                    <a:pt x="-1020" y="45459"/>
                    <a:pt x="11640" y="59928"/>
                    <a:pt x="28640" y="61194"/>
                  </a:cubicBezTo>
                  <a:cubicBezTo>
                    <a:pt x="45640" y="62460"/>
                    <a:pt x="60109" y="49438"/>
                    <a:pt x="61194" y="3261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8" name="Google Shape;1338;p53"/>
            <p:cNvSpPr/>
            <p:nvPr/>
          </p:nvSpPr>
          <p:spPr>
            <a:xfrm>
              <a:off x="9802963" y="6496764"/>
              <a:ext cx="34600" cy="34621"/>
            </a:xfrm>
            <a:custGeom>
              <a:avLst/>
              <a:gdLst/>
              <a:ahLst/>
              <a:cxnLst/>
              <a:rect l="l" t="t" r="r" b="b"/>
              <a:pathLst>
                <a:path w="34600" h="34621" extrusionOk="0">
                  <a:moveTo>
                    <a:pt x="34572" y="18476"/>
                  </a:moveTo>
                  <a:cubicBezTo>
                    <a:pt x="35114" y="8890"/>
                    <a:pt x="27880" y="752"/>
                    <a:pt x="18476" y="29"/>
                  </a:cubicBezTo>
                  <a:cubicBezTo>
                    <a:pt x="8891" y="-514"/>
                    <a:pt x="752" y="6720"/>
                    <a:pt x="29" y="16124"/>
                  </a:cubicBezTo>
                  <a:cubicBezTo>
                    <a:pt x="-514" y="25710"/>
                    <a:pt x="6720" y="33848"/>
                    <a:pt x="16125" y="34572"/>
                  </a:cubicBezTo>
                  <a:cubicBezTo>
                    <a:pt x="25710" y="35295"/>
                    <a:pt x="33848" y="28061"/>
                    <a:pt x="34572" y="184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39" name="Google Shape;1339;p53"/>
            <p:cNvSpPr/>
            <p:nvPr/>
          </p:nvSpPr>
          <p:spPr>
            <a:xfrm>
              <a:off x="9535826" y="5418495"/>
              <a:ext cx="39513" cy="39514"/>
            </a:xfrm>
            <a:custGeom>
              <a:avLst/>
              <a:gdLst/>
              <a:ahLst/>
              <a:cxnLst/>
              <a:rect l="l" t="t" r="r" b="b"/>
              <a:pathLst>
                <a:path w="39513" h="39514" extrusionOk="0">
                  <a:moveTo>
                    <a:pt x="39470" y="21023"/>
                  </a:moveTo>
                  <a:cubicBezTo>
                    <a:pt x="40194" y="10172"/>
                    <a:pt x="31874" y="767"/>
                    <a:pt x="21023" y="44"/>
                  </a:cubicBezTo>
                  <a:cubicBezTo>
                    <a:pt x="10172" y="-679"/>
                    <a:pt x="767" y="7640"/>
                    <a:pt x="44" y="18491"/>
                  </a:cubicBezTo>
                  <a:cubicBezTo>
                    <a:pt x="-680" y="29342"/>
                    <a:pt x="7640" y="38747"/>
                    <a:pt x="18491" y="39470"/>
                  </a:cubicBezTo>
                  <a:cubicBezTo>
                    <a:pt x="29342" y="40194"/>
                    <a:pt x="38928" y="31874"/>
                    <a:pt x="39470" y="210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0" name="Google Shape;1340;p53"/>
            <p:cNvSpPr/>
            <p:nvPr/>
          </p:nvSpPr>
          <p:spPr>
            <a:xfrm>
              <a:off x="8476853" y="5978552"/>
              <a:ext cx="95516" cy="95517"/>
            </a:xfrm>
            <a:custGeom>
              <a:avLst/>
              <a:gdLst/>
              <a:ahLst/>
              <a:cxnLst/>
              <a:rect l="l" t="t" r="r" b="b"/>
              <a:pathLst>
                <a:path w="95516" h="95517" extrusionOk="0">
                  <a:moveTo>
                    <a:pt x="95424" y="50913"/>
                  </a:moveTo>
                  <a:cubicBezTo>
                    <a:pt x="97051" y="24689"/>
                    <a:pt x="77157" y="1901"/>
                    <a:pt x="50933" y="93"/>
                  </a:cubicBezTo>
                  <a:cubicBezTo>
                    <a:pt x="24709" y="-1534"/>
                    <a:pt x="1922" y="18359"/>
                    <a:pt x="113" y="44583"/>
                  </a:cubicBezTo>
                  <a:cubicBezTo>
                    <a:pt x="-1695" y="70807"/>
                    <a:pt x="18380" y="93595"/>
                    <a:pt x="44603" y="95403"/>
                  </a:cubicBezTo>
                  <a:cubicBezTo>
                    <a:pt x="71008" y="97212"/>
                    <a:pt x="93796" y="77318"/>
                    <a:pt x="95424" y="509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1" name="Google Shape;1341;p53"/>
            <p:cNvSpPr/>
            <p:nvPr/>
          </p:nvSpPr>
          <p:spPr>
            <a:xfrm>
              <a:off x="9811648" y="6505630"/>
              <a:ext cx="17050" cy="17050"/>
            </a:xfrm>
            <a:custGeom>
              <a:avLst/>
              <a:gdLst/>
              <a:ahLst/>
              <a:cxnLst/>
              <a:rect l="l" t="t" r="r" b="b"/>
              <a:pathLst>
                <a:path w="17050" h="17050" extrusionOk="0">
                  <a:moveTo>
                    <a:pt x="17025" y="9068"/>
                  </a:moveTo>
                  <a:cubicBezTo>
                    <a:pt x="17387" y="4366"/>
                    <a:pt x="13770" y="387"/>
                    <a:pt x="9068" y="25"/>
                  </a:cubicBezTo>
                  <a:cubicBezTo>
                    <a:pt x="4366" y="-337"/>
                    <a:pt x="387" y="3280"/>
                    <a:pt x="25" y="7983"/>
                  </a:cubicBezTo>
                  <a:cubicBezTo>
                    <a:pt x="-337" y="12685"/>
                    <a:pt x="3280" y="16664"/>
                    <a:pt x="7983" y="17025"/>
                  </a:cubicBezTo>
                  <a:cubicBezTo>
                    <a:pt x="12685" y="17387"/>
                    <a:pt x="16663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2" name="Google Shape;1342;p53"/>
            <p:cNvSpPr/>
            <p:nvPr/>
          </p:nvSpPr>
          <p:spPr>
            <a:xfrm>
              <a:off x="10207870" y="6132678"/>
              <a:ext cx="49302" cy="49302"/>
            </a:xfrm>
            <a:custGeom>
              <a:avLst/>
              <a:gdLst/>
              <a:ahLst/>
              <a:cxnLst/>
              <a:rect l="l" t="t" r="r" b="b"/>
              <a:pathLst>
                <a:path w="49302" h="49302" extrusionOk="0">
                  <a:moveTo>
                    <a:pt x="49248" y="26279"/>
                  </a:moveTo>
                  <a:cubicBezTo>
                    <a:pt x="50152" y="12715"/>
                    <a:pt x="39843" y="959"/>
                    <a:pt x="26279" y="55"/>
                  </a:cubicBezTo>
                  <a:cubicBezTo>
                    <a:pt x="12715" y="-849"/>
                    <a:pt x="960" y="9459"/>
                    <a:pt x="55" y="23024"/>
                  </a:cubicBezTo>
                  <a:cubicBezTo>
                    <a:pt x="-849" y="36588"/>
                    <a:pt x="9460" y="48344"/>
                    <a:pt x="23024" y="49248"/>
                  </a:cubicBezTo>
                  <a:cubicBezTo>
                    <a:pt x="36588" y="50152"/>
                    <a:pt x="48343" y="39843"/>
                    <a:pt x="4924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3" name="Google Shape;1343;p53"/>
            <p:cNvSpPr/>
            <p:nvPr/>
          </p:nvSpPr>
          <p:spPr>
            <a:xfrm>
              <a:off x="9547599" y="5430268"/>
              <a:ext cx="16148" cy="15968"/>
            </a:xfrm>
            <a:custGeom>
              <a:avLst/>
              <a:gdLst/>
              <a:ahLst/>
              <a:cxnLst/>
              <a:rect l="l" t="t" r="r" b="b"/>
              <a:pathLst>
                <a:path w="16148" h="15968" extrusionOk="0">
                  <a:moveTo>
                    <a:pt x="16122" y="8526"/>
                  </a:moveTo>
                  <a:cubicBezTo>
                    <a:pt x="16484" y="4005"/>
                    <a:pt x="13048" y="207"/>
                    <a:pt x="8526" y="26"/>
                  </a:cubicBezTo>
                  <a:cubicBezTo>
                    <a:pt x="4005" y="-336"/>
                    <a:pt x="207" y="3101"/>
                    <a:pt x="26" y="7441"/>
                  </a:cubicBezTo>
                  <a:cubicBezTo>
                    <a:pt x="-336" y="11963"/>
                    <a:pt x="3101" y="15760"/>
                    <a:pt x="7622" y="15941"/>
                  </a:cubicBezTo>
                  <a:cubicBezTo>
                    <a:pt x="11962" y="16303"/>
                    <a:pt x="15941" y="13048"/>
                    <a:pt x="16122" y="85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4" name="Google Shape;1344;p53"/>
            <p:cNvSpPr/>
            <p:nvPr/>
          </p:nvSpPr>
          <p:spPr>
            <a:xfrm>
              <a:off x="12748199" y="2168758"/>
              <a:ext cx="13941" cy="13942"/>
            </a:xfrm>
            <a:custGeom>
              <a:avLst/>
              <a:gdLst/>
              <a:ahLst/>
              <a:cxnLst/>
              <a:rect l="l" t="t" r="r" b="b"/>
              <a:pathLst>
                <a:path w="13941" h="13942" extrusionOk="0">
                  <a:moveTo>
                    <a:pt x="13934" y="7423"/>
                  </a:moveTo>
                  <a:cubicBezTo>
                    <a:pt x="14115" y="3625"/>
                    <a:pt x="11221" y="189"/>
                    <a:pt x="7423" y="8"/>
                  </a:cubicBezTo>
                  <a:cubicBezTo>
                    <a:pt x="3625" y="-173"/>
                    <a:pt x="189" y="2721"/>
                    <a:pt x="8" y="6519"/>
                  </a:cubicBezTo>
                  <a:cubicBezTo>
                    <a:pt x="-173" y="10317"/>
                    <a:pt x="2721" y="13753"/>
                    <a:pt x="6519" y="13934"/>
                  </a:cubicBezTo>
                  <a:cubicBezTo>
                    <a:pt x="10317" y="14115"/>
                    <a:pt x="13572" y="11402"/>
                    <a:pt x="13934" y="742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5" name="Google Shape;1345;p53"/>
            <p:cNvSpPr/>
            <p:nvPr/>
          </p:nvSpPr>
          <p:spPr>
            <a:xfrm>
              <a:off x="12471441" y="2422626"/>
              <a:ext cx="45874" cy="45853"/>
            </a:xfrm>
            <a:custGeom>
              <a:avLst/>
              <a:gdLst/>
              <a:ahLst/>
              <a:cxnLst/>
              <a:rect l="l" t="t" r="r" b="b"/>
              <a:pathLst>
                <a:path w="45874" h="45853" extrusionOk="0">
                  <a:moveTo>
                    <a:pt x="45815" y="24474"/>
                  </a:moveTo>
                  <a:cubicBezTo>
                    <a:pt x="46720" y="11815"/>
                    <a:pt x="37135" y="963"/>
                    <a:pt x="24475" y="59"/>
                  </a:cubicBezTo>
                  <a:cubicBezTo>
                    <a:pt x="11815" y="-845"/>
                    <a:pt x="964" y="8740"/>
                    <a:pt x="59" y="21400"/>
                  </a:cubicBezTo>
                  <a:cubicBezTo>
                    <a:pt x="-845" y="34060"/>
                    <a:pt x="8740" y="44911"/>
                    <a:pt x="21400" y="45815"/>
                  </a:cubicBezTo>
                  <a:cubicBezTo>
                    <a:pt x="34060" y="46539"/>
                    <a:pt x="44911" y="36953"/>
                    <a:pt x="45815" y="2447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6" name="Google Shape;1346;p53"/>
            <p:cNvSpPr/>
            <p:nvPr/>
          </p:nvSpPr>
          <p:spPr>
            <a:xfrm>
              <a:off x="12479966" y="2430970"/>
              <a:ext cx="28824" cy="28848"/>
            </a:xfrm>
            <a:custGeom>
              <a:avLst/>
              <a:gdLst/>
              <a:ahLst/>
              <a:cxnLst/>
              <a:rect l="l" t="t" r="r" b="b"/>
              <a:pathLst>
                <a:path w="28824" h="28848" extrusionOk="0">
                  <a:moveTo>
                    <a:pt x="28791" y="15407"/>
                  </a:moveTo>
                  <a:cubicBezTo>
                    <a:pt x="29333" y="7449"/>
                    <a:pt x="23365" y="577"/>
                    <a:pt x="15407" y="34"/>
                  </a:cubicBezTo>
                  <a:cubicBezTo>
                    <a:pt x="7449" y="-508"/>
                    <a:pt x="577" y="5460"/>
                    <a:pt x="34" y="13417"/>
                  </a:cubicBezTo>
                  <a:cubicBezTo>
                    <a:pt x="-508" y="21375"/>
                    <a:pt x="5460" y="28248"/>
                    <a:pt x="13418" y="28790"/>
                  </a:cubicBezTo>
                  <a:cubicBezTo>
                    <a:pt x="21375" y="29514"/>
                    <a:pt x="28247" y="23364"/>
                    <a:pt x="28791" y="154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7" name="Google Shape;1347;p53"/>
            <p:cNvSpPr/>
            <p:nvPr/>
          </p:nvSpPr>
          <p:spPr>
            <a:xfrm>
              <a:off x="11990362" y="5113734"/>
              <a:ext cx="60896" cy="60896"/>
            </a:xfrm>
            <a:custGeom>
              <a:avLst/>
              <a:gdLst/>
              <a:ahLst/>
              <a:cxnLst/>
              <a:rect l="l" t="t" r="r" b="b"/>
              <a:pathLst>
                <a:path w="60896" h="60896" extrusionOk="0">
                  <a:moveTo>
                    <a:pt x="60832" y="32438"/>
                  </a:moveTo>
                  <a:cubicBezTo>
                    <a:pt x="61917" y="15618"/>
                    <a:pt x="49258" y="1150"/>
                    <a:pt x="32438" y="65"/>
                  </a:cubicBezTo>
                  <a:cubicBezTo>
                    <a:pt x="15618" y="-1020"/>
                    <a:pt x="1150" y="11640"/>
                    <a:pt x="65" y="28459"/>
                  </a:cubicBezTo>
                  <a:cubicBezTo>
                    <a:pt x="-1020" y="45278"/>
                    <a:pt x="11640" y="59747"/>
                    <a:pt x="28459" y="60832"/>
                  </a:cubicBezTo>
                  <a:cubicBezTo>
                    <a:pt x="45098" y="61917"/>
                    <a:pt x="59747" y="49257"/>
                    <a:pt x="60832" y="32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8" name="Google Shape;1348;p53"/>
            <p:cNvSpPr/>
            <p:nvPr/>
          </p:nvSpPr>
          <p:spPr>
            <a:xfrm>
              <a:off x="11891294" y="5718732"/>
              <a:ext cx="16688" cy="16688"/>
            </a:xfrm>
            <a:custGeom>
              <a:avLst/>
              <a:gdLst/>
              <a:ahLst/>
              <a:cxnLst/>
              <a:rect l="l" t="t" r="r" b="b"/>
              <a:pathLst>
                <a:path w="16688" h="16688" extrusionOk="0">
                  <a:moveTo>
                    <a:pt x="16664" y="8887"/>
                  </a:moveTo>
                  <a:cubicBezTo>
                    <a:pt x="17025" y="4366"/>
                    <a:pt x="13408" y="387"/>
                    <a:pt x="8887" y="25"/>
                  </a:cubicBezTo>
                  <a:cubicBezTo>
                    <a:pt x="4366" y="-337"/>
                    <a:pt x="387" y="3280"/>
                    <a:pt x="25" y="7802"/>
                  </a:cubicBezTo>
                  <a:cubicBezTo>
                    <a:pt x="-337" y="12323"/>
                    <a:pt x="3280" y="16302"/>
                    <a:pt x="7802" y="16664"/>
                  </a:cubicBezTo>
                  <a:cubicBezTo>
                    <a:pt x="12504" y="17025"/>
                    <a:pt x="16483" y="13408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49" name="Google Shape;1349;p53"/>
            <p:cNvSpPr/>
            <p:nvPr/>
          </p:nvSpPr>
          <p:spPr>
            <a:xfrm>
              <a:off x="11794825" y="5106648"/>
              <a:ext cx="90442" cy="90441"/>
            </a:xfrm>
            <a:custGeom>
              <a:avLst/>
              <a:gdLst/>
              <a:ahLst/>
              <a:cxnLst/>
              <a:rect l="l" t="t" r="r" b="b"/>
              <a:pathLst>
                <a:path w="90442" h="90441" extrusionOk="0">
                  <a:moveTo>
                    <a:pt x="90345" y="48205"/>
                  </a:moveTo>
                  <a:cubicBezTo>
                    <a:pt x="91972" y="23247"/>
                    <a:pt x="73164" y="1726"/>
                    <a:pt x="48206" y="98"/>
                  </a:cubicBezTo>
                  <a:cubicBezTo>
                    <a:pt x="23247" y="-1529"/>
                    <a:pt x="1726" y="17279"/>
                    <a:pt x="98" y="42237"/>
                  </a:cubicBezTo>
                  <a:cubicBezTo>
                    <a:pt x="-1529" y="67195"/>
                    <a:pt x="17279" y="88717"/>
                    <a:pt x="42237" y="90344"/>
                  </a:cubicBezTo>
                  <a:cubicBezTo>
                    <a:pt x="67195" y="91972"/>
                    <a:pt x="88717" y="72982"/>
                    <a:pt x="90345" y="482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0" name="Google Shape;1350;p53"/>
            <p:cNvSpPr/>
            <p:nvPr/>
          </p:nvSpPr>
          <p:spPr>
            <a:xfrm>
              <a:off x="12004864" y="5128417"/>
              <a:ext cx="31531" cy="31531"/>
            </a:xfrm>
            <a:custGeom>
              <a:avLst/>
              <a:gdLst/>
              <a:ahLst/>
              <a:cxnLst/>
              <a:rect l="l" t="t" r="r" b="b"/>
              <a:pathLst>
                <a:path w="31531" h="31531" extrusionOk="0">
                  <a:moveTo>
                    <a:pt x="31500" y="16851"/>
                  </a:moveTo>
                  <a:cubicBezTo>
                    <a:pt x="32043" y="8170"/>
                    <a:pt x="25532" y="755"/>
                    <a:pt x="16851" y="32"/>
                  </a:cubicBezTo>
                  <a:cubicBezTo>
                    <a:pt x="8170" y="-511"/>
                    <a:pt x="755" y="6000"/>
                    <a:pt x="32" y="14681"/>
                  </a:cubicBezTo>
                  <a:cubicBezTo>
                    <a:pt x="-511" y="23362"/>
                    <a:pt x="6000" y="30777"/>
                    <a:pt x="14681" y="31500"/>
                  </a:cubicBezTo>
                  <a:cubicBezTo>
                    <a:pt x="23542" y="32043"/>
                    <a:pt x="30958" y="25532"/>
                    <a:pt x="31500" y="168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1" name="Google Shape;1351;p53"/>
            <p:cNvSpPr/>
            <p:nvPr/>
          </p:nvSpPr>
          <p:spPr>
            <a:xfrm>
              <a:off x="12523195" y="5669897"/>
              <a:ext cx="34059" cy="34059"/>
            </a:xfrm>
            <a:custGeom>
              <a:avLst/>
              <a:gdLst/>
              <a:ahLst/>
              <a:cxnLst/>
              <a:rect l="l" t="t" r="r" b="b"/>
              <a:pathLst>
                <a:path w="34059" h="34059" extrusionOk="0">
                  <a:moveTo>
                    <a:pt x="34030" y="18115"/>
                  </a:moveTo>
                  <a:cubicBezTo>
                    <a:pt x="34573" y="8710"/>
                    <a:pt x="27519" y="572"/>
                    <a:pt x="18115" y="29"/>
                  </a:cubicBezTo>
                  <a:cubicBezTo>
                    <a:pt x="8711" y="-513"/>
                    <a:pt x="572" y="6540"/>
                    <a:pt x="29" y="15945"/>
                  </a:cubicBezTo>
                  <a:cubicBezTo>
                    <a:pt x="-513" y="25349"/>
                    <a:pt x="6540" y="33487"/>
                    <a:pt x="15945" y="34030"/>
                  </a:cubicBezTo>
                  <a:cubicBezTo>
                    <a:pt x="25349" y="34573"/>
                    <a:pt x="33488" y="27519"/>
                    <a:pt x="34030" y="181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2" name="Google Shape;1352;p53"/>
            <p:cNvSpPr/>
            <p:nvPr/>
          </p:nvSpPr>
          <p:spPr>
            <a:xfrm>
              <a:off x="11863754" y="5691193"/>
              <a:ext cx="71767" cy="71767"/>
            </a:xfrm>
            <a:custGeom>
              <a:avLst/>
              <a:gdLst/>
              <a:ahLst/>
              <a:cxnLst/>
              <a:rect l="l" t="t" r="r" b="b"/>
              <a:pathLst>
                <a:path w="71767" h="71767" extrusionOk="0">
                  <a:moveTo>
                    <a:pt x="71693" y="38235"/>
                  </a:moveTo>
                  <a:cubicBezTo>
                    <a:pt x="72959" y="18522"/>
                    <a:pt x="57948" y="1341"/>
                    <a:pt x="38235" y="75"/>
                  </a:cubicBezTo>
                  <a:cubicBezTo>
                    <a:pt x="18522" y="-1191"/>
                    <a:pt x="1341" y="13820"/>
                    <a:pt x="75" y="33533"/>
                  </a:cubicBezTo>
                  <a:cubicBezTo>
                    <a:pt x="-1191" y="53246"/>
                    <a:pt x="13820" y="70427"/>
                    <a:pt x="33533" y="71693"/>
                  </a:cubicBezTo>
                  <a:cubicBezTo>
                    <a:pt x="53427" y="72959"/>
                    <a:pt x="70427" y="57948"/>
                    <a:pt x="71693" y="382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3" name="Google Shape;1353;p53"/>
            <p:cNvSpPr/>
            <p:nvPr/>
          </p:nvSpPr>
          <p:spPr>
            <a:xfrm>
              <a:off x="12008113" y="5131666"/>
              <a:ext cx="25213" cy="25194"/>
            </a:xfrm>
            <a:custGeom>
              <a:avLst/>
              <a:gdLst/>
              <a:ahLst/>
              <a:cxnLst/>
              <a:rect l="l" t="t" r="r" b="b"/>
              <a:pathLst>
                <a:path w="25213" h="25194" extrusionOk="0">
                  <a:moveTo>
                    <a:pt x="25176" y="13421"/>
                  </a:moveTo>
                  <a:cubicBezTo>
                    <a:pt x="25719" y="6367"/>
                    <a:pt x="20293" y="399"/>
                    <a:pt x="13421" y="37"/>
                  </a:cubicBezTo>
                  <a:cubicBezTo>
                    <a:pt x="6367" y="-505"/>
                    <a:pt x="399" y="4921"/>
                    <a:pt x="37" y="11793"/>
                  </a:cubicBezTo>
                  <a:cubicBezTo>
                    <a:pt x="-505" y="18846"/>
                    <a:pt x="4920" y="24815"/>
                    <a:pt x="11793" y="25176"/>
                  </a:cubicBezTo>
                  <a:cubicBezTo>
                    <a:pt x="18846" y="25538"/>
                    <a:pt x="24814" y="20293"/>
                    <a:pt x="25176" y="134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4" name="Google Shape;1354;p53"/>
            <p:cNvSpPr/>
            <p:nvPr/>
          </p:nvSpPr>
          <p:spPr>
            <a:xfrm>
              <a:off x="12527347" y="5674049"/>
              <a:ext cx="25936" cy="25916"/>
            </a:xfrm>
            <a:custGeom>
              <a:avLst/>
              <a:gdLst/>
              <a:ahLst/>
              <a:cxnLst/>
              <a:rect l="l" t="t" r="r" b="b"/>
              <a:pathLst>
                <a:path w="25936" h="25916" extrusionOk="0">
                  <a:moveTo>
                    <a:pt x="25899" y="13782"/>
                  </a:moveTo>
                  <a:cubicBezTo>
                    <a:pt x="26442" y="6548"/>
                    <a:pt x="21016" y="399"/>
                    <a:pt x="13782" y="37"/>
                  </a:cubicBezTo>
                  <a:cubicBezTo>
                    <a:pt x="6548" y="-505"/>
                    <a:pt x="399" y="4921"/>
                    <a:pt x="37" y="12155"/>
                  </a:cubicBezTo>
                  <a:cubicBezTo>
                    <a:pt x="-505" y="19389"/>
                    <a:pt x="4920" y="25538"/>
                    <a:pt x="12154" y="25900"/>
                  </a:cubicBezTo>
                  <a:cubicBezTo>
                    <a:pt x="19208" y="26261"/>
                    <a:pt x="25357" y="20836"/>
                    <a:pt x="25899" y="137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5" name="Google Shape;1355;p53"/>
            <p:cNvSpPr/>
            <p:nvPr/>
          </p:nvSpPr>
          <p:spPr>
            <a:xfrm>
              <a:off x="12448842" y="5157696"/>
              <a:ext cx="53996" cy="53996"/>
            </a:xfrm>
            <a:custGeom>
              <a:avLst/>
              <a:gdLst/>
              <a:ahLst/>
              <a:cxnLst/>
              <a:rect l="l" t="t" r="r" b="b"/>
              <a:pathLst>
                <a:path w="53996" h="53996" extrusionOk="0">
                  <a:moveTo>
                    <a:pt x="53946" y="28807"/>
                  </a:moveTo>
                  <a:cubicBezTo>
                    <a:pt x="54850" y="13977"/>
                    <a:pt x="43637" y="1136"/>
                    <a:pt x="28807" y="51"/>
                  </a:cubicBezTo>
                  <a:cubicBezTo>
                    <a:pt x="13977" y="-853"/>
                    <a:pt x="1137" y="10360"/>
                    <a:pt x="51" y="25190"/>
                  </a:cubicBezTo>
                  <a:cubicBezTo>
                    <a:pt x="-853" y="40020"/>
                    <a:pt x="10360" y="52861"/>
                    <a:pt x="25190" y="53946"/>
                  </a:cubicBezTo>
                  <a:cubicBezTo>
                    <a:pt x="40020" y="54850"/>
                    <a:pt x="52861" y="43637"/>
                    <a:pt x="53946" y="2880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6" name="Google Shape;1356;p53"/>
            <p:cNvSpPr/>
            <p:nvPr/>
          </p:nvSpPr>
          <p:spPr>
            <a:xfrm>
              <a:off x="12603143" y="3913992"/>
              <a:ext cx="24091" cy="24110"/>
            </a:xfrm>
            <a:custGeom>
              <a:avLst/>
              <a:gdLst/>
              <a:ahLst/>
              <a:cxnLst/>
              <a:rect l="l" t="t" r="r" b="b"/>
              <a:pathLst>
                <a:path w="24091" h="24110" extrusionOk="0">
                  <a:moveTo>
                    <a:pt x="24073" y="12859"/>
                  </a:moveTo>
                  <a:cubicBezTo>
                    <a:pt x="24434" y="6168"/>
                    <a:pt x="19551" y="561"/>
                    <a:pt x="12860" y="19"/>
                  </a:cubicBezTo>
                  <a:cubicBezTo>
                    <a:pt x="6168" y="-343"/>
                    <a:pt x="562" y="4540"/>
                    <a:pt x="19" y="11232"/>
                  </a:cubicBezTo>
                  <a:cubicBezTo>
                    <a:pt x="-343" y="17923"/>
                    <a:pt x="4540" y="23530"/>
                    <a:pt x="11232" y="24072"/>
                  </a:cubicBezTo>
                  <a:cubicBezTo>
                    <a:pt x="17924" y="24615"/>
                    <a:pt x="23530" y="19370"/>
                    <a:pt x="24073" y="128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7" name="Google Shape;1357;p53"/>
            <p:cNvSpPr/>
            <p:nvPr/>
          </p:nvSpPr>
          <p:spPr>
            <a:xfrm>
              <a:off x="12301460" y="3910177"/>
              <a:ext cx="26839" cy="26838"/>
            </a:xfrm>
            <a:custGeom>
              <a:avLst/>
              <a:gdLst/>
              <a:ahLst/>
              <a:cxnLst/>
              <a:rect l="l" t="t" r="r" b="b"/>
              <a:pathLst>
                <a:path w="26839" h="26838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345"/>
                    <a:pt x="26441" y="21739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8" name="Google Shape;1358;p53"/>
            <p:cNvSpPr/>
            <p:nvPr/>
          </p:nvSpPr>
          <p:spPr>
            <a:xfrm>
              <a:off x="12572314" y="3883344"/>
              <a:ext cx="85548" cy="85547"/>
            </a:xfrm>
            <a:custGeom>
              <a:avLst/>
              <a:gdLst/>
              <a:ahLst/>
              <a:cxnLst/>
              <a:rect l="l" t="t" r="r" b="b"/>
              <a:pathLst>
                <a:path w="85548" h="85547" extrusionOk="0">
                  <a:moveTo>
                    <a:pt x="85466" y="45497"/>
                  </a:moveTo>
                  <a:cubicBezTo>
                    <a:pt x="86913" y="21986"/>
                    <a:pt x="69189" y="1550"/>
                    <a:pt x="45497" y="103"/>
                  </a:cubicBezTo>
                  <a:cubicBezTo>
                    <a:pt x="21986" y="-1525"/>
                    <a:pt x="1549" y="16380"/>
                    <a:pt x="103" y="40071"/>
                  </a:cubicBezTo>
                  <a:cubicBezTo>
                    <a:pt x="-1525" y="63583"/>
                    <a:pt x="16380" y="84019"/>
                    <a:pt x="40071" y="85466"/>
                  </a:cubicBezTo>
                  <a:cubicBezTo>
                    <a:pt x="63583" y="86913"/>
                    <a:pt x="84019" y="69008"/>
                    <a:pt x="85466" y="4549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59" name="Google Shape;1359;p53"/>
            <p:cNvSpPr/>
            <p:nvPr/>
          </p:nvSpPr>
          <p:spPr>
            <a:xfrm>
              <a:off x="12301641" y="3910357"/>
              <a:ext cx="26477" cy="26477"/>
            </a:xfrm>
            <a:custGeom>
              <a:avLst/>
              <a:gdLst/>
              <a:ahLst/>
              <a:cxnLst/>
              <a:rect l="l" t="t" r="r" b="b"/>
              <a:pathLst>
                <a:path w="26477" h="26477" extrusionOk="0">
                  <a:moveTo>
                    <a:pt x="26441" y="14143"/>
                  </a:moveTo>
                  <a:cubicBezTo>
                    <a:pt x="26983" y="6909"/>
                    <a:pt x="21377" y="579"/>
                    <a:pt x="14143" y="36"/>
                  </a:cubicBezTo>
                  <a:cubicBezTo>
                    <a:pt x="6909" y="-506"/>
                    <a:pt x="579" y="5100"/>
                    <a:pt x="36" y="12335"/>
                  </a:cubicBezTo>
                  <a:cubicBezTo>
                    <a:pt x="-506" y="19569"/>
                    <a:pt x="5100" y="25899"/>
                    <a:pt x="12334" y="26441"/>
                  </a:cubicBezTo>
                  <a:cubicBezTo>
                    <a:pt x="19749" y="26984"/>
                    <a:pt x="25898" y="21377"/>
                    <a:pt x="26441" y="141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0" name="Google Shape;1360;p53"/>
            <p:cNvSpPr/>
            <p:nvPr/>
          </p:nvSpPr>
          <p:spPr>
            <a:xfrm>
              <a:off x="12605311" y="3916159"/>
              <a:ext cx="19756" cy="19756"/>
            </a:xfrm>
            <a:custGeom>
              <a:avLst/>
              <a:gdLst/>
              <a:ahLst/>
              <a:cxnLst/>
              <a:rect l="l" t="t" r="r" b="b"/>
              <a:pathLst>
                <a:path w="19756" h="19756" extrusionOk="0">
                  <a:moveTo>
                    <a:pt x="19735" y="10512"/>
                  </a:moveTo>
                  <a:cubicBezTo>
                    <a:pt x="20097" y="5086"/>
                    <a:pt x="15937" y="384"/>
                    <a:pt x="10511" y="22"/>
                  </a:cubicBezTo>
                  <a:cubicBezTo>
                    <a:pt x="5086" y="-340"/>
                    <a:pt x="383" y="3820"/>
                    <a:pt x="22" y="9245"/>
                  </a:cubicBezTo>
                  <a:cubicBezTo>
                    <a:pt x="-340" y="14671"/>
                    <a:pt x="3820" y="19373"/>
                    <a:pt x="9245" y="19735"/>
                  </a:cubicBezTo>
                  <a:cubicBezTo>
                    <a:pt x="14671" y="20097"/>
                    <a:pt x="19373" y="15937"/>
                    <a:pt x="19735" y="1051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1" name="Google Shape;1361;p53"/>
            <p:cNvSpPr/>
            <p:nvPr/>
          </p:nvSpPr>
          <p:spPr>
            <a:xfrm>
              <a:off x="11097491" y="3955550"/>
              <a:ext cx="47678" cy="47678"/>
            </a:xfrm>
            <a:custGeom>
              <a:avLst/>
              <a:gdLst/>
              <a:ahLst/>
              <a:cxnLst/>
              <a:rect l="l" t="t" r="r" b="b"/>
              <a:pathLst>
                <a:path w="47678" h="47678" extrusionOk="0">
                  <a:moveTo>
                    <a:pt x="47622" y="25377"/>
                  </a:moveTo>
                  <a:cubicBezTo>
                    <a:pt x="48526" y="12175"/>
                    <a:pt x="38579" y="781"/>
                    <a:pt x="25377" y="57"/>
                  </a:cubicBezTo>
                  <a:cubicBezTo>
                    <a:pt x="12174" y="-847"/>
                    <a:pt x="780" y="9100"/>
                    <a:pt x="57" y="22302"/>
                  </a:cubicBezTo>
                  <a:cubicBezTo>
                    <a:pt x="-847" y="35505"/>
                    <a:pt x="9100" y="46899"/>
                    <a:pt x="22302" y="47622"/>
                  </a:cubicBezTo>
                  <a:cubicBezTo>
                    <a:pt x="35324" y="48526"/>
                    <a:pt x="46718" y="38579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2" name="Google Shape;1362;p53"/>
            <p:cNvSpPr/>
            <p:nvPr/>
          </p:nvSpPr>
          <p:spPr>
            <a:xfrm>
              <a:off x="10679156" y="3167368"/>
              <a:ext cx="70324" cy="70323"/>
            </a:xfrm>
            <a:custGeom>
              <a:avLst/>
              <a:gdLst/>
              <a:ahLst/>
              <a:cxnLst/>
              <a:rect l="l" t="t" r="r" b="b"/>
              <a:pathLst>
                <a:path w="70324" h="70323" extrusionOk="0">
                  <a:moveTo>
                    <a:pt x="70248" y="37513"/>
                  </a:moveTo>
                  <a:cubicBezTo>
                    <a:pt x="71514" y="18162"/>
                    <a:pt x="56865" y="1342"/>
                    <a:pt x="37513" y="76"/>
                  </a:cubicBezTo>
                  <a:cubicBezTo>
                    <a:pt x="18162" y="-1190"/>
                    <a:pt x="1342" y="13459"/>
                    <a:pt x="76" y="32811"/>
                  </a:cubicBezTo>
                  <a:cubicBezTo>
                    <a:pt x="-1190" y="52162"/>
                    <a:pt x="13460" y="68982"/>
                    <a:pt x="32811" y="70248"/>
                  </a:cubicBezTo>
                  <a:cubicBezTo>
                    <a:pt x="52162" y="71514"/>
                    <a:pt x="68982" y="56865"/>
                    <a:pt x="70248" y="375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3" name="Google Shape;1363;p53"/>
            <p:cNvSpPr/>
            <p:nvPr/>
          </p:nvSpPr>
          <p:spPr>
            <a:xfrm>
              <a:off x="10203709" y="3532714"/>
              <a:ext cx="48038" cy="48038"/>
            </a:xfrm>
            <a:custGeom>
              <a:avLst/>
              <a:gdLst/>
              <a:ahLst/>
              <a:cxnLst/>
              <a:rect l="l" t="t" r="r" b="b"/>
              <a:pathLst>
                <a:path w="48038" h="48038" extrusionOk="0">
                  <a:moveTo>
                    <a:pt x="47982" y="25557"/>
                  </a:moveTo>
                  <a:cubicBezTo>
                    <a:pt x="48887" y="12354"/>
                    <a:pt x="38759" y="960"/>
                    <a:pt x="25557" y="56"/>
                  </a:cubicBezTo>
                  <a:cubicBezTo>
                    <a:pt x="12354" y="-848"/>
                    <a:pt x="960" y="9280"/>
                    <a:pt x="56" y="22482"/>
                  </a:cubicBezTo>
                  <a:cubicBezTo>
                    <a:pt x="-848" y="35685"/>
                    <a:pt x="9280" y="47078"/>
                    <a:pt x="22482" y="47983"/>
                  </a:cubicBezTo>
                  <a:cubicBezTo>
                    <a:pt x="35685" y="48887"/>
                    <a:pt x="47078" y="38759"/>
                    <a:pt x="47982" y="255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4" name="Google Shape;1364;p53"/>
            <p:cNvSpPr/>
            <p:nvPr/>
          </p:nvSpPr>
          <p:spPr>
            <a:xfrm>
              <a:off x="11107280" y="3965520"/>
              <a:ext cx="27920" cy="27921"/>
            </a:xfrm>
            <a:custGeom>
              <a:avLst/>
              <a:gdLst/>
              <a:ahLst/>
              <a:cxnLst/>
              <a:rect l="l" t="t" r="r" b="b"/>
              <a:pathLst>
                <a:path w="27920" h="27921" extrusionOk="0">
                  <a:moveTo>
                    <a:pt x="27886" y="14864"/>
                  </a:moveTo>
                  <a:cubicBezTo>
                    <a:pt x="28429" y="7088"/>
                    <a:pt x="22460" y="396"/>
                    <a:pt x="14864" y="34"/>
                  </a:cubicBezTo>
                  <a:cubicBezTo>
                    <a:pt x="7088" y="-508"/>
                    <a:pt x="396" y="5460"/>
                    <a:pt x="34" y="13056"/>
                  </a:cubicBezTo>
                  <a:cubicBezTo>
                    <a:pt x="-508" y="20833"/>
                    <a:pt x="5460" y="27524"/>
                    <a:pt x="13056" y="27886"/>
                  </a:cubicBezTo>
                  <a:cubicBezTo>
                    <a:pt x="20833" y="28429"/>
                    <a:pt x="27524" y="22641"/>
                    <a:pt x="27886" y="1486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5" name="Google Shape;1365;p53"/>
            <p:cNvSpPr/>
            <p:nvPr/>
          </p:nvSpPr>
          <p:spPr>
            <a:xfrm>
              <a:off x="11099526" y="3050781"/>
              <a:ext cx="9427" cy="9427"/>
            </a:xfrm>
            <a:custGeom>
              <a:avLst/>
              <a:gdLst/>
              <a:ahLst/>
              <a:cxnLst/>
              <a:rect l="l" t="t" r="r" b="b"/>
              <a:pathLst>
                <a:path w="9427" h="9427" extrusionOk="0">
                  <a:moveTo>
                    <a:pt x="9416" y="5075"/>
                  </a:moveTo>
                  <a:cubicBezTo>
                    <a:pt x="9597" y="2543"/>
                    <a:pt x="7607" y="192"/>
                    <a:pt x="5075" y="11"/>
                  </a:cubicBezTo>
                  <a:cubicBezTo>
                    <a:pt x="2543" y="-169"/>
                    <a:pt x="192" y="1820"/>
                    <a:pt x="11" y="4352"/>
                  </a:cubicBezTo>
                  <a:cubicBezTo>
                    <a:pt x="-169" y="6884"/>
                    <a:pt x="1820" y="9235"/>
                    <a:pt x="4352" y="9416"/>
                  </a:cubicBezTo>
                  <a:cubicBezTo>
                    <a:pt x="6884" y="9597"/>
                    <a:pt x="9235" y="7607"/>
                    <a:pt x="9416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6" name="Google Shape;1366;p53"/>
            <p:cNvSpPr/>
            <p:nvPr/>
          </p:nvSpPr>
          <p:spPr>
            <a:xfrm>
              <a:off x="10699996" y="3188208"/>
              <a:ext cx="28643" cy="28643"/>
            </a:xfrm>
            <a:custGeom>
              <a:avLst/>
              <a:gdLst/>
              <a:ahLst/>
              <a:cxnLst/>
              <a:rect l="l" t="t" r="r" b="b"/>
              <a:pathLst>
                <a:path w="28643" h="28643" extrusionOk="0">
                  <a:moveTo>
                    <a:pt x="28609" y="15226"/>
                  </a:moveTo>
                  <a:cubicBezTo>
                    <a:pt x="29152" y="7268"/>
                    <a:pt x="23184" y="577"/>
                    <a:pt x="15226" y="34"/>
                  </a:cubicBezTo>
                  <a:cubicBezTo>
                    <a:pt x="7268" y="-508"/>
                    <a:pt x="577" y="5460"/>
                    <a:pt x="34" y="13417"/>
                  </a:cubicBezTo>
                  <a:cubicBezTo>
                    <a:pt x="-508" y="21375"/>
                    <a:pt x="5460" y="28067"/>
                    <a:pt x="13417" y="28609"/>
                  </a:cubicBezTo>
                  <a:cubicBezTo>
                    <a:pt x="21194" y="29152"/>
                    <a:pt x="28066" y="23184"/>
                    <a:pt x="28609" y="152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7" name="Google Shape;1367;p53"/>
            <p:cNvSpPr/>
            <p:nvPr/>
          </p:nvSpPr>
          <p:spPr>
            <a:xfrm>
              <a:off x="11100942" y="3959001"/>
              <a:ext cx="40778" cy="40778"/>
            </a:xfrm>
            <a:custGeom>
              <a:avLst/>
              <a:gdLst/>
              <a:ahLst/>
              <a:cxnLst/>
              <a:rect l="l" t="t" r="r" b="b"/>
              <a:pathLst>
                <a:path w="40778" h="40778" extrusionOk="0">
                  <a:moveTo>
                    <a:pt x="40735" y="21745"/>
                  </a:moveTo>
                  <a:cubicBezTo>
                    <a:pt x="41459" y="10533"/>
                    <a:pt x="32958" y="767"/>
                    <a:pt x="21745" y="43"/>
                  </a:cubicBezTo>
                  <a:cubicBezTo>
                    <a:pt x="10533" y="-680"/>
                    <a:pt x="766" y="7820"/>
                    <a:pt x="43" y="19033"/>
                  </a:cubicBezTo>
                  <a:cubicBezTo>
                    <a:pt x="-681" y="30246"/>
                    <a:pt x="7820" y="40012"/>
                    <a:pt x="19033" y="40735"/>
                  </a:cubicBezTo>
                  <a:cubicBezTo>
                    <a:pt x="30246" y="41459"/>
                    <a:pt x="40012" y="32959"/>
                    <a:pt x="40735" y="2174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8" name="Google Shape;1368;p53"/>
            <p:cNvSpPr/>
            <p:nvPr/>
          </p:nvSpPr>
          <p:spPr>
            <a:xfrm>
              <a:off x="11095715" y="3046789"/>
              <a:ext cx="17411" cy="17411"/>
            </a:xfrm>
            <a:custGeom>
              <a:avLst/>
              <a:gdLst/>
              <a:ahLst/>
              <a:cxnLst/>
              <a:rect l="l" t="t" r="r" b="b"/>
              <a:pathLst>
                <a:path w="17411" h="17411" extrusionOk="0">
                  <a:moveTo>
                    <a:pt x="17387" y="9249"/>
                  </a:moveTo>
                  <a:cubicBezTo>
                    <a:pt x="17749" y="4365"/>
                    <a:pt x="14132" y="206"/>
                    <a:pt x="9249" y="25"/>
                  </a:cubicBezTo>
                  <a:cubicBezTo>
                    <a:pt x="4366" y="-337"/>
                    <a:pt x="206" y="3280"/>
                    <a:pt x="25" y="8163"/>
                  </a:cubicBezTo>
                  <a:cubicBezTo>
                    <a:pt x="-337" y="13046"/>
                    <a:pt x="3280" y="17206"/>
                    <a:pt x="8164" y="17387"/>
                  </a:cubicBezTo>
                  <a:cubicBezTo>
                    <a:pt x="12866" y="17749"/>
                    <a:pt x="17025" y="14132"/>
                    <a:pt x="17387" y="92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69" name="Google Shape;1369;p53"/>
            <p:cNvSpPr/>
            <p:nvPr/>
          </p:nvSpPr>
          <p:spPr>
            <a:xfrm>
              <a:off x="11092236" y="3950295"/>
              <a:ext cx="58189" cy="58189"/>
            </a:xfrm>
            <a:custGeom>
              <a:avLst/>
              <a:gdLst/>
              <a:ahLst/>
              <a:cxnLst/>
              <a:rect l="l" t="t" r="r" b="b"/>
              <a:pathLst>
                <a:path w="58189" h="58189" extrusionOk="0">
                  <a:moveTo>
                    <a:pt x="58122" y="30994"/>
                  </a:moveTo>
                  <a:cubicBezTo>
                    <a:pt x="59207" y="14897"/>
                    <a:pt x="47090" y="1153"/>
                    <a:pt x="30994" y="68"/>
                  </a:cubicBezTo>
                  <a:cubicBezTo>
                    <a:pt x="14897" y="-1018"/>
                    <a:pt x="1153" y="11100"/>
                    <a:pt x="68" y="27196"/>
                  </a:cubicBezTo>
                  <a:cubicBezTo>
                    <a:pt x="-1018" y="43292"/>
                    <a:pt x="11099" y="57037"/>
                    <a:pt x="27196" y="58122"/>
                  </a:cubicBezTo>
                  <a:cubicBezTo>
                    <a:pt x="43292" y="59207"/>
                    <a:pt x="57037" y="47090"/>
                    <a:pt x="58122" y="309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0" name="Google Shape;1370;p53"/>
            <p:cNvSpPr/>
            <p:nvPr/>
          </p:nvSpPr>
          <p:spPr>
            <a:xfrm>
              <a:off x="12296206" y="3904922"/>
              <a:ext cx="37349" cy="37349"/>
            </a:xfrm>
            <a:custGeom>
              <a:avLst/>
              <a:gdLst/>
              <a:ahLst/>
              <a:cxnLst/>
              <a:rect l="l" t="t" r="r" b="b"/>
              <a:pathLst>
                <a:path w="37349" h="37349" extrusionOk="0">
                  <a:moveTo>
                    <a:pt x="37303" y="19940"/>
                  </a:moveTo>
                  <a:cubicBezTo>
                    <a:pt x="38026" y="9632"/>
                    <a:pt x="30249" y="770"/>
                    <a:pt x="19940" y="47"/>
                  </a:cubicBezTo>
                  <a:cubicBezTo>
                    <a:pt x="9632" y="-677"/>
                    <a:pt x="770" y="7100"/>
                    <a:pt x="47" y="17409"/>
                  </a:cubicBezTo>
                  <a:cubicBezTo>
                    <a:pt x="-677" y="27717"/>
                    <a:pt x="7100" y="36579"/>
                    <a:pt x="17409" y="37303"/>
                  </a:cubicBezTo>
                  <a:cubicBezTo>
                    <a:pt x="27717" y="38026"/>
                    <a:pt x="36579" y="30249"/>
                    <a:pt x="37303" y="199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1" name="Google Shape;1371;p53"/>
            <p:cNvSpPr/>
            <p:nvPr/>
          </p:nvSpPr>
          <p:spPr>
            <a:xfrm>
              <a:off x="11362614" y="4185588"/>
              <a:ext cx="58549" cy="58530"/>
            </a:xfrm>
            <a:custGeom>
              <a:avLst/>
              <a:gdLst/>
              <a:ahLst/>
              <a:cxnLst/>
              <a:rect l="l" t="t" r="r" b="b"/>
              <a:pathLst>
                <a:path w="58549" h="58530" extrusionOk="0">
                  <a:moveTo>
                    <a:pt x="58483" y="31174"/>
                  </a:moveTo>
                  <a:cubicBezTo>
                    <a:pt x="59568" y="15078"/>
                    <a:pt x="47270" y="1152"/>
                    <a:pt x="31174" y="67"/>
                  </a:cubicBezTo>
                  <a:cubicBezTo>
                    <a:pt x="15078" y="-1018"/>
                    <a:pt x="1152" y="11280"/>
                    <a:pt x="67" y="27376"/>
                  </a:cubicBezTo>
                  <a:cubicBezTo>
                    <a:pt x="-1018" y="43472"/>
                    <a:pt x="11280" y="57397"/>
                    <a:pt x="27376" y="58483"/>
                  </a:cubicBezTo>
                  <a:cubicBezTo>
                    <a:pt x="43472" y="59387"/>
                    <a:pt x="57397" y="47270"/>
                    <a:pt x="58483" y="3117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2" name="Google Shape;1372;p53"/>
            <p:cNvSpPr/>
            <p:nvPr/>
          </p:nvSpPr>
          <p:spPr>
            <a:xfrm>
              <a:off x="11087932" y="3039187"/>
              <a:ext cx="32615" cy="32615"/>
            </a:xfrm>
            <a:custGeom>
              <a:avLst/>
              <a:gdLst/>
              <a:ahLst/>
              <a:cxnLst/>
              <a:rect l="l" t="t" r="r" b="b"/>
              <a:pathLst>
                <a:path w="32615" h="32615" extrusionOk="0">
                  <a:moveTo>
                    <a:pt x="32585" y="17393"/>
                  </a:moveTo>
                  <a:cubicBezTo>
                    <a:pt x="33127" y="8350"/>
                    <a:pt x="26435" y="754"/>
                    <a:pt x="17393" y="31"/>
                  </a:cubicBezTo>
                  <a:cubicBezTo>
                    <a:pt x="8350" y="-512"/>
                    <a:pt x="754" y="6180"/>
                    <a:pt x="31" y="15223"/>
                  </a:cubicBezTo>
                  <a:cubicBezTo>
                    <a:pt x="-512" y="24265"/>
                    <a:pt x="6180" y="31861"/>
                    <a:pt x="15222" y="32585"/>
                  </a:cubicBezTo>
                  <a:cubicBezTo>
                    <a:pt x="24265" y="33127"/>
                    <a:pt x="32042" y="26436"/>
                    <a:pt x="32585" y="173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3" name="Google Shape;1373;p53"/>
            <p:cNvSpPr/>
            <p:nvPr/>
          </p:nvSpPr>
          <p:spPr>
            <a:xfrm>
              <a:off x="12188375" y="2407768"/>
              <a:ext cx="79570" cy="79570"/>
            </a:xfrm>
            <a:custGeom>
              <a:avLst/>
              <a:gdLst/>
              <a:ahLst/>
              <a:cxnLst/>
              <a:rect l="l" t="t" r="r" b="b"/>
              <a:pathLst>
                <a:path w="79570" h="79570" extrusionOk="0">
                  <a:moveTo>
                    <a:pt x="79483" y="42408"/>
                  </a:moveTo>
                  <a:cubicBezTo>
                    <a:pt x="80930" y="20524"/>
                    <a:pt x="64291" y="1535"/>
                    <a:pt x="42408" y="88"/>
                  </a:cubicBezTo>
                  <a:cubicBezTo>
                    <a:pt x="20524" y="-1359"/>
                    <a:pt x="1535" y="15279"/>
                    <a:pt x="88" y="37163"/>
                  </a:cubicBezTo>
                  <a:cubicBezTo>
                    <a:pt x="-1359" y="59046"/>
                    <a:pt x="15279" y="78036"/>
                    <a:pt x="37163" y="79483"/>
                  </a:cubicBezTo>
                  <a:cubicBezTo>
                    <a:pt x="59046" y="80930"/>
                    <a:pt x="78036" y="64291"/>
                    <a:pt x="79483" y="424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4" name="Google Shape;1374;p53"/>
            <p:cNvSpPr/>
            <p:nvPr/>
          </p:nvSpPr>
          <p:spPr>
            <a:xfrm>
              <a:off x="11834861" y="2829938"/>
              <a:ext cx="30989" cy="30989"/>
            </a:xfrm>
            <a:custGeom>
              <a:avLst/>
              <a:gdLst/>
              <a:ahLst/>
              <a:cxnLst/>
              <a:rect l="l" t="t" r="r" b="b"/>
              <a:pathLst>
                <a:path w="30989" h="30989" extrusionOk="0">
                  <a:moveTo>
                    <a:pt x="30958" y="16489"/>
                  </a:moveTo>
                  <a:cubicBezTo>
                    <a:pt x="31500" y="7989"/>
                    <a:pt x="24989" y="574"/>
                    <a:pt x="16489" y="32"/>
                  </a:cubicBezTo>
                  <a:cubicBezTo>
                    <a:pt x="7989" y="-511"/>
                    <a:pt x="574" y="6000"/>
                    <a:pt x="32" y="14500"/>
                  </a:cubicBezTo>
                  <a:cubicBezTo>
                    <a:pt x="-511" y="23000"/>
                    <a:pt x="6000" y="30415"/>
                    <a:pt x="14500" y="30958"/>
                  </a:cubicBezTo>
                  <a:cubicBezTo>
                    <a:pt x="23000" y="31500"/>
                    <a:pt x="30415" y="24989"/>
                    <a:pt x="30958" y="1648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5" name="Google Shape;1375;p53"/>
            <p:cNvSpPr/>
            <p:nvPr/>
          </p:nvSpPr>
          <p:spPr>
            <a:xfrm>
              <a:off x="12205404" y="2424796"/>
              <a:ext cx="45512" cy="45512"/>
            </a:xfrm>
            <a:custGeom>
              <a:avLst/>
              <a:gdLst/>
              <a:ahLst/>
              <a:cxnLst/>
              <a:rect l="l" t="t" r="r" b="b"/>
              <a:pathLst>
                <a:path w="45512" h="45512" extrusionOk="0">
                  <a:moveTo>
                    <a:pt x="45454" y="24294"/>
                  </a:moveTo>
                  <a:cubicBezTo>
                    <a:pt x="46358" y="11815"/>
                    <a:pt x="36773" y="963"/>
                    <a:pt x="24293" y="59"/>
                  </a:cubicBezTo>
                  <a:cubicBezTo>
                    <a:pt x="11814" y="-845"/>
                    <a:pt x="964" y="8740"/>
                    <a:pt x="59" y="21219"/>
                  </a:cubicBezTo>
                  <a:cubicBezTo>
                    <a:pt x="-845" y="33698"/>
                    <a:pt x="8740" y="44549"/>
                    <a:pt x="21219" y="45453"/>
                  </a:cubicBezTo>
                  <a:cubicBezTo>
                    <a:pt x="33879" y="46358"/>
                    <a:pt x="44730" y="36773"/>
                    <a:pt x="45454" y="242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6" name="Google Shape;1376;p53"/>
            <p:cNvSpPr/>
            <p:nvPr/>
          </p:nvSpPr>
          <p:spPr>
            <a:xfrm>
              <a:off x="11822344" y="2817421"/>
              <a:ext cx="56203" cy="56203"/>
            </a:xfrm>
            <a:custGeom>
              <a:avLst/>
              <a:gdLst/>
              <a:ahLst/>
              <a:cxnLst/>
              <a:rect l="l" t="t" r="r" b="b"/>
              <a:pathLst>
                <a:path w="56203" h="56203" extrusionOk="0">
                  <a:moveTo>
                    <a:pt x="56134" y="29910"/>
                  </a:moveTo>
                  <a:cubicBezTo>
                    <a:pt x="57220" y="14357"/>
                    <a:pt x="45464" y="974"/>
                    <a:pt x="29910" y="69"/>
                  </a:cubicBezTo>
                  <a:cubicBezTo>
                    <a:pt x="14357" y="-1016"/>
                    <a:pt x="974" y="10740"/>
                    <a:pt x="69" y="26293"/>
                  </a:cubicBezTo>
                  <a:cubicBezTo>
                    <a:pt x="-1016" y="41847"/>
                    <a:pt x="10740" y="55230"/>
                    <a:pt x="26293" y="56134"/>
                  </a:cubicBezTo>
                  <a:cubicBezTo>
                    <a:pt x="41666" y="57219"/>
                    <a:pt x="55049" y="45464"/>
                    <a:pt x="56134" y="2991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7" name="Google Shape;1377;p53"/>
            <p:cNvSpPr/>
            <p:nvPr/>
          </p:nvSpPr>
          <p:spPr>
            <a:xfrm>
              <a:off x="12260419" y="3077354"/>
              <a:ext cx="17952" cy="17952"/>
            </a:xfrm>
            <a:custGeom>
              <a:avLst/>
              <a:gdLst/>
              <a:ahLst/>
              <a:cxnLst/>
              <a:rect l="l" t="t" r="r" b="b"/>
              <a:pathLst>
                <a:path w="17952" h="17952" extrusionOk="0">
                  <a:moveTo>
                    <a:pt x="17928" y="9609"/>
                  </a:moveTo>
                  <a:cubicBezTo>
                    <a:pt x="18290" y="4726"/>
                    <a:pt x="14492" y="386"/>
                    <a:pt x="9609" y="24"/>
                  </a:cubicBezTo>
                  <a:cubicBezTo>
                    <a:pt x="4726" y="-338"/>
                    <a:pt x="385" y="3460"/>
                    <a:pt x="24" y="8343"/>
                  </a:cubicBezTo>
                  <a:cubicBezTo>
                    <a:pt x="-338" y="13226"/>
                    <a:pt x="3460" y="17567"/>
                    <a:pt x="8343" y="17929"/>
                  </a:cubicBezTo>
                  <a:cubicBezTo>
                    <a:pt x="13407" y="18290"/>
                    <a:pt x="17748" y="14492"/>
                    <a:pt x="17928" y="96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8" name="Google Shape;1378;p53"/>
            <p:cNvSpPr/>
            <p:nvPr/>
          </p:nvSpPr>
          <p:spPr>
            <a:xfrm>
              <a:off x="12204862" y="2424255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4"/>
                    <a:pt x="37676" y="781"/>
                    <a:pt x="24835" y="58"/>
                  </a:cubicBezTo>
                  <a:cubicBezTo>
                    <a:pt x="11995" y="-846"/>
                    <a:pt x="782" y="8920"/>
                    <a:pt x="58" y="21761"/>
                  </a:cubicBezTo>
                  <a:cubicBezTo>
                    <a:pt x="-846" y="34601"/>
                    <a:pt x="8920" y="45814"/>
                    <a:pt x="21761" y="46538"/>
                  </a:cubicBezTo>
                  <a:cubicBezTo>
                    <a:pt x="34601" y="47442"/>
                    <a:pt x="45814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79" name="Google Shape;1379;p53"/>
            <p:cNvSpPr/>
            <p:nvPr/>
          </p:nvSpPr>
          <p:spPr>
            <a:xfrm>
              <a:off x="11843565" y="2838642"/>
              <a:ext cx="13581" cy="13603"/>
            </a:xfrm>
            <a:custGeom>
              <a:avLst/>
              <a:gdLst/>
              <a:ahLst/>
              <a:cxnLst/>
              <a:rect l="l" t="t" r="r" b="b"/>
              <a:pathLst>
                <a:path w="13581" h="13603" extrusionOk="0">
                  <a:moveTo>
                    <a:pt x="13573" y="7243"/>
                  </a:moveTo>
                  <a:cubicBezTo>
                    <a:pt x="13753" y="3445"/>
                    <a:pt x="11041" y="189"/>
                    <a:pt x="7243" y="9"/>
                  </a:cubicBezTo>
                  <a:cubicBezTo>
                    <a:pt x="3445" y="-172"/>
                    <a:pt x="189" y="2540"/>
                    <a:pt x="9" y="6338"/>
                  </a:cubicBezTo>
                  <a:cubicBezTo>
                    <a:pt x="-172" y="10136"/>
                    <a:pt x="2540" y="13392"/>
                    <a:pt x="6339" y="13573"/>
                  </a:cubicBezTo>
                  <a:cubicBezTo>
                    <a:pt x="10136" y="13934"/>
                    <a:pt x="13392" y="11041"/>
                    <a:pt x="13573" y="72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0" name="Google Shape;1380;p53"/>
            <p:cNvSpPr/>
            <p:nvPr/>
          </p:nvSpPr>
          <p:spPr>
            <a:xfrm>
              <a:off x="12236128" y="3053064"/>
              <a:ext cx="66352" cy="66352"/>
            </a:xfrm>
            <a:custGeom>
              <a:avLst/>
              <a:gdLst/>
              <a:ahLst/>
              <a:cxnLst/>
              <a:rect l="l" t="t" r="r" b="b"/>
              <a:pathLst>
                <a:path w="66352" h="66352" extrusionOk="0">
                  <a:moveTo>
                    <a:pt x="66273" y="35346"/>
                  </a:moveTo>
                  <a:cubicBezTo>
                    <a:pt x="67538" y="17080"/>
                    <a:pt x="53613" y="1346"/>
                    <a:pt x="35346" y="80"/>
                  </a:cubicBezTo>
                  <a:cubicBezTo>
                    <a:pt x="17080" y="-1186"/>
                    <a:pt x="1346" y="12740"/>
                    <a:pt x="80" y="31006"/>
                  </a:cubicBezTo>
                  <a:cubicBezTo>
                    <a:pt x="-1186" y="49272"/>
                    <a:pt x="12739" y="65007"/>
                    <a:pt x="31006" y="66273"/>
                  </a:cubicBezTo>
                  <a:cubicBezTo>
                    <a:pt x="49453" y="67539"/>
                    <a:pt x="65188" y="53613"/>
                    <a:pt x="66273" y="3534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1" name="Google Shape;1381;p53"/>
            <p:cNvSpPr/>
            <p:nvPr/>
          </p:nvSpPr>
          <p:spPr>
            <a:xfrm>
              <a:off x="12201269" y="3152579"/>
              <a:ext cx="28643" cy="28624"/>
            </a:xfrm>
            <a:custGeom>
              <a:avLst/>
              <a:gdLst/>
              <a:ahLst/>
              <a:cxnLst/>
              <a:rect l="l" t="t" r="r" b="b"/>
              <a:pathLst>
                <a:path w="28643" h="28624" extrusionOk="0">
                  <a:moveTo>
                    <a:pt x="28609" y="15226"/>
                  </a:moveTo>
                  <a:cubicBezTo>
                    <a:pt x="29152" y="7449"/>
                    <a:pt x="23184" y="577"/>
                    <a:pt x="15226" y="34"/>
                  </a:cubicBezTo>
                  <a:cubicBezTo>
                    <a:pt x="7449" y="-508"/>
                    <a:pt x="577" y="5460"/>
                    <a:pt x="34" y="13417"/>
                  </a:cubicBezTo>
                  <a:cubicBezTo>
                    <a:pt x="-509" y="21194"/>
                    <a:pt x="5460" y="28067"/>
                    <a:pt x="13417" y="28609"/>
                  </a:cubicBezTo>
                  <a:cubicBezTo>
                    <a:pt x="21194" y="28971"/>
                    <a:pt x="28067" y="23003"/>
                    <a:pt x="28609" y="152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2" name="Google Shape;1382;p53"/>
            <p:cNvSpPr/>
            <p:nvPr/>
          </p:nvSpPr>
          <p:spPr>
            <a:xfrm>
              <a:off x="11826516" y="2821593"/>
              <a:ext cx="47678" cy="47678"/>
            </a:xfrm>
            <a:custGeom>
              <a:avLst/>
              <a:gdLst/>
              <a:ahLst/>
              <a:cxnLst/>
              <a:rect l="l" t="t" r="r" b="b"/>
              <a:pathLst>
                <a:path w="47678" h="47678" extrusionOk="0">
                  <a:moveTo>
                    <a:pt x="47622" y="25377"/>
                  </a:moveTo>
                  <a:cubicBezTo>
                    <a:pt x="48526" y="12174"/>
                    <a:pt x="38579" y="781"/>
                    <a:pt x="25377" y="57"/>
                  </a:cubicBezTo>
                  <a:cubicBezTo>
                    <a:pt x="12174" y="-847"/>
                    <a:pt x="781" y="9100"/>
                    <a:pt x="57" y="22302"/>
                  </a:cubicBezTo>
                  <a:cubicBezTo>
                    <a:pt x="-847" y="35505"/>
                    <a:pt x="9100" y="46898"/>
                    <a:pt x="22302" y="47622"/>
                  </a:cubicBezTo>
                  <a:cubicBezTo>
                    <a:pt x="35505" y="48526"/>
                    <a:pt x="46718" y="38579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3" name="Google Shape;1383;p53"/>
            <p:cNvSpPr/>
            <p:nvPr/>
          </p:nvSpPr>
          <p:spPr>
            <a:xfrm>
              <a:off x="12244112" y="3060866"/>
              <a:ext cx="50747" cy="50747"/>
            </a:xfrm>
            <a:custGeom>
              <a:avLst/>
              <a:gdLst/>
              <a:ahLst/>
              <a:cxnLst/>
              <a:rect l="l" t="t" r="r" b="b"/>
              <a:pathLst>
                <a:path w="50747" h="50747" extrusionOk="0">
                  <a:moveTo>
                    <a:pt x="50693" y="27002"/>
                  </a:moveTo>
                  <a:cubicBezTo>
                    <a:pt x="51597" y="13076"/>
                    <a:pt x="41108" y="959"/>
                    <a:pt x="27002" y="54"/>
                  </a:cubicBezTo>
                  <a:cubicBezTo>
                    <a:pt x="12895" y="-850"/>
                    <a:pt x="958" y="9640"/>
                    <a:pt x="54" y="23746"/>
                  </a:cubicBezTo>
                  <a:cubicBezTo>
                    <a:pt x="-850" y="37672"/>
                    <a:pt x="9640" y="49789"/>
                    <a:pt x="23746" y="50694"/>
                  </a:cubicBezTo>
                  <a:cubicBezTo>
                    <a:pt x="37672" y="51598"/>
                    <a:pt x="49789" y="41108"/>
                    <a:pt x="50693" y="270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4" name="Google Shape;1384;p53"/>
            <p:cNvSpPr/>
            <p:nvPr/>
          </p:nvSpPr>
          <p:spPr>
            <a:xfrm>
              <a:off x="12479244" y="2430430"/>
              <a:ext cx="30267" cy="30267"/>
            </a:xfrm>
            <a:custGeom>
              <a:avLst/>
              <a:gdLst/>
              <a:ahLst/>
              <a:cxnLst/>
              <a:rect l="l" t="t" r="r" b="b"/>
              <a:pathLst>
                <a:path w="30267" h="30267" extrusionOk="0">
                  <a:moveTo>
                    <a:pt x="30235" y="16128"/>
                  </a:moveTo>
                  <a:cubicBezTo>
                    <a:pt x="30777" y="7809"/>
                    <a:pt x="24447" y="575"/>
                    <a:pt x="16128" y="32"/>
                  </a:cubicBezTo>
                  <a:cubicBezTo>
                    <a:pt x="7809" y="-510"/>
                    <a:pt x="575" y="5820"/>
                    <a:pt x="32" y="14139"/>
                  </a:cubicBezTo>
                  <a:cubicBezTo>
                    <a:pt x="-510" y="22458"/>
                    <a:pt x="5819" y="29693"/>
                    <a:pt x="14139" y="30235"/>
                  </a:cubicBezTo>
                  <a:cubicBezTo>
                    <a:pt x="22458" y="30778"/>
                    <a:pt x="29692" y="24448"/>
                    <a:pt x="30235" y="161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5" name="Google Shape;1385;p53"/>
            <p:cNvSpPr/>
            <p:nvPr/>
          </p:nvSpPr>
          <p:spPr>
            <a:xfrm>
              <a:off x="12206146" y="2425518"/>
              <a:ext cx="43847" cy="43889"/>
            </a:xfrm>
            <a:custGeom>
              <a:avLst/>
              <a:gdLst/>
              <a:ahLst/>
              <a:cxnLst/>
              <a:rect l="l" t="t" r="r" b="b"/>
              <a:pathLst>
                <a:path w="43847" h="43889" extrusionOk="0">
                  <a:moveTo>
                    <a:pt x="43807" y="23391"/>
                  </a:moveTo>
                  <a:cubicBezTo>
                    <a:pt x="44531" y="11274"/>
                    <a:pt x="35488" y="965"/>
                    <a:pt x="23371" y="61"/>
                  </a:cubicBezTo>
                  <a:cubicBezTo>
                    <a:pt x="11253" y="-843"/>
                    <a:pt x="945" y="8381"/>
                    <a:pt x="41" y="20498"/>
                  </a:cubicBezTo>
                  <a:cubicBezTo>
                    <a:pt x="-683" y="32615"/>
                    <a:pt x="8360" y="42924"/>
                    <a:pt x="20477" y="43828"/>
                  </a:cubicBezTo>
                  <a:cubicBezTo>
                    <a:pt x="32594" y="44732"/>
                    <a:pt x="43084" y="35509"/>
                    <a:pt x="43807" y="233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6" name="Google Shape;1386;p53"/>
            <p:cNvSpPr/>
            <p:nvPr/>
          </p:nvSpPr>
          <p:spPr>
            <a:xfrm>
              <a:off x="12255705" y="3072460"/>
              <a:ext cx="27560" cy="27560"/>
            </a:xfrm>
            <a:custGeom>
              <a:avLst/>
              <a:gdLst/>
              <a:ahLst/>
              <a:cxnLst/>
              <a:rect l="l" t="t" r="r" b="b"/>
              <a:pathLst>
                <a:path w="27560" h="27560" extrusionOk="0">
                  <a:moveTo>
                    <a:pt x="27525" y="14684"/>
                  </a:moveTo>
                  <a:cubicBezTo>
                    <a:pt x="28068" y="7089"/>
                    <a:pt x="22281" y="578"/>
                    <a:pt x="14684" y="35"/>
                  </a:cubicBezTo>
                  <a:cubicBezTo>
                    <a:pt x="7089" y="-507"/>
                    <a:pt x="578" y="5280"/>
                    <a:pt x="35" y="12876"/>
                  </a:cubicBezTo>
                  <a:cubicBezTo>
                    <a:pt x="-507" y="20472"/>
                    <a:pt x="5280" y="26983"/>
                    <a:pt x="12876" y="27525"/>
                  </a:cubicBezTo>
                  <a:cubicBezTo>
                    <a:pt x="20472" y="28068"/>
                    <a:pt x="26983" y="22280"/>
                    <a:pt x="27525" y="146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7" name="Google Shape;1387;p53"/>
            <p:cNvSpPr/>
            <p:nvPr/>
          </p:nvSpPr>
          <p:spPr>
            <a:xfrm>
              <a:off x="12207247" y="3158557"/>
              <a:ext cx="16688" cy="16670"/>
            </a:xfrm>
            <a:custGeom>
              <a:avLst/>
              <a:gdLst/>
              <a:ahLst/>
              <a:cxnLst/>
              <a:rect l="l" t="t" r="r" b="b"/>
              <a:pathLst>
                <a:path w="16688" h="16670" extrusionOk="0">
                  <a:moveTo>
                    <a:pt x="16664" y="8887"/>
                  </a:moveTo>
                  <a:cubicBezTo>
                    <a:pt x="17025" y="4365"/>
                    <a:pt x="13408" y="387"/>
                    <a:pt x="8887" y="25"/>
                  </a:cubicBezTo>
                  <a:cubicBezTo>
                    <a:pt x="4365" y="-337"/>
                    <a:pt x="386" y="3280"/>
                    <a:pt x="25" y="7802"/>
                  </a:cubicBezTo>
                  <a:cubicBezTo>
                    <a:pt x="-337" y="12323"/>
                    <a:pt x="3280" y="16302"/>
                    <a:pt x="7802" y="16664"/>
                  </a:cubicBezTo>
                  <a:cubicBezTo>
                    <a:pt x="12323" y="16844"/>
                    <a:pt x="16302" y="13408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8" name="Google Shape;1388;p53"/>
            <p:cNvSpPr/>
            <p:nvPr/>
          </p:nvSpPr>
          <p:spPr>
            <a:xfrm>
              <a:off x="12247381" y="3064136"/>
              <a:ext cx="44208" cy="44229"/>
            </a:xfrm>
            <a:custGeom>
              <a:avLst/>
              <a:gdLst/>
              <a:ahLst/>
              <a:cxnLst/>
              <a:rect l="l" t="t" r="r" b="b"/>
              <a:pathLst>
                <a:path w="44208" h="44229" extrusionOk="0">
                  <a:moveTo>
                    <a:pt x="44168" y="23551"/>
                  </a:moveTo>
                  <a:cubicBezTo>
                    <a:pt x="44892" y="11434"/>
                    <a:pt x="35668" y="763"/>
                    <a:pt x="23551" y="40"/>
                  </a:cubicBezTo>
                  <a:cubicBezTo>
                    <a:pt x="11434" y="-684"/>
                    <a:pt x="763" y="8540"/>
                    <a:pt x="40" y="20657"/>
                  </a:cubicBezTo>
                  <a:cubicBezTo>
                    <a:pt x="-684" y="32774"/>
                    <a:pt x="8540" y="43445"/>
                    <a:pt x="20657" y="44168"/>
                  </a:cubicBezTo>
                  <a:cubicBezTo>
                    <a:pt x="32774" y="45073"/>
                    <a:pt x="43445" y="35849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89" name="Google Shape;1389;p53"/>
            <p:cNvSpPr/>
            <p:nvPr/>
          </p:nvSpPr>
          <p:spPr>
            <a:xfrm>
              <a:off x="12468734" y="2419919"/>
              <a:ext cx="51108" cy="51107"/>
            </a:xfrm>
            <a:custGeom>
              <a:avLst/>
              <a:gdLst/>
              <a:ahLst/>
              <a:cxnLst/>
              <a:rect l="l" t="t" r="r" b="b"/>
              <a:pathLst>
                <a:path w="51108" h="51107" extrusionOk="0">
                  <a:moveTo>
                    <a:pt x="51055" y="27182"/>
                  </a:moveTo>
                  <a:cubicBezTo>
                    <a:pt x="51959" y="13075"/>
                    <a:pt x="41288" y="958"/>
                    <a:pt x="27182" y="53"/>
                  </a:cubicBezTo>
                  <a:cubicBezTo>
                    <a:pt x="13075" y="-851"/>
                    <a:pt x="958" y="9820"/>
                    <a:pt x="53" y="23926"/>
                  </a:cubicBezTo>
                  <a:cubicBezTo>
                    <a:pt x="-851" y="38033"/>
                    <a:pt x="9820" y="50150"/>
                    <a:pt x="23926" y="51054"/>
                  </a:cubicBezTo>
                  <a:cubicBezTo>
                    <a:pt x="38033" y="51959"/>
                    <a:pt x="50151" y="41288"/>
                    <a:pt x="51055" y="271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0" name="Google Shape;1390;p53"/>
            <p:cNvSpPr/>
            <p:nvPr/>
          </p:nvSpPr>
          <p:spPr>
            <a:xfrm>
              <a:off x="8617628" y="4146727"/>
              <a:ext cx="39875" cy="39875"/>
            </a:xfrm>
            <a:custGeom>
              <a:avLst/>
              <a:gdLst/>
              <a:ahLst/>
              <a:cxnLst/>
              <a:rect l="l" t="t" r="r" b="b"/>
              <a:pathLst>
                <a:path w="39875" h="39875" extrusionOk="0">
                  <a:moveTo>
                    <a:pt x="39832" y="21204"/>
                  </a:moveTo>
                  <a:cubicBezTo>
                    <a:pt x="40555" y="10172"/>
                    <a:pt x="32236" y="586"/>
                    <a:pt x="21204" y="44"/>
                  </a:cubicBezTo>
                  <a:cubicBezTo>
                    <a:pt x="10172" y="-680"/>
                    <a:pt x="586" y="7640"/>
                    <a:pt x="44" y="18672"/>
                  </a:cubicBezTo>
                  <a:cubicBezTo>
                    <a:pt x="-680" y="29704"/>
                    <a:pt x="7640" y="39108"/>
                    <a:pt x="18672" y="39832"/>
                  </a:cubicBezTo>
                  <a:cubicBezTo>
                    <a:pt x="29523" y="40555"/>
                    <a:pt x="39108" y="32236"/>
                    <a:pt x="39832" y="212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1" name="Google Shape;1391;p53"/>
            <p:cNvSpPr/>
            <p:nvPr/>
          </p:nvSpPr>
          <p:spPr>
            <a:xfrm>
              <a:off x="9805067" y="4535513"/>
              <a:ext cx="93691" cy="93690"/>
            </a:xfrm>
            <a:custGeom>
              <a:avLst/>
              <a:gdLst/>
              <a:ahLst/>
              <a:cxnLst/>
              <a:rect l="l" t="t" r="r" b="b"/>
              <a:pathLst>
                <a:path w="93691" h="93690" extrusionOk="0">
                  <a:moveTo>
                    <a:pt x="93597" y="49830"/>
                  </a:moveTo>
                  <a:cubicBezTo>
                    <a:pt x="95224" y="23967"/>
                    <a:pt x="75692" y="1722"/>
                    <a:pt x="49830" y="95"/>
                  </a:cubicBezTo>
                  <a:cubicBezTo>
                    <a:pt x="23968" y="-1533"/>
                    <a:pt x="1723" y="17999"/>
                    <a:pt x="95" y="43861"/>
                  </a:cubicBezTo>
                  <a:cubicBezTo>
                    <a:pt x="-1533" y="69724"/>
                    <a:pt x="17999" y="91969"/>
                    <a:pt x="43862" y="93596"/>
                  </a:cubicBezTo>
                  <a:cubicBezTo>
                    <a:pt x="69543" y="95224"/>
                    <a:pt x="91788" y="75511"/>
                    <a:pt x="93597" y="498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2" name="Google Shape;1392;p53"/>
            <p:cNvSpPr/>
            <p:nvPr/>
          </p:nvSpPr>
          <p:spPr>
            <a:xfrm>
              <a:off x="9508761" y="5135340"/>
              <a:ext cx="152421" cy="152442"/>
            </a:xfrm>
            <a:custGeom>
              <a:avLst/>
              <a:gdLst/>
              <a:ahLst/>
              <a:cxnLst/>
              <a:rect l="l" t="t" r="r" b="b"/>
              <a:pathLst>
                <a:path w="152421" h="152442" extrusionOk="0">
                  <a:moveTo>
                    <a:pt x="152260" y="81184"/>
                  </a:moveTo>
                  <a:cubicBezTo>
                    <a:pt x="154973" y="39226"/>
                    <a:pt x="123142" y="2874"/>
                    <a:pt x="81184" y="161"/>
                  </a:cubicBezTo>
                  <a:cubicBezTo>
                    <a:pt x="39226" y="-2551"/>
                    <a:pt x="2874" y="29279"/>
                    <a:pt x="161" y="71237"/>
                  </a:cubicBezTo>
                  <a:cubicBezTo>
                    <a:pt x="-2551" y="113195"/>
                    <a:pt x="29279" y="149547"/>
                    <a:pt x="71237" y="152260"/>
                  </a:cubicBezTo>
                  <a:cubicBezTo>
                    <a:pt x="113195" y="155154"/>
                    <a:pt x="149366" y="123323"/>
                    <a:pt x="152260" y="8118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3" name="Google Shape;1393;p53"/>
            <p:cNvSpPr/>
            <p:nvPr/>
          </p:nvSpPr>
          <p:spPr>
            <a:xfrm>
              <a:off x="8908412" y="4946073"/>
              <a:ext cx="72489" cy="72489"/>
            </a:xfrm>
            <a:custGeom>
              <a:avLst/>
              <a:gdLst/>
              <a:ahLst/>
              <a:cxnLst/>
              <a:rect l="l" t="t" r="r" b="b"/>
              <a:pathLst>
                <a:path w="72489" h="72489" extrusionOk="0">
                  <a:moveTo>
                    <a:pt x="72416" y="38596"/>
                  </a:moveTo>
                  <a:cubicBezTo>
                    <a:pt x="73681" y="18521"/>
                    <a:pt x="58490" y="1340"/>
                    <a:pt x="38596" y="74"/>
                  </a:cubicBezTo>
                  <a:cubicBezTo>
                    <a:pt x="18521" y="-1192"/>
                    <a:pt x="1340" y="14000"/>
                    <a:pt x="74" y="33893"/>
                  </a:cubicBezTo>
                  <a:cubicBezTo>
                    <a:pt x="-1192" y="53968"/>
                    <a:pt x="13999" y="71150"/>
                    <a:pt x="33894" y="72415"/>
                  </a:cubicBezTo>
                  <a:cubicBezTo>
                    <a:pt x="53968" y="73682"/>
                    <a:pt x="71150" y="58490"/>
                    <a:pt x="72416" y="385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4" name="Google Shape;1394;p53"/>
            <p:cNvSpPr/>
            <p:nvPr/>
          </p:nvSpPr>
          <p:spPr>
            <a:xfrm>
              <a:off x="9842034" y="4572479"/>
              <a:ext cx="19396" cy="19397"/>
            </a:xfrm>
            <a:custGeom>
              <a:avLst/>
              <a:gdLst/>
              <a:ahLst/>
              <a:cxnLst/>
              <a:rect l="l" t="t" r="r" b="b"/>
              <a:pathLst>
                <a:path w="19396" h="19397" extrusionOk="0">
                  <a:moveTo>
                    <a:pt x="19374" y="10332"/>
                  </a:moveTo>
                  <a:cubicBezTo>
                    <a:pt x="19736" y="5087"/>
                    <a:pt x="15757" y="385"/>
                    <a:pt x="10331" y="23"/>
                  </a:cubicBezTo>
                  <a:cubicBezTo>
                    <a:pt x="5087" y="-339"/>
                    <a:pt x="385" y="3640"/>
                    <a:pt x="23" y="9066"/>
                  </a:cubicBezTo>
                  <a:cubicBezTo>
                    <a:pt x="-339" y="14310"/>
                    <a:pt x="3640" y="19013"/>
                    <a:pt x="9066" y="19374"/>
                  </a:cubicBezTo>
                  <a:cubicBezTo>
                    <a:pt x="14491" y="19736"/>
                    <a:pt x="19193" y="15757"/>
                    <a:pt x="19374" y="10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5" name="Google Shape;1395;p53"/>
            <p:cNvSpPr/>
            <p:nvPr/>
          </p:nvSpPr>
          <p:spPr>
            <a:xfrm>
              <a:off x="10388542" y="4873386"/>
              <a:ext cx="46955" cy="46956"/>
            </a:xfrm>
            <a:custGeom>
              <a:avLst/>
              <a:gdLst/>
              <a:ahLst/>
              <a:cxnLst/>
              <a:rect l="l" t="t" r="r" b="b"/>
              <a:pathLst>
                <a:path w="46955" h="46956" extrusionOk="0">
                  <a:moveTo>
                    <a:pt x="46898" y="25015"/>
                  </a:moveTo>
                  <a:cubicBezTo>
                    <a:pt x="47803" y="11994"/>
                    <a:pt x="37856" y="961"/>
                    <a:pt x="25015" y="57"/>
                  </a:cubicBezTo>
                  <a:cubicBezTo>
                    <a:pt x="11994" y="-847"/>
                    <a:pt x="961" y="9100"/>
                    <a:pt x="57" y="21941"/>
                  </a:cubicBezTo>
                  <a:cubicBezTo>
                    <a:pt x="-847" y="34781"/>
                    <a:pt x="9100" y="45994"/>
                    <a:pt x="21940" y="46899"/>
                  </a:cubicBezTo>
                  <a:cubicBezTo>
                    <a:pt x="34962" y="47803"/>
                    <a:pt x="46175" y="38037"/>
                    <a:pt x="46898" y="250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6" name="Google Shape;1396;p53"/>
            <p:cNvSpPr/>
            <p:nvPr/>
          </p:nvSpPr>
          <p:spPr>
            <a:xfrm>
              <a:off x="9565485" y="5192245"/>
              <a:ext cx="38792" cy="38792"/>
            </a:xfrm>
            <a:custGeom>
              <a:avLst/>
              <a:gdLst/>
              <a:ahLst/>
              <a:cxnLst/>
              <a:rect l="l" t="t" r="r" b="b"/>
              <a:pathLst>
                <a:path w="38792" h="38792" extrusionOk="0">
                  <a:moveTo>
                    <a:pt x="38748" y="20662"/>
                  </a:moveTo>
                  <a:cubicBezTo>
                    <a:pt x="39471" y="9992"/>
                    <a:pt x="31332" y="768"/>
                    <a:pt x="20662" y="45"/>
                  </a:cubicBezTo>
                  <a:cubicBezTo>
                    <a:pt x="9992" y="-679"/>
                    <a:pt x="768" y="7460"/>
                    <a:pt x="45" y="18130"/>
                  </a:cubicBezTo>
                  <a:cubicBezTo>
                    <a:pt x="-679" y="28801"/>
                    <a:pt x="7460" y="38024"/>
                    <a:pt x="18130" y="38748"/>
                  </a:cubicBezTo>
                  <a:cubicBezTo>
                    <a:pt x="28801" y="39471"/>
                    <a:pt x="38024" y="31332"/>
                    <a:pt x="38748" y="206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7" name="Google Shape;1397;p53"/>
            <p:cNvSpPr/>
            <p:nvPr/>
          </p:nvSpPr>
          <p:spPr>
            <a:xfrm>
              <a:off x="12645654" y="6121692"/>
              <a:ext cx="11954" cy="11954"/>
            </a:xfrm>
            <a:custGeom>
              <a:avLst/>
              <a:gdLst/>
              <a:ahLst/>
              <a:cxnLst/>
              <a:rect l="l" t="t" r="r" b="b"/>
              <a:pathLst>
                <a:path w="11954" h="11954" extrusionOk="0">
                  <a:moveTo>
                    <a:pt x="11946" y="6339"/>
                  </a:moveTo>
                  <a:cubicBezTo>
                    <a:pt x="12127" y="3083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1" y="8871"/>
                    <a:pt x="2360" y="11765"/>
                    <a:pt x="5616" y="11945"/>
                  </a:cubicBezTo>
                  <a:cubicBezTo>
                    <a:pt x="8871" y="12126"/>
                    <a:pt x="11765" y="9594"/>
                    <a:pt x="11946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8" name="Google Shape;1398;p53"/>
            <p:cNvSpPr/>
            <p:nvPr/>
          </p:nvSpPr>
          <p:spPr>
            <a:xfrm>
              <a:off x="12282991" y="6716311"/>
              <a:ext cx="45311" cy="45291"/>
            </a:xfrm>
            <a:custGeom>
              <a:avLst/>
              <a:gdLst/>
              <a:ahLst/>
              <a:cxnLst/>
              <a:rect l="l" t="t" r="r" b="b"/>
              <a:pathLst>
                <a:path w="45311" h="45291" extrusionOk="0">
                  <a:moveTo>
                    <a:pt x="45273" y="24093"/>
                  </a:moveTo>
                  <a:cubicBezTo>
                    <a:pt x="45996" y="11614"/>
                    <a:pt x="36592" y="763"/>
                    <a:pt x="24113" y="39"/>
                  </a:cubicBezTo>
                  <a:cubicBezTo>
                    <a:pt x="11634" y="-684"/>
                    <a:pt x="783" y="8720"/>
                    <a:pt x="59" y="21199"/>
                  </a:cubicBezTo>
                  <a:cubicBezTo>
                    <a:pt x="-845" y="33678"/>
                    <a:pt x="8740" y="44530"/>
                    <a:pt x="21219" y="45253"/>
                  </a:cubicBezTo>
                  <a:cubicBezTo>
                    <a:pt x="33698" y="45976"/>
                    <a:pt x="44549" y="36572"/>
                    <a:pt x="45273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99" name="Google Shape;1399;p53"/>
            <p:cNvSpPr/>
            <p:nvPr/>
          </p:nvSpPr>
          <p:spPr>
            <a:xfrm>
              <a:off x="11875528" y="5702967"/>
              <a:ext cx="48400" cy="48380"/>
            </a:xfrm>
            <a:custGeom>
              <a:avLst/>
              <a:gdLst/>
              <a:ahLst/>
              <a:cxnLst/>
              <a:rect l="l" t="t" r="r" b="b"/>
              <a:pathLst>
                <a:path w="48400" h="48380" extrusionOk="0">
                  <a:moveTo>
                    <a:pt x="48344" y="25737"/>
                  </a:moveTo>
                  <a:cubicBezTo>
                    <a:pt x="49249" y="12354"/>
                    <a:pt x="39121" y="960"/>
                    <a:pt x="25737" y="56"/>
                  </a:cubicBezTo>
                  <a:cubicBezTo>
                    <a:pt x="12354" y="-848"/>
                    <a:pt x="960" y="9280"/>
                    <a:pt x="56" y="22663"/>
                  </a:cubicBezTo>
                  <a:cubicBezTo>
                    <a:pt x="-848" y="36046"/>
                    <a:pt x="9280" y="47440"/>
                    <a:pt x="22663" y="48344"/>
                  </a:cubicBezTo>
                  <a:cubicBezTo>
                    <a:pt x="36046" y="49068"/>
                    <a:pt x="47440" y="38940"/>
                    <a:pt x="48344" y="257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0" name="Google Shape;1400;p53"/>
            <p:cNvSpPr/>
            <p:nvPr/>
          </p:nvSpPr>
          <p:spPr>
            <a:xfrm>
              <a:off x="10055412" y="3840170"/>
              <a:ext cx="52372" cy="52371"/>
            </a:xfrm>
            <a:custGeom>
              <a:avLst/>
              <a:gdLst/>
              <a:ahLst/>
              <a:cxnLst/>
              <a:rect l="l" t="t" r="r" b="b"/>
              <a:pathLst>
                <a:path w="52372" h="52371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2"/>
                    <a:pt x="957" y="10000"/>
                    <a:pt x="53" y="24468"/>
                  </a:cubicBezTo>
                  <a:cubicBezTo>
                    <a:pt x="-852" y="38936"/>
                    <a:pt x="9999" y="51415"/>
                    <a:pt x="24468" y="52320"/>
                  </a:cubicBezTo>
                  <a:cubicBezTo>
                    <a:pt x="38936" y="53224"/>
                    <a:pt x="51415" y="42192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1" name="Google Shape;1401;p53"/>
            <p:cNvSpPr/>
            <p:nvPr/>
          </p:nvSpPr>
          <p:spPr>
            <a:xfrm>
              <a:off x="9899685" y="3870723"/>
              <a:ext cx="61980" cy="61980"/>
            </a:xfrm>
            <a:custGeom>
              <a:avLst/>
              <a:gdLst/>
              <a:ahLst/>
              <a:cxnLst/>
              <a:rect l="l" t="t" r="r" b="b"/>
              <a:pathLst>
                <a:path w="61980" h="61980" extrusionOk="0">
                  <a:moveTo>
                    <a:pt x="61916" y="32979"/>
                  </a:moveTo>
                  <a:cubicBezTo>
                    <a:pt x="63001" y="15979"/>
                    <a:pt x="50160" y="1149"/>
                    <a:pt x="32979" y="64"/>
                  </a:cubicBezTo>
                  <a:cubicBezTo>
                    <a:pt x="15979" y="-1021"/>
                    <a:pt x="1149" y="11819"/>
                    <a:pt x="64" y="29001"/>
                  </a:cubicBezTo>
                  <a:cubicBezTo>
                    <a:pt x="-1021" y="46001"/>
                    <a:pt x="11819" y="60831"/>
                    <a:pt x="29001" y="61916"/>
                  </a:cubicBezTo>
                  <a:cubicBezTo>
                    <a:pt x="46182" y="63001"/>
                    <a:pt x="60650" y="50161"/>
                    <a:pt x="61916" y="329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2" name="Google Shape;1402;p53"/>
            <p:cNvSpPr/>
            <p:nvPr/>
          </p:nvSpPr>
          <p:spPr>
            <a:xfrm>
              <a:off x="10051421" y="3835998"/>
              <a:ext cx="60535" cy="60535"/>
            </a:xfrm>
            <a:custGeom>
              <a:avLst/>
              <a:gdLst/>
              <a:ahLst/>
              <a:cxnLst/>
              <a:rect l="l" t="t" r="r" b="b"/>
              <a:pathLst>
                <a:path w="60535" h="60535" extrusionOk="0">
                  <a:moveTo>
                    <a:pt x="60470" y="32257"/>
                  </a:moveTo>
                  <a:cubicBezTo>
                    <a:pt x="61555" y="15618"/>
                    <a:pt x="48896" y="1150"/>
                    <a:pt x="32257" y="65"/>
                  </a:cubicBezTo>
                  <a:cubicBezTo>
                    <a:pt x="15618" y="-1020"/>
                    <a:pt x="1150" y="11640"/>
                    <a:pt x="65" y="28278"/>
                  </a:cubicBezTo>
                  <a:cubicBezTo>
                    <a:pt x="-1020" y="44917"/>
                    <a:pt x="11640" y="59385"/>
                    <a:pt x="28278" y="60470"/>
                  </a:cubicBezTo>
                  <a:cubicBezTo>
                    <a:pt x="44917" y="61556"/>
                    <a:pt x="59385" y="48896"/>
                    <a:pt x="60470" y="3225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3" name="Google Shape;1403;p53"/>
            <p:cNvSpPr/>
            <p:nvPr/>
          </p:nvSpPr>
          <p:spPr>
            <a:xfrm>
              <a:off x="10175989" y="3504993"/>
              <a:ext cx="103480" cy="103480"/>
            </a:xfrm>
            <a:custGeom>
              <a:avLst/>
              <a:gdLst/>
              <a:ahLst/>
              <a:cxnLst/>
              <a:rect l="l" t="t" r="r" b="b"/>
              <a:pathLst>
                <a:path w="103480" h="103480" extrusionOk="0">
                  <a:moveTo>
                    <a:pt x="103374" y="55086"/>
                  </a:moveTo>
                  <a:cubicBezTo>
                    <a:pt x="105183" y="26511"/>
                    <a:pt x="83661" y="1915"/>
                    <a:pt x="55086" y="106"/>
                  </a:cubicBezTo>
                  <a:cubicBezTo>
                    <a:pt x="26511" y="-1702"/>
                    <a:pt x="1915" y="19819"/>
                    <a:pt x="106" y="48394"/>
                  </a:cubicBezTo>
                  <a:cubicBezTo>
                    <a:pt x="-1703" y="76969"/>
                    <a:pt x="19819" y="101566"/>
                    <a:pt x="48394" y="103374"/>
                  </a:cubicBezTo>
                  <a:cubicBezTo>
                    <a:pt x="76788" y="105183"/>
                    <a:pt x="101566" y="83661"/>
                    <a:pt x="103374" y="550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4" name="Google Shape;1404;p53"/>
            <p:cNvSpPr/>
            <p:nvPr/>
          </p:nvSpPr>
          <p:spPr>
            <a:xfrm>
              <a:off x="10068992" y="3853568"/>
              <a:ext cx="25575" cy="25575"/>
            </a:xfrm>
            <a:custGeom>
              <a:avLst/>
              <a:gdLst/>
              <a:ahLst/>
              <a:cxnLst/>
              <a:rect l="l" t="t" r="r" b="b"/>
              <a:pathLst>
                <a:path w="25575" h="25575" extrusionOk="0">
                  <a:moveTo>
                    <a:pt x="25538" y="13601"/>
                  </a:moveTo>
                  <a:cubicBezTo>
                    <a:pt x="26080" y="6548"/>
                    <a:pt x="20655" y="399"/>
                    <a:pt x="13601" y="37"/>
                  </a:cubicBezTo>
                  <a:cubicBezTo>
                    <a:pt x="6548" y="-505"/>
                    <a:pt x="399" y="4921"/>
                    <a:pt x="37" y="11974"/>
                  </a:cubicBezTo>
                  <a:cubicBezTo>
                    <a:pt x="-505" y="19027"/>
                    <a:pt x="4920" y="25176"/>
                    <a:pt x="11974" y="25538"/>
                  </a:cubicBezTo>
                  <a:cubicBezTo>
                    <a:pt x="18846" y="26080"/>
                    <a:pt x="24995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5" name="Google Shape;1405;p53"/>
            <p:cNvSpPr/>
            <p:nvPr/>
          </p:nvSpPr>
          <p:spPr>
            <a:xfrm>
              <a:off x="9885183" y="3856402"/>
              <a:ext cx="90802" cy="90802"/>
            </a:xfrm>
            <a:custGeom>
              <a:avLst/>
              <a:gdLst/>
              <a:ahLst/>
              <a:cxnLst/>
              <a:rect l="l" t="t" r="r" b="b"/>
              <a:pathLst>
                <a:path w="90802" h="90802" extrusionOk="0">
                  <a:moveTo>
                    <a:pt x="90705" y="48385"/>
                  </a:moveTo>
                  <a:cubicBezTo>
                    <a:pt x="92333" y="23428"/>
                    <a:pt x="73343" y="1725"/>
                    <a:pt x="48385" y="97"/>
                  </a:cubicBezTo>
                  <a:cubicBezTo>
                    <a:pt x="23427" y="-1530"/>
                    <a:pt x="1725" y="17459"/>
                    <a:pt x="97" y="42417"/>
                  </a:cubicBezTo>
                  <a:cubicBezTo>
                    <a:pt x="-1530" y="67375"/>
                    <a:pt x="17459" y="89078"/>
                    <a:pt x="42417" y="90705"/>
                  </a:cubicBezTo>
                  <a:cubicBezTo>
                    <a:pt x="67556" y="92333"/>
                    <a:pt x="89078" y="73343"/>
                    <a:pt x="90705" y="48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6" name="Google Shape;1406;p53"/>
            <p:cNvSpPr/>
            <p:nvPr/>
          </p:nvSpPr>
          <p:spPr>
            <a:xfrm>
              <a:off x="9840229" y="4570494"/>
              <a:ext cx="23368" cy="23368"/>
            </a:xfrm>
            <a:custGeom>
              <a:avLst/>
              <a:gdLst/>
              <a:ahLst/>
              <a:cxnLst/>
              <a:rect l="l" t="t" r="r" b="b"/>
              <a:pathLst>
                <a:path w="23368" h="23368" extrusionOk="0">
                  <a:moveTo>
                    <a:pt x="23349" y="12498"/>
                  </a:moveTo>
                  <a:cubicBezTo>
                    <a:pt x="23711" y="5987"/>
                    <a:pt x="18828" y="561"/>
                    <a:pt x="12498" y="19"/>
                  </a:cubicBezTo>
                  <a:cubicBezTo>
                    <a:pt x="5987" y="-343"/>
                    <a:pt x="561" y="4540"/>
                    <a:pt x="19" y="10870"/>
                  </a:cubicBezTo>
                  <a:cubicBezTo>
                    <a:pt x="-343" y="17381"/>
                    <a:pt x="4540" y="22807"/>
                    <a:pt x="10870" y="23349"/>
                  </a:cubicBezTo>
                  <a:cubicBezTo>
                    <a:pt x="17381" y="23711"/>
                    <a:pt x="22807" y="19009"/>
                    <a:pt x="23349" y="124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7" name="Google Shape;1407;p53"/>
            <p:cNvSpPr/>
            <p:nvPr/>
          </p:nvSpPr>
          <p:spPr>
            <a:xfrm>
              <a:off x="10059585" y="3844161"/>
              <a:ext cx="44208" cy="44229"/>
            </a:xfrm>
            <a:custGeom>
              <a:avLst/>
              <a:gdLst/>
              <a:ahLst/>
              <a:cxnLst/>
              <a:rect l="l" t="t" r="r" b="b"/>
              <a:pathLst>
                <a:path w="44208" h="44229" extrusionOk="0">
                  <a:moveTo>
                    <a:pt x="44168" y="23551"/>
                  </a:moveTo>
                  <a:cubicBezTo>
                    <a:pt x="44892" y="11253"/>
                    <a:pt x="35668" y="763"/>
                    <a:pt x="23551" y="40"/>
                  </a:cubicBezTo>
                  <a:cubicBezTo>
                    <a:pt x="11253" y="-684"/>
                    <a:pt x="763" y="8540"/>
                    <a:pt x="40" y="20657"/>
                  </a:cubicBezTo>
                  <a:cubicBezTo>
                    <a:pt x="-684" y="32955"/>
                    <a:pt x="8540" y="43445"/>
                    <a:pt x="20657" y="44168"/>
                  </a:cubicBezTo>
                  <a:cubicBezTo>
                    <a:pt x="32774" y="45072"/>
                    <a:pt x="43445" y="35849"/>
                    <a:pt x="44168" y="235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8" name="Google Shape;1408;p53"/>
            <p:cNvSpPr/>
            <p:nvPr/>
          </p:nvSpPr>
          <p:spPr>
            <a:xfrm rot="-3624134">
              <a:off x="11083596" y="3941901"/>
              <a:ext cx="75234" cy="75234"/>
            </a:xfrm>
            <a:custGeom>
              <a:avLst/>
              <a:gdLst/>
              <a:ahLst/>
              <a:cxnLst/>
              <a:rect l="l" t="t" r="r" b="b"/>
              <a:pathLst>
                <a:path w="75234" h="75234" extrusionOk="0">
                  <a:moveTo>
                    <a:pt x="75234" y="37617"/>
                  </a:moveTo>
                  <a:cubicBezTo>
                    <a:pt x="75234" y="58393"/>
                    <a:pt x="58393" y="75234"/>
                    <a:pt x="37617" y="75234"/>
                  </a:cubicBezTo>
                  <a:cubicBezTo>
                    <a:pt x="16842" y="75234"/>
                    <a:pt x="0" y="58393"/>
                    <a:pt x="0" y="37617"/>
                  </a:cubicBezTo>
                  <a:cubicBezTo>
                    <a:pt x="0" y="16842"/>
                    <a:pt x="16842" y="0"/>
                    <a:pt x="37617" y="0"/>
                  </a:cubicBezTo>
                  <a:cubicBezTo>
                    <a:pt x="58393" y="0"/>
                    <a:pt x="75234" y="16842"/>
                    <a:pt x="75234" y="3761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09" name="Google Shape;1409;p53"/>
            <p:cNvSpPr/>
            <p:nvPr/>
          </p:nvSpPr>
          <p:spPr>
            <a:xfrm>
              <a:off x="10182327" y="3511332"/>
              <a:ext cx="90802" cy="90802"/>
            </a:xfrm>
            <a:custGeom>
              <a:avLst/>
              <a:gdLst/>
              <a:ahLst/>
              <a:cxnLst/>
              <a:rect l="l" t="t" r="r" b="b"/>
              <a:pathLst>
                <a:path w="90802" h="90802" extrusionOk="0">
                  <a:moveTo>
                    <a:pt x="90706" y="48385"/>
                  </a:moveTo>
                  <a:cubicBezTo>
                    <a:pt x="92333" y="23428"/>
                    <a:pt x="73343" y="1906"/>
                    <a:pt x="48385" y="97"/>
                  </a:cubicBezTo>
                  <a:cubicBezTo>
                    <a:pt x="23428" y="-1530"/>
                    <a:pt x="1906" y="17459"/>
                    <a:pt x="97" y="42417"/>
                  </a:cubicBezTo>
                  <a:cubicBezTo>
                    <a:pt x="-1530" y="67375"/>
                    <a:pt x="17459" y="88897"/>
                    <a:pt x="42417" y="90706"/>
                  </a:cubicBezTo>
                  <a:cubicBezTo>
                    <a:pt x="67375" y="92333"/>
                    <a:pt x="89078" y="73343"/>
                    <a:pt x="90706" y="48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0" name="Google Shape;1410;p53"/>
            <p:cNvSpPr/>
            <p:nvPr/>
          </p:nvSpPr>
          <p:spPr>
            <a:xfrm>
              <a:off x="10160880" y="2713295"/>
              <a:ext cx="19396" cy="19380"/>
            </a:xfrm>
            <a:custGeom>
              <a:avLst/>
              <a:gdLst/>
              <a:ahLst/>
              <a:cxnLst/>
              <a:rect l="l" t="t" r="r" b="b"/>
              <a:pathLst>
                <a:path w="19396" h="19380" extrusionOk="0">
                  <a:moveTo>
                    <a:pt x="19374" y="10332"/>
                  </a:moveTo>
                  <a:cubicBezTo>
                    <a:pt x="19736" y="5087"/>
                    <a:pt x="15757" y="385"/>
                    <a:pt x="10331" y="23"/>
                  </a:cubicBezTo>
                  <a:cubicBezTo>
                    <a:pt x="5087" y="-339"/>
                    <a:pt x="384" y="3640"/>
                    <a:pt x="23" y="9066"/>
                  </a:cubicBezTo>
                  <a:cubicBezTo>
                    <a:pt x="-339" y="14310"/>
                    <a:pt x="3640" y="19013"/>
                    <a:pt x="9066" y="19374"/>
                  </a:cubicBezTo>
                  <a:cubicBezTo>
                    <a:pt x="14491" y="19555"/>
                    <a:pt x="19012" y="15576"/>
                    <a:pt x="19374" y="10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1" name="Google Shape;1411;p53"/>
            <p:cNvSpPr/>
            <p:nvPr/>
          </p:nvSpPr>
          <p:spPr>
            <a:xfrm>
              <a:off x="10685314" y="3173706"/>
              <a:ext cx="57827" cy="57808"/>
            </a:xfrm>
            <a:custGeom>
              <a:avLst/>
              <a:gdLst/>
              <a:ahLst/>
              <a:cxnLst/>
              <a:rect l="l" t="t" r="r" b="b"/>
              <a:pathLst>
                <a:path w="57827" h="57808" extrusionOk="0">
                  <a:moveTo>
                    <a:pt x="57760" y="30813"/>
                  </a:moveTo>
                  <a:cubicBezTo>
                    <a:pt x="58845" y="14898"/>
                    <a:pt x="46728" y="1153"/>
                    <a:pt x="30813" y="68"/>
                  </a:cubicBezTo>
                  <a:cubicBezTo>
                    <a:pt x="14898" y="-1018"/>
                    <a:pt x="1153" y="11100"/>
                    <a:pt x="68" y="27015"/>
                  </a:cubicBezTo>
                  <a:cubicBezTo>
                    <a:pt x="-1018" y="42930"/>
                    <a:pt x="11099" y="56675"/>
                    <a:pt x="27015" y="57760"/>
                  </a:cubicBezTo>
                  <a:cubicBezTo>
                    <a:pt x="42930" y="58664"/>
                    <a:pt x="56675" y="46728"/>
                    <a:pt x="57760" y="3081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2" name="Google Shape;1412;p53"/>
            <p:cNvSpPr/>
            <p:nvPr/>
          </p:nvSpPr>
          <p:spPr>
            <a:xfrm>
              <a:off x="10210046" y="3539051"/>
              <a:ext cx="35364" cy="35344"/>
            </a:xfrm>
            <a:custGeom>
              <a:avLst/>
              <a:gdLst/>
              <a:ahLst/>
              <a:cxnLst/>
              <a:rect l="l" t="t" r="r" b="b"/>
              <a:pathLst>
                <a:path w="35364" h="35344" extrusionOk="0">
                  <a:moveTo>
                    <a:pt x="35316" y="18858"/>
                  </a:moveTo>
                  <a:cubicBezTo>
                    <a:pt x="36039" y="9091"/>
                    <a:pt x="28624" y="772"/>
                    <a:pt x="18858" y="49"/>
                  </a:cubicBezTo>
                  <a:cubicBezTo>
                    <a:pt x="9091" y="-675"/>
                    <a:pt x="772" y="6740"/>
                    <a:pt x="49" y="16506"/>
                  </a:cubicBezTo>
                  <a:cubicBezTo>
                    <a:pt x="-675" y="26273"/>
                    <a:pt x="6741" y="34592"/>
                    <a:pt x="16507" y="35315"/>
                  </a:cubicBezTo>
                  <a:cubicBezTo>
                    <a:pt x="26273" y="35858"/>
                    <a:pt x="34592" y="28624"/>
                    <a:pt x="35316" y="1885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3" name="Google Shape;1413;p53"/>
            <p:cNvSpPr/>
            <p:nvPr/>
          </p:nvSpPr>
          <p:spPr>
            <a:xfrm>
              <a:off x="10682967" y="3171179"/>
              <a:ext cx="62521" cy="62543"/>
            </a:xfrm>
            <a:custGeom>
              <a:avLst/>
              <a:gdLst/>
              <a:ahLst/>
              <a:cxnLst/>
              <a:rect l="l" t="t" r="r" b="b"/>
              <a:pathLst>
                <a:path w="62521" h="62543" extrusionOk="0">
                  <a:moveTo>
                    <a:pt x="62458" y="33340"/>
                  </a:moveTo>
                  <a:cubicBezTo>
                    <a:pt x="63543" y="16159"/>
                    <a:pt x="50521" y="1329"/>
                    <a:pt x="33340" y="63"/>
                  </a:cubicBezTo>
                  <a:cubicBezTo>
                    <a:pt x="16159" y="-1022"/>
                    <a:pt x="1329" y="12000"/>
                    <a:pt x="63" y="29181"/>
                  </a:cubicBezTo>
                  <a:cubicBezTo>
                    <a:pt x="-1022" y="46362"/>
                    <a:pt x="12000" y="61192"/>
                    <a:pt x="29181" y="62458"/>
                  </a:cubicBezTo>
                  <a:cubicBezTo>
                    <a:pt x="46543" y="63724"/>
                    <a:pt x="61373" y="50702"/>
                    <a:pt x="62458" y="333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4" name="Google Shape;1414;p53"/>
            <p:cNvSpPr/>
            <p:nvPr/>
          </p:nvSpPr>
          <p:spPr>
            <a:xfrm>
              <a:off x="10146739" y="2699155"/>
              <a:ext cx="47678" cy="47658"/>
            </a:xfrm>
            <a:custGeom>
              <a:avLst/>
              <a:gdLst/>
              <a:ahLst/>
              <a:cxnLst/>
              <a:rect l="l" t="t" r="r" b="b"/>
              <a:pathLst>
                <a:path w="47678" h="47658" extrusionOk="0">
                  <a:moveTo>
                    <a:pt x="47622" y="25377"/>
                  </a:moveTo>
                  <a:cubicBezTo>
                    <a:pt x="48526" y="12174"/>
                    <a:pt x="38579" y="961"/>
                    <a:pt x="25377" y="57"/>
                  </a:cubicBezTo>
                  <a:cubicBezTo>
                    <a:pt x="12175" y="-847"/>
                    <a:pt x="961" y="9100"/>
                    <a:pt x="57" y="22302"/>
                  </a:cubicBezTo>
                  <a:cubicBezTo>
                    <a:pt x="-847" y="35505"/>
                    <a:pt x="9100" y="46718"/>
                    <a:pt x="22302" y="47622"/>
                  </a:cubicBezTo>
                  <a:cubicBezTo>
                    <a:pt x="35505" y="48345"/>
                    <a:pt x="46718" y="38398"/>
                    <a:pt x="47622" y="253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5" name="Google Shape;1415;p53"/>
            <p:cNvSpPr/>
            <p:nvPr/>
          </p:nvSpPr>
          <p:spPr>
            <a:xfrm>
              <a:off x="11091543" y="3042798"/>
              <a:ext cx="25575" cy="25555"/>
            </a:xfrm>
            <a:custGeom>
              <a:avLst/>
              <a:gdLst/>
              <a:ahLst/>
              <a:cxnLst/>
              <a:rect l="l" t="t" r="r" b="b"/>
              <a:pathLst>
                <a:path w="25575" h="25555" extrusionOk="0">
                  <a:moveTo>
                    <a:pt x="25538" y="13601"/>
                  </a:moveTo>
                  <a:cubicBezTo>
                    <a:pt x="26081" y="6548"/>
                    <a:pt x="20655" y="399"/>
                    <a:pt x="13601" y="37"/>
                  </a:cubicBezTo>
                  <a:cubicBezTo>
                    <a:pt x="6548" y="-505"/>
                    <a:pt x="399" y="4920"/>
                    <a:pt x="37" y="11974"/>
                  </a:cubicBezTo>
                  <a:cubicBezTo>
                    <a:pt x="-505" y="19027"/>
                    <a:pt x="4921" y="25176"/>
                    <a:pt x="11974" y="25538"/>
                  </a:cubicBezTo>
                  <a:cubicBezTo>
                    <a:pt x="19027" y="25900"/>
                    <a:pt x="25176" y="20655"/>
                    <a:pt x="25538" y="136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6" name="Google Shape;1416;p53"/>
            <p:cNvSpPr/>
            <p:nvPr/>
          </p:nvSpPr>
          <p:spPr>
            <a:xfrm>
              <a:off x="10705070" y="3193463"/>
              <a:ext cx="18494" cy="18477"/>
            </a:xfrm>
            <a:custGeom>
              <a:avLst/>
              <a:gdLst/>
              <a:ahLst/>
              <a:cxnLst/>
              <a:rect l="l" t="t" r="r" b="b"/>
              <a:pathLst>
                <a:path w="18494" h="18477" extrusionOk="0">
                  <a:moveTo>
                    <a:pt x="18471" y="9790"/>
                  </a:moveTo>
                  <a:cubicBezTo>
                    <a:pt x="18833" y="4726"/>
                    <a:pt x="15035" y="385"/>
                    <a:pt x="9790" y="24"/>
                  </a:cubicBezTo>
                  <a:cubicBezTo>
                    <a:pt x="4726" y="-338"/>
                    <a:pt x="385" y="3460"/>
                    <a:pt x="24" y="8705"/>
                  </a:cubicBezTo>
                  <a:cubicBezTo>
                    <a:pt x="-338" y="13769"/>
                    <a:pt x="3460" y="18109"/>
                    <a:pt x="8705" y="18471"/>
                  </a:cubicBezTo>
                  <a:cubicBezTo>
                    <a:pt x="13769" y="18652"/>
                    <a:pt x="18109" y="14854"/>
                    <a:pt x="18471" y="979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7" name="Google Shape;1417;p53"/>
            <p:cNvSpPr/>
            <p:nvPr/>
          </p:nvSpPr>
          <p:spPr>
            <a:xfrm>
              <a:off x="11048599" y="2999653"/>
              <a:ext cx="111462" cy="111504"/>
            </a:xfrm>
            <a:custGeom>
              <a:avLst/>
              <a:gdLst/>
              <a:ahLst/>
              <a:cxnLst/>
              <a:rect l="l" t="t" r="r" b="b"/>
              <a:pathLst>
                <a:path w="111462" h="111504" extrusionOk="0">
                  <a:moveTo>
                    <a:pt x="111344" y="59459"/>
                  </a:moveTo>
                  <a:cubicBezTo>
                    <a:pt x="113333" y="28714"/>
                    <a:pt x="90003" y="2309"/>
                    <a:pt x="59439" y="139"/>
                  </a:cubicBezTo>
                  <a:cubicBezTo>
                    <a:pt x="28874" y="-2031"/>
                    <a:pt x="2289" y="21480"/>
                    <a:pt x="118" y="52044"/>
                  </a:cubicBezTo>
                  <a:cubicBezTo>
                    <a:pt x="-1871" y="82789"/>
                    <a:pt x="21459" y="109194"/>
                    <a:pt x="52024" y="111364"/>
                  </a:cubicBezTo>
                  <a:cubicBezTo>
                    <a:pt x="82588" y="113535"/>
                    <a:pt x="109354" y="90204"/>
                    <a:pt x="111344" y="594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8" name="Google Shape;1418;p53"/>
            <p:cNvSpPr/>
            <p:nvPr/>
          </p:nvSpPr>
          <p:spPr>
            <a:xfrm>
              <a:off x="12448300" y="5157154"/>
              <a:ext cx="55080" cy="55100"/>
            </a:xfrm>
            <a:custGeom>
              <a:avLst/>
              <a:gdLst/>
              <a:ahLst/>
              <a:cxnLst/>
              <a:rect l="l" t="t" r="r" b="b"/>
              <a:pathLst>
                <a:path w="55080" h="55100" extrusionOk="0">
                  <a:moveTo>
                    <a:pt x="55030" y="29349"/>
                  </a:moveTo>
                  <a:cubicBezTo>
                    <a:pt x="55935" y="14157"/>
                    <a:pt x="44541" y="955"/>
                    <a:pt x="29349" y="50"/>
                  </a:cubicBezTo>
                  <a:cubicBezTo>
                    <a:pt x="14157" y="-854"/>
                    <a:pt x="955" y="10540"/>
                    <a:pt x="50" y="25732"/>
                  </a:cubicBezTo>
                  <a:cubicBezTo>
                    <a:pt x="-854" y="40924"/>
                    <a:pt x="10540" y="54126"/>
                    <a:pt x="25732" y="55030"/>
                  </a:cubicBezTo>
                  <a:cubicBezTo>
                    <a:pt x="40924" y="56115"/>
                    <a:pt x="54126" y="44541"/>
                    <a:pt x="55030" y="293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19" name="Google Shape;1419;p53"/>
            <p:cNvSpPr/>
            <p:nvPr/>
          </p:nvSpPr>
          <p:spPr>
            <a:xfrm>
              <a:off x="12404403" y="5113257"/>
              <a:ext cx="142875" cy="142874"/>
            </a:xfrm>
            <a:custGeom>
              <a:avLst/>
              <a:gdLst/>
              <a:ahLst/>
              <a:cxnLst/>
              <a:rect l="l" t="t" r="r" b="b"/>
              <a:pathLst>
                <a:path w="142875" h="142874" extrusionOk="0">
                  <a:moveTo>
                    <a:pt x="142875" y="71438"/>
                  </a:moveTo>
                  <a:cubicBezTo>
                    <a:pt x="142875" y="110891"/>
                    <a:pt x="110891" y="142875"/>
                    <a:pt x="71437" y="142875"/>
                  </a:cubicBezTo>
                  <a:cubicBezTo>
                    <a:pt x="31983" y="142875"/>
                    <a:pt x="-1" y="110891"/>
                    <a:pt x="-1" y="71438"/>
                  </a:cubicBezTo>
                  <a:cubicBezTo>
                    <a:pt x="-1" y="31984"/>
                    <a:pt x="31983" y="0"/>
                    <a:pt x="71437" y="0"/>
                  </a:cubicBezTo>
                  <a:cubicBezTo>
                    <a:pt x="110891" y="0"/>
                    <a:pt x="142875" y="31984"/>
                    <a:pt x="142875" y="71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0" name="Google Shape;1420;p53"/>
            <p:cNvSpPr/>
            <p:nvPr/>
          </p:nvSpPr>
          <p:spPr>
            <a:xfrm>
              <a:off x="12727568" y="5681299"/>
              <a:ext cx="19756" cy="19756"/>
            </a:xfrm>
            <a:custGeom>
              <a:avLst/>
              <a:gdLst/>
              <a:ahLst/>
              <a:cxnLst/>
              <a:rect l="l" t="t" r="r" b="b"/>
              <a:pathLst>
                <a:path w="19756" h="19756" extrusionOk="0">
                  <a:moveTo>
                    <a:pt x="19735" y="10511"/>
                  </a:moveTo>
                  <a:cubicBezTo>
                    <a:pt x="20097" y="5086"/>
                    <a:pt x="15937" y="383"/>
                    <a:pt x="10512" y="22"/>
                  </a:cubicBezTo>
                  <a:cubicBezTo>
                    <a:pt x="5086" y="-340"/>
                    <a:pt x="384" y="3820"/>
                    <a:pt x="22" y="9245"/>
                  </a:cubicBezTo>
                  <a:cubicBezTo>
                    <a:pt x="-340" y="14671"/>
                    <a:pt x="3820" y="19373"/>
                    <a:pt x="9246" y="19735"/>
                  </a:cubicBezTo>
                  <a:cubicBezTo>
                    <a:pt x="14671" y="20097"/>
                    <a:pt x="19373" y="15937"/>
                    <a:pt x="19735" y="1051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1" name="Google Shape;1421;p53"/>
            <p:cNvSpPr/>
            <p:nvPr/>
          </p:nvSpPr>
          <p:spPr>
            <a:xfrm>
              <a:off x="12599259" y="6075116"/>
              <a:ext cx="104744" cy="104764"/>
            </a:xfrm>
            <a:custGeom>
              <a:avLst/>
              <a:gdLst/>
              <a:ahLst/>
              <a:cxnLst/>
              <a:rect l="l" t="t" r="r" b="b"/>
              <a:pathLst>
                <a:path w="104744" h="104764" extrusionOk="0">
                  <a:moveTo>
                    <a:pt x="104639" y="55808"/>
                  </a:moveTo>
                  <a:cubicBezTo>
                    <a:pt x="106448" y="26871"/>
                    <a:pt x="84745" y="2094"/>
                    <a:pt x="55809" y="105"/>
                  </a:cubicBezTo>
                  <a:cubicBezTo>
                    <a:pt x="26872" y="-1703"/>
                    <a:pt x="2095" y="19999"/>
                    <a:pt x="105" y="48936"/>
                  </a:cubicBezTo>
                  <a:cubicBezTo>
                    <a:pt x="-1703" y="77872"/>
                    <a:pt x="19999" y="102649"/>
                    <a:pt x="48936" y="104639"/>
                  </a:cubicBezTo>
                  <a:cubicBezTo>
                    <a:pt x="77873" y="106628"/>
                    <a:pt x="102831" y="84745"/>
                    <a:pt x="104639" y="5580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2" name="Google Shape;1422;p53"/>
            <p:cNvSpPr/>
            <p:nvPr/>
          </p:nvSpPr>
          <p:spPr>
            <a:xfrm>
              <a:off x="12475060" y="5734073"/>
              <a:ext cx="46955" cy="46955"/>
            </a:xfrm>
            <a:custGeom>
              <a:avLst/>
              <a:gdLst/>
              <a:ahLst/>
              <a:cxnLst/>
              <a:rect l="l" t="t" r="r" b="b"/>
              <a:pathLst>
                <a:path w="46955" h="46955" extrusionOk="0">
                  <a:moveTo>
                    <a:pt x="46898" y="25015"/>
                  </a:moveTo>
                  <a:cubicBezTo>
                    <a:pt x="47803" y="11993"/>
                    <a:pt x="37856" y="961"/>
                    <a:pt x="25015" y="57"/>
                  </a:cubicBezTo>
                  <a:cubicBezTo>
                    <a:pt x="11994" y="-847"/>
                    <a:pt x="961" y="9100"/>
                    <a:pt x="57" y="21940"/>
                  </a:cubicBezTo>
                  <a:cubicBezTo>
                    <a:pt x="-847" y="34962"/>
                    <a:pt x="9100" y="45994"/>
                    <a:pt x="21940" y="46898"/>
                  </a:cubicBezTo>
                  <a:cubicBezTo>
                    <a:pt x="34781" y="47803"/>
                    <a:pt x="45994" y="37856"/>
                    <a:pt x="46898" y="250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3" name="Google Shape;1423;p53"/>
            <p:cNvSpPr/>
            <p:nvPr/>
          </p:nvSpPr>
          <p:spPr>
            <a:xfrm>
              <a:off x="12514674" y="5670037"/>
              <a:ext cx="55462" cy="55482"/>
            </a:xfrm>
            <a:custGeom>
              <a:avLst/>
              <a:gdLst/>
              <a:ahLst/>
              <a:cxnLst/>
              <a:rect l="l" t="t" r="r" b="b"/>
              <a:pathLst>
                <a:path w="55462" h="55482" extrusionOk="0">
                  <a:moveTo>
                    <a:pt x="55392" y="29550"/>
                  </a:moveTo>
                  <a:cubicBezTo>
                    <a:pt x="56477" y="14358"/>
                    <a:pt x="44902" y="1156"/>
                    <a:pt x="29530" y="70"/>
                  </a:cubicBezTo>
                  <a:cubicBezTo>
                    <a:pt x="14338" y="-1015"/>
                    <a:pt x="1135" y="10560"/>
                    <a:pt x="50" y="25933"/>
                  </a:cubicBezTo>
                  <a:cubicBezTo>
                    <a:pt x="-854" y="41125"/>
                    <a:pt x="10540" y="54327"/>
                    <a:pt x="25912" y="55412"/>
                  </a:cubicBezTo>
                  <a:cubicBezTo>
                    <a:pt x="41104" y="56497"/>
                    <a:pt x="54307" y="44922"/>
                    <a:pt x="55392" y="2955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4" name="Google Shape;1424;p53"/>
            <p:cNvSpPr/>
            <p:nvPr/>
          </p:nvSpPr>
          <p:spPr>
            <a:xfrm>
              <a:off x="12518843" y="5665545"/>
              <a:ext cx="42764" cy="42764"/>
            </a:xfrm>
            <a:custGeom>
              <a:avLst/>
              <a:gdLst/>
              <a:ahLst/>
              <a:cxnLst/>
              <a:rect l="l" t="t" r="r" b="b"/>
              <a:pathLst>
                <a:path w="42764" h="42764" extrusionOk="0">
                  <a:moveTo>
                    <a:pt x="42723" y="22829"/>
                  </a:moveTo>
                  <a:cubicBezTo>
                    <a:pt x="43446" y="11073"/>
                    <a:pt x="34584" y="946"/>
                    <a:pt x="22829" y="41"/>
                  </a:cubicBezTo>
                  <a:cubicBezTo>
                    <a:pt x="11073" y="-682"/>
                    <a:pt x="945" y="8180"/>
                    <a:pt x="41" y="19935"/>
                  </a:cubicBezTo>
                  <a:cubicBezTo>
                    <a:pt x="-682" y="31691"/>
                    <a:pt x="8179" y="41819"/>
                    <a:pt x="19935" y="42723"/>
                  </a:cubicBezTo>
                  <a:cubicBezTo>
                    <a:pt x="31871" y="43447"/>
                    <a:pt x="41999" y="34585"/>
                    <a:pt x="42723" y="2282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5" name="Google Shape;1425;p53"/>
            <p:cNvSpPr/>
            <p:nvPr/>
          </p:nvSpPr>
          <p:spPr>
            <a:xfrm>
              <a:off x="12479953" y="5738966"/>
              <a:ext cx="36987" cy="36987"/>
            </a:xfrm>
            <a:custGeom>
              <a:avLst/>
              <a:gdLst/>
              <a:ahLst/>
              <a:cxnLst/>
              <a:rect l="l" t="t" r="r" b="b"/>
              <a:pathLst>
                <a:path w="36987" h="36987" extrusionOk="0">
                  <a:moveTo>
                    <a:pt x="36941" y="19760"/>
                  </a:moveTo>
                  <a:cubicBezTo>
                    <a:pt x="37665" y="9632"/>
                    <a:pt x="29888" y="770"/>
                    <a:pt x="19760" y="47"/>
                  </a:cubicBezTo>
                  <a:cubicBezTo>
                    <a:pt x="9632" y="-677"/>
                    <a:pt x="770" y="7100"/>
                    <a:pt x="47" y="17228"/>
                  </a:cubicBezTo>
                  <a:cubicBezTo>
                    <a:pt x="-676" y="27356"/>
                    <a:pt x="7100" y="36218"/>
                    <a:pt x="17228" y="36941"/>
                  </a:cubicBezTo>
                  <a:cubicBezTo>
                    <a:pt x="27537" y="37664"/>
                    <a:pt x="36218" y="29888"/>
                    <a:pt x="36941" y="197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6" name="Google Shape;1426;p53"/>
            <p:cNvSpPr/>
            <p:nvPr/>
          </p:nvSpPr>
          <p:spPr>
            <a:xfrm>
              <a:off x="12530079" y="5685643"/>
              <a:ext cx="24451" cy="24451"/>
            </a:xfrm>
            <a:custGeom>
              <a:avLst/>
              <a:gdLst/>
              <a:ahLst/>
              <a:cxnLst/>
              <a:rect l="l" t="t" r="r" b="b"/>
              <a:pathLst>
                <a:path w="24451" h="24451" extrusionOk="0">
                  <a:moveTo>
                    <a:pt x="24434" y="13040"/>
                  </a:moveTo>
                  <a:cubicBezTo>
                    <a:pt x="24795" y="6348"/>
                    <a:pt x="19731" y="561"/>
                    <a:pt x="13040" y="18"/>
                  </a:cubicBezTo>
                  <a:cubicBezTo>
                    <a:pt x="6348" y="-344"/>
                    <a:pt x="561" y="4721"/>
                    <a:pt x="18" y="11412"/>
                  </a:cubicBezTo>
                  <a:cubicBezTo>
                    <a:pt x="-344" y="18104"/>
                    <a:pt x="4720" y="23891"/>
                    <a:pt x="11412" y="24434"/>
                  </a:cubicBezTo>
                  <a:cubicBezTo>
                    <a:pt x="18284" y="24795"/>
                    <a:pt x="24072" y="19731"/>
                    <a:pt x="24434" y="130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7" name="Google Shape;1427;p53"/>
            <p:cNvSpPr/>
            <p:nvPr/>
          </p:nvSpPr>
          <p:spPr>
            <a:xfrm>
              <a:off x="12476704" y="5735696"/>
              <a:ext cx="43486" cy="43527"/>
            </a:xfrm>
            <a:custGeom>
              <a:avLst/>
              <a:gdLst/>
              <a:ahLst/>
              <a:cxnLst/>
              <a:rect l="l" t="t" r="r" b="b"/>
              <a:pathLst>
                <a:path w="43486" h="43527" extrusionOk="0">
                  <a:moveTo>
                    <a:pt x="43446" y="23211"/>
                  </a:moveTo>
                  <a:cubicBezTo>
                    <a:pt x="44169" y="11274"/>
                    <a:pt x="35126" y="966"/>
                    <a:pt x="23190" y="61"/>
                  </a:cubicBezTo>
                  <a:cubicBezTo>
                    <a:pt x="11253" y="-843"/>
                    <a:pt x="945" y="8380"/>
                    <a:pt x="41" y="20317"/>
                  </a:cubicBezTo>
                  <a:cubicBezTo>
                    <a:pt x="-683" y="32253"/>
                    <a:pt x="8360" y="42562"/>
                    <a:pt x="20296" y="43466"/>
                  </a:cubicBezTo>
                  <a:cubicBezTo>
                    <a:pt x="32414" y="44371"/>
                    <a:pt x="42723" y="35147"/>
                    <a:pt x="43446" y="2321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8" name="Google Shape;1428;p53"/>
            <p:cNvSpPr/>
            <p:nvPr/>
          </p:nvSpPr>
          <p:spPr>
            <a:xfrm>
              <a:off x="12722674" y="5676585"/>
              <a:ext cx="29364" cy="29347"/>
            </a:xfrm>
            <a:custGeom>
              <a:avLst/>
              <a:gdLst/>
              <a:ahLst/>
              <a:cxnLst/>
              <a:rect l="l" t="t" r="r" b="b"/>
              <a:pathLst>
                <a:path w="29364" h="29347" extrusionOk="0">
                  <a:moveTo>
                    <a:pt x="29332" y="15587"/>
                  </a:moveTo>
                  <a:cubicBezTo>
                    <a:pt x="29874" y="7448"/>
                    <a:pt x="23725" y="576"/>
                    <a:pt x="15587" y="33"/>
                  </a:cubicBezTo>
                  <a:cubicBezTo>
                    <a:pt x="7448" y="-509"/>
                    <a:pt x="576" y="5640"/>
                    <a:pt x="33" y="13778"/>
                  </a:cubicBezTo>
                  <a:cubicBezTo>
                    <a:pt x="-509" y="21917"/>
                    <a:pt x="5640" y="28789"/>
                    <a:pt x="13778" y="29332"/>
                  </a:cubicBezTo>
                  <a:cubicBezTo>
                    <a:pt x="21736" y="29693"/>
                    <a:pt x="28789" y="23725"/>
                    <a:pt x="29332" y="155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29" name="Google Shape;1429;p53"/>
            <p:cNvSpPr/>
            <p:nvPr/>
          </p:nvSpPr>
          <p:spPr>
            <a:xfrm>
              <a:off x="12638392" y="6114250"/>
              <a:ext cx="26658" cy="26658"/>
            </a:xfrm>
            <a:custGeom>
              <a:avLst/>
              <a:gdLst/>
              <a:ahLst/>
              <a:cxnLst/>
              <a:rect l="l" t="t" r="r" b="b"/>
              <a:pathLst>
                <a:path w="26658" h="26658" extrusionOk="0">
                  <a:moveTo>
                    <a:pt x="26622" y="14143"/>
                  </a:moveTo>
                  <a:cubicBezTo>
                    <a:pt x="27164" y="6728"/>
                    <a:pt x="21558" y="398"/>
                    <a:pt x="14143" y="36"/>
                  </a:cubicBezTo>
                  <a:cubicBezTo>
                    <a:pt x="6728" y="-506"/>
                    <a:pt x="398" y="5100"/>
                    <a:pt x="36" y="12515"/>
                  </a:cubicBezTo>
                  <a:cubicBezTo>
                    <a:pt x="-506" y="19930"/>
                    <a:pt x="5100" y="26260"/>
                    <a:pt x="12515" y="26622"/>
                  </a:cubicBezTo>
                  <a:cubicBezTo>
                    <a:pt x="19749" y="27164"/>
                    <a:pt x="26079" y="21558"/>
                    <a:pt x="26622" y="141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0" name="Google Shape;1430;p53"/>
            <p:cNvSpPr/>
            <p:nvPr/>
          </p:nvSpPr>
          <p:spPr>
            <a:xfrm>
              <a:off x="10822437" y="4443159"/>
              <a:ext cx="31531" cy="31553"/>
            </a:xfrm>
            <a:custGeom>
              <a:avLst/>
              <a:gdLst/>
              <a:ahLst/>
              <a:cxnLst/>
              <a:rect l="l" t="t" r="r" b="b"/>
              <a:pathLst>
                <a:path w="31531" h="31553" extrusionOk="0">
                  <a:moveTo>
                    <a:pt x="31500" y="16851"/>
                  </a:moveTo>
                  <a:cubicBezTo>
                    <a:pt x="32043" y="8170"/>
                    <a:pt x="25532" y="755"/>
                    <a:pt x="16851" y="32"/>
                  </a:cubicBezTo>
                  <a:cubicBezTo>
                    <a:pt x="8170" y="-511"/>
                    <a:pt x="755" y="6000"/>
                    <a:pt x="32" y="14681"/>
                  </a:cubicBezTo>
                  <a:cubicBezTo>
                    <a:pt x="-511" y="23362"/>
                    <a:pt x="6000" y="30777"/>
                    <a:pt x="14681" y="31500"/>
                  </a:cubicBezTo>
                  <a:cubicBezTo>
                    <a:pt x="23362" y="32224"/>
                    <a:pt x="30958" y="25532"/>
                    <a:pt x="31500" y="168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1" name="Google Shape;1431;p53"/>
            <p:cNvSpPr/>
            <p:nvPr/>
          </p:nvSpPr>
          <p:spPr>
            <a:xfrm>
              <a:off x="10071539" y="3856296"/>
              <a:ext cx="20118" cy="20102"/>
            </a:xfrm>
            <a:custGeom>
              <a:avLst/>
              <a:gdLst/>
              <a:ahLst/>
              <a:cxnLst/>
              <a:rect l="l" t="t" r="r" b="b"/>
              <a:pathLst>
                <a:path w="20118" h="20102" extrusionOk="0">
                  <a:moveTo>
                    <a:pt x="20097" y="10692"/>
                  </a:moveTo>
                  <a:cubicBezTo>
                    <a:pt x="20458" y="5267"/>
                    <a:pt x="16299" y="383"/>
                    <a:pt x="10692" y="22"/>
                  </a:cubicBezTo>
                  <a:cubicBezTo>
                    <a:pt x="5267" y="-340"/>
                    <a:pt x="383" y="3820"/>
                    <a:pt x="22" y="9426"/>
                  </a:cubicBezTo>
                  <a:cubicBezTo>
                    <a:pt x="-340" y="14852"/>
                    <a:pt x="3820" y="19735"/>
                    <a:pt x="9426" y="20097"/>
                  </a:cubicBezTo>
                  <a:cubicBezTo>
                    <a:pt x="15033" y="20278"/>
                    <a:pt x="19735" y="16118"/>
                    <a:pt x="20097" y="106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2" name="Google Shape;1432;p53"/>
            <p:cNvSpPr/>
            <p:nvPr/>
          </p:nvSpPr>
          <p:spPr>
            <a:xfrm>
              <a:off x="9825366" y="4555631"/>
              <a:ext cx="53093" cy="53114"/>
            </a:xfrm>
            <a:custGeom>
              <a:avLst/>
              <a:gdLst/>
              <a:ahLst/>
              <a:cxnLst/>
              <a:rect l="l" t="t" r="r" b="b"/>
              <a:pathLst>
                <a:path w="53093" h="53114" extrusionOk="0">
                  <a:moveTo>
                    <a:pt x="53042" y="28265"/>
                  </a:moveTo>
                  <a:cubicBezTo>
                    <a:pt x="53946" y="13616"/>
                    <a:pt x="42914" y="956"/>
                    <a:pt x="28265" y="52"/>
                  </a:cubicBezTo>
                  <a:cubicBezTo>
                    <a:pt x="13616" y="-852"/>
                    <a:pt x="956" y="10180"/>
                    <a:pt x="52" y="24829"/>
                  </a:cubicBezTo>
                  <a:cubicBezTo>
                    <a:pt x="-852" y="39478"/>
                    <a:pt x="10180" y="52138"/>
                    <a:pt x="24829" y="53042"/>
                  </a:cubicBezTo>
                  <a:cubicBezTo>
                    <a:pt x="39478" y="54127"/>
                    <a:pt x="52138" y="42914"/>
                    <a:pt x="53042" y="282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3" name="Google Shape;1433;p53"/>
            <p:cNvSpPr/>
            <p:nvPr/>
          </p:nvSpPr>
          <p:spPr>
            <a:xfrm>
              <a:off x="10801958" y="4422861"/>
              <a:ext cx="72490" cy="72471"/>
            </a:xfrm>
            <a:custGeom>
              <a:avLst/>
              <a:gdLst/>
              <a:ahLst/>
              <a:cxnLst/>
              <a:rect l="l" t="t" r="r" b="b"/>
              <a:pathLst>
                <a:path w="72490" h="72471" extrusionOk="0">
                  <a:moveTo>
                    <a:pt x="72416" y="38596"/>
                  </a:moveTo>
                  <a:cubicBezTo>
                    <a:pt x="73682" y="18703"/>
                    <a:pt x="58671" y="1521"/>
                    <a:pt x="38596" y="75"/>
                  </a:cubicBezTo>
                  <a:cubicBezTo>
                    <a:pt x="18703" y="-1192"/>
                    <a:pt x="1521" y="13819"/>
                    <a:pt x="75" y="33894"/>
                  </a:cubicBezTo>
                  <a:cubicBezTo>
                    <a:pt x="-1192" y="53788"/>
                    <a:pt x="13819" y="70969"/>
                    <a:pt x="33894" y="72416"/>
                  </a:cubicBezTo>
                  <a:cubicBezTo>
                    <a:pt x="53788" y="73501"/>
                    <a:pt x="71150" y="58490"/>
                    <a:pt x="72416" y="385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4" name="Google Shape;1434;p53"/>
            <p:cNvSpPr/>
            <p:nvPr/>
          </p:nvSpPr>
          <p:spPr>
            <a:xfrm>
              <a:off x="10387458" y="4872303"/>
              <a:ext cx="49302" cy="49302"/>
            </a:xfrm>
            <a:custGeom>
              <a:avLst/>
              <a:gdLst/>
              <a:ahLst/>
              <a:cxnLst/>
              <a:rect l="l" t="t" r="r" b="b"/>
              <a:pathLst>
                <a:path w="49302" h="49302" extrusionOk="0">
                  <a:moveTo>
                    <a:pt x="49248" y="26279"/>
                  </a:moveTo>
                  <a:cubicBezTo>
                    <a:pt x="50152" y="12715"/>
                    <a:pt x="39843" y="960"/>
                    <a:pt x="26279" y="55"/>
                  </a:cubicBezTo>
                  <a:cubicBezTo>
                    <a:pt x="12715" y="-849"/>
                    <a:pt x="959" y="9460"/>
                    <a:pt x="55" y="23024"/>
                  </a:cubicBezTo>
                  <a:cubicBezTo>
                    <a:pt x="-849" y="36588"/>
                    <a:pt x="9459" y="48343"/>
                    <a:pt x="23024" y="49248"/>
                  </a:cubicBezTo>
                  <a:cubicBezTo>
                    <a:pt x="36588" y="50152"/>
                    <a:pt x="48343" y="39843"/>
                    <a:pt x="4924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5" name="Google Shape;1435;p53"/>
            <p:cNvSpPr/>
            <p:nvPr/>
          </p:nvSpPr>
          <p:spPr>
            <a:xfrm>
              <a:off x="9837140" y="4567586"/>
              <a:ext cx="29364" cy="29364"/>
            </a:xfrm>
            <a:custGeom>
              <a:avLst/>
              <a:gdLst/>
              <a:ahLst/>
              <a:cxnLst/>
              <a:rect l="l" t="t" r="r" b="b"/>
              <a:pathLst>
                <a:path w="29364" h="29364" extrusionOk="0">
                  <a:moveTo>
                    <a:pt x="29332" y="15587"/>
                  </a:moveTo>
                  <a:cubicBezTo>
                    <a:pt x="29874" y="7448"/>
                    <a:pt x="23725" y="576"/>
                    <a:pt x="15587" y="33"/>
                  </a:cubicBezTo>
                  <a:cubicBezTo>
                    <a:pt x="7448" y="-509"/>
                    <a:pt x="576" y="5640"/>
                    <a:pt x="33" y="13778"/>
                  </a:cubicBezTo>
                  <a:cubicBezTo>
                    <a:pt x="-509" y="21917"/>
                    <a:pt x="5640" y="28789"/>
                    <a:pt x="13778" y="29332"/>
                  </a:cubicBezTo>
                  <a:cubicBezTo>
                    <a:pt x="21917" y="29874"/>
                    <a:pt x="28789" y="23725"/>
                    <a:pt x="29332" y="155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6" name="Google Shape;1436;p53"/>
            <p:cNvSpPr/>
            <p:nvPr/>
          </p:nvSpPr>
          <p:spPr>
            <a:xfrm>
              <a:off x="10813372" y="4434275"/>
              <a:ext cx="49843" cy="49824"/>
            </a:xfrm>
            <a:custGeom>
              <a:avLst/>
              <a:gdLst/>
              <a:ahLst/>
              <a:cxnLst/>
              <a:rect l="l" t="t" r="r" b="b"/>
              <a:pathLst>
                <a:path w="49843" h="49824" extrusionOk="0">
                  <a:moveTo>
                    <a:pt x="49789" y="26459"/>
                  </a:moveTo>
                  <a:cubicBezTo>
                    <a:pt x="50694" y="12714"/>
                    <a:pt x="40204" y="959"/>
                    <a:pt x="26459" y="54"/>
                  </a:cubicBezTo>
                  <a:cubicBezTo>
                    <a:pt x="12714" y="-850"/>
                    <a:pt x="959" y="9640"/>
                    <a:pt x="54" y="23385"/>
                  </a:cubicBezTo>
                  <a:cubicBezTo>
                    <a:pt x="-850" y="37130"/>
                    <a:pt x="9640" y="48885"/>
                    <a:pt x="23385" y="49789"/>
                  </a:cubicBezTo>
                  <a:cubicBezTo>
                    <a:pt x="36949" y="50513"/>
                    <a:pt x="48885" y="40023"/>
                    <a:pt x="49789" y="264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7" name="Google Shape;1437;p53"/>
            <p:cNvSpPr/>
            <p:nvPr/>
          </p:nvSpPr>
          <p:spPr>
            <a:xfrm>
              <a:off x="11112715" y="3970955"/>
              <a:ext cx="17050" cy="17050"/>
            </a:xfrm>
            <a:custGeom>
              <a:avLst/>
              <a:gdLst/>
              <a:ahLst/>
              <a:cxnLst/>
              <a:rect l="l" t="t" r="r" b="b"/>
              <a:pathLst>
                <a:path w="17050" h="17050" extrusionOk="0">
                  <a:moveTo>
                    <a:pt x="17025" y="9068"/>
                  </a:moveTo>
                  <a:cubicBezTo>
                    <a:pt x="17387" y="4366"/>
                    <a:pt x="13770" y="206"/>
                    <a:pt x="9068" y="25"/>
                  </a:cubicBezTo>
                  <a:cubicBezTo>
                    <a:pt x="4366" y="-337"/>
                    <a:pt x="206" y="3280"/>
                    <a:pt x="25" y="7983"/>
                  </a:cubicBezTo>
                  <a:cubicBezTo>
                    <a:pt x="-337" y="12685"/>
                    <a:pt x="3280" y="16844"/>
                    <a:pt x="7983" y="17025"/>
                  </a:cubicBezTo>
                  <a:cubicBezTo>
                    <a:pt x="12685" y="17387"/>
                    <a:pt x="16845" y="13770"/>
                    <a:pt x="17025" y="906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8" name="Google Shape;1438;p53"/>
            <p:cNvSpPr/>
            <p:nvPr/>
          </p:nvSpPr>
          <p:spPr>
            <a:xfrm>
              <a:off x="10061390" y="3846148"/>
              <a:ext cx="40416" cy="40416"/>
            </a:xfrm>
            <a:custGeom>
              <a:avLst/>
              <a:gdLst/>
              <a:ahLst/>
              <a:cxnLst/>
              <a:rect l="l" t="t" r="r" b="b"/>
              <a:pathLst>
                <a:path w="40416" h="40416" extrusionOk="0">
                  <a:moveTo>
                    <a:pt x="40373" y="21564"/>
                  </a:moveTo>
                  <a:cubicBezTo>
                    <a:pt x="41097" y="10352"/>
                    <a:pt x="32597" y="766"/>
                    <a:pt x="21564" y="43"/>
                  </a:cubicBezTo>
                  <a:cubicBezTo>
                    <a:pt x="10352" y="-681"/>
                    <a:pt x="766" y="7820"/>
                    <a:pt x="43" y="18852"/>
                  </a:cubicBezTo>
                  <a:cubicBezTo>
                    <a:pt x="-681" y="30065"/>
                    <a:pt x="7820" y="39650"/>
                    <a:pt x="18852" y="40373"/>
                  </a:cubicBezTo>
                  <a:cubicBezTo>
                    <a:pt x="30065" y="41097"/>
                    <a:pt x="39650" y="32597"/>
                    <a:pt x="40373" y="2156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39" name="Google Shape;1439;p53"/>
            <p:cNvSpPr/>
            <p:nvPr/>
          </p:nvSpPr>
          <p:spPr>
            <a:xfrm>
              <a:off x="10807394" y="4428116"/>
              <a:ext cx="61799" cy="61799"/>
            </a:xfrm>
            <a:custGeom>
              <a:avLst/>
              <a:gdLst/>
              <a:ahLst/>
              <a:cxnLst/>
              <a:rect l="l" t="t" r="r" b="b"/>
              <a:pathLst>
                <a:path w="61799" h="61799" extrusionOk="0">
                  <a:moveTo>
                    <a:pt x="61735" y="32980"/>
                  </a:moveTo>
                  <a:cubicBezTo>
                    <a:pt x="62820" y="15979"/>
                    <a:pt x="49980" y="1330"/>
                    <a:pt x="32979" y="64"/>
                  </a:cubicBezTo>
                  <a:cubicBezTo>
                    <a:pt x="15979" y="-1021"/>
                    <a:pt x="1330" y="11819"/>
                    <a:pt x="64" y="28820"/>
                  </a:cubicBezTo>
                  <a:cubicBezTo>
                    <a:pt x="-1021" y="45820"/>
                    <a:pt x="11819" y="60469"/>
                    <a:pt x="28820" y="61735"/>
                  </a:cubicBezTo>
                  <a:cubicBezTo>
                    <a:pt x="45820" y="62821"/>
                    <a:pt x="60650" y="49980"/>
                    <a:pt x="61735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0" name="Google Shape;1440;p53"/>
            <p:cNvSpPr/>
            <p:nvPr/>
          </p:nvSpPr>
          <p:spPr>
            <a:xfrm>
              <a:off x="10643884" y="4976450"/>
              <a:ext cx="65249" cy="65249"/>
            </a:xfrm>
            <a:custGeom>
              <a:avLst/>
              <a:gdLst/>
              <a:ahLst/>
              <a:cxnLst/>
              <a:rect l="l" t="t" r="r" b="b"/>
              <a:pathLst>
                <a:path w="65249" h="65249" extrusionOk="0">
                  <a:moveTo>
                    <a:pt x="65189" y="34805"/>
                  </a:moveTo>
                  <a:cubicBezTo>
                    <a:pt x="66274" y="16900"/>
                    <a:pt x="52710" y="1347"/>
                    <a:pt x="34805" y="81"/>
                  </a:cubicBezTo>
                  <a:cubicBezTo>
                    <a:pt x="16901" y="-1185"/>
                    <a:pt x="1347" y="12560"/>
                    <a:pt x="81" y="30464"/>
                  </a:cubicBezTo>
                  <a:cubicBezTo>
                    <a:pt x="-1185" y="48369"/>
                    <a:pt x="12560" y="63923"/>
                    <a:pt x="30465" y="65188"/>
                  </a:cubicBezTo>
                  <a:cubicBezTo>
                    <a:pt x="48550" y="66273"/>
                    <a:pt x="63923" y="52709"/>
                    <a:pt x="65189" y="348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1" name="Google Shape;1441;p53"/>
            <p:cNvSpPr/>
            <p:nvPr/>
          </p:nvSpPr>
          <p:spPr>
            <a:xfrm>
              <a:off x="10388721" y="4873566"/>
              <a:ext cx="46595" cy="46595"/>
            </a:xfrm>
            <a:custGeom>
              <a:avLst/>
              <a:gdLst/>
              <a:ahLst/>
              <a:cxnLst/>
              <a:rect l="l" t="t" r="r" b="b"/>
              <a:pathLst>
                <a:path w="46595" h="46595" extrusionOk="0">
                  <a:moveTo>
                    <a:pt x="46538" y="24835"/>
                  </a:moveTo>
                  <a:cubicBezTo>
                    <a:pt x="47442" y="11995"/>
                    <a:pt x="37676" y="962"/>
                    <a:pt x="24835" y="58"/>
                  </a:cubicBezTo>
                  <a:cubicBezTo>
                    <a:pt x="11995" y="-846"/>
                    <a:pt x="962" y="8920"/>
                    <a:pt x="58" y="21761"/>
                  </a:cubicBezTo>
                  <a:cubicBezTo>
                    <a:pt x="-846" y="34601"/>
                    <a:pt x="8920" y="45633"/>
                    <a:pt x="21761" y="46538"/>
                  </a:cubicBezTo>
                  <a:cubicBezTo>
                    <a:pt x="34601" y="47442"/>
                    <a:pt x="45633" y="37676"/>
                    <a:pt x="46538" y="248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2" name="Google Shape;1442;p53"/>
            <p:cNvSpPr/>
            <p:nvPr/>
          </p:nvSpPr>
          <p:spPr>
            <a:xfrm>
              <a:off x="10792711" y="4413434"/>
              <a:ext cx="91164" cy="91164"/>
            </a:xfrm>
            <a:custGeom>
              <a:avLst/>
              <a:gdLst/>
              <a:ahLst/>
              <a:cxnLst/>
              <a:rect l="l" t="t" r="r" b="b"/>
              <a:pathLst>
                <a:path w="91164" h="91164" extrusionOk="0">
                  <a:moveTo>
                    <a:pt x="91067" y="48566"/>
                  </a:moveTo>
                  <a:cubicBezTo>
                    <a:pt x="92695" y="23427"/>
                    <a:pt x="73705" y="1725"/>
                    <a:pt x="48566" y="97"/>
                  </a:cubicBezTo>
                  <a:cubicBezTo>
                    <a:pt x="23428" y="-1530"/>
                    <a:pt x="1725" y="17459"/>
                    <a:pt x="97" y="42598"/>
                  </a:cubicBezTo>
                  <a:cubicBezTo>
                    <a:pt x="-1530" y="67737"/>
                    <a:pt x="17459" y="89439"/>
                    <a:pt x="42598" y="91067"/>
                  </a:cubicBezTo>
                  <a:cubicBezTo>
                    <a:pt x="67737" y="92695"/>
                    <a:pt x="89439" y="73705"/>
                    <a:pt x="91067" y="485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3" name="Google Shape;1443;p53"/>
            <p:cNvSpPr/>
            <p:nvPr/>
          </p:nvSpPr>
          <p:spPr>
            <a:xfrm>
              <a:off x="11275042" y="4939169"/>
              <a:ext cx="103840" cy="103861"/>
            </a:xfrm>
            <a:custGeom>
              <a:avLst/>
              <a:gdLst/>
              <a:ahLst/>
              <a:cxnLst/>
              <a:rect l="l" t="t" r="r" b="b"/>
              <a:pathLst>
                <a:path w="103840" h="103861" extrusionOk="0">
                  <a:moveTo>
                    <a:pt x="103735" y="55266"/>
                  </a:moveTo>
                  <a:cubicBezTo>
                    <a:pt x="105543" y="26691"/>
                    <a:pt x="83841" y="1914"/>
                    <a:pt x="55266" y="105"/>
                  </a:cubicBezTo>
                  <a:cubicBezTo>
                    <a:pt x="26691" y="-1703"/>
                    <a:pt x="1914" y="19999"/>
                    <a:pt x="105" y="48574"/>
                  </a:cubicBezTo>
                  <a:cubicBezTo>
                    <a:pt x="-1703" y="77149"/>
                    <a:pt x="19999" y="101926"/>
                    <a:pt x="48574" y="103735"/>
                  </a:cubicBezTo>
                  <a:cubicBezTo>
                    <a:pt x="77149" y="105724"/>
                    <a:pt x="101926" y="84022"/>
                    <a:pt x="103735" y="552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4" name="Google Shape;1444;p53"/>
            <p:cNvSpPr/>
            <p:nvPr/>
          </p:nvSpPr>
          <p:spPr>
            <a:xfrm>
              <a:off x="10652229" y="4984794"/>
              <a:ext cx="48581" cy="48581"/>
            </a:xfrm>
            <a:custGeom>
              <a:avLst/>
              <a:gdLst/>
              <a:ahLst/>
              <a:cxnLst/>
              <a:rect l="l" t="t" r="r" b="b"/>
              <a:pathLst>
                <a:path w="48581" h="48581" extrusionOk="0">
                  <a:moveTo>
                    <a:pt x="48525" y="25918"/>
                  </a:moveTo>
                  <a:cubicBezTo>
                    <a:pt x="49429" y="12535"/>
                    <a:pt x="39302" y="960"/>
                    <a:pt x="25918" y="56"/>
                  </a:cubicBezTo>
                  <a:cubicBezTo>
                    <a:pt x="12535" y="-848"/>
                    <a:pt x="960" y="9280"/>
                    <a:pt x="56" y="22663"/>
                  </a:cubicBezTo>
                  <a:cubicBezTo>
                    <a:pt x="-848" y="36046"/>
                    <a:pt x="9280" y="47621"/>
                    <a:pt x="22663" y="48525"/>
                  </a:cubicBezTo>
                  <a:cubicBezTo>
                    <a:pt x="36046" y="49429"/>
                    <a:pt x="47621" y="39302"/>
                    <a:pt x="48525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5" name="Google Shape;1445;p53"/>
            <p:cNvSpPr/>
            <p:nvPr/>
          </p:nvSpPr>
          <p:spPr>
            <a:xfrm>
              <a:off x="10812107" y="4432830"/>
              <a:ext cx="52372" cy="52372"/>
            </a:xfrm>
            <a:custGeom>
              <a:avLst/>
              <a:gdLst/>
              <a:ahLst/>
              <a:cxnLst/>
              <a:rect l="l" t="t" r="r" b="b"/>
              <a:pathLst>
                <a:path w="52372" h="52372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1"/>
                    <a:pt x="957" y="10000"/>
                    <a:pt x="53" y="24468"/>
                  </a:cubicBezTo>
                  <a:cubicBezTo>
                    <a:pt x="-852" y="38936"/>
                    <a:pt x="10000" y="51415"/>
                    <a:pt x="24468" y="52320"/>
                  </a:cubicBezTo>
                  <a:cubicBezTo>
                    <a:pt x="38936" y="53224"/>
                    <a:pt x="51415" y="42373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6" name="Google Shape;1446;p53"/>
            <p:cNvSpPr/>
            <p:nvPr/>
          </p:nvSpPr>
          <p:spPr>
            <a:xfrm>
              <a:off x="11381650" y="4204623"/>
              <a:ext cx="20478" cy="20478"/>
            </a:xfrm>
            <a:custGeom>
              <a:avLst/>
              <a:gdLst/>
              <a:ahLst/>
              <a:cxnLst/>
              <a:rect l="l" t="t" r="r" b="b"/>
              <a:pathLst>
                <a:path w="20478" h="20478" extrusionOk="0">
                  <a:moveTo>
                    <a:pt x="20457" y="10872"/>
                  </a:moveTo>
                  <a:cubicBezTo>
                    <a:pt x="20819" y="5266"/>
                    <a:pt x="16479" y="383"/>
                    <a:pt x="10872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1" y="15213"/>
                    <a:pt x="4000" y="20096"/>
                    <a:pt x="9606" y="20458"/>
                  </a:cubicBezTo>
                  <a:cubicBezTo>
                    <a:pt x="15213" y="20820"/>
                    <a:pt x="20096" y="16479"/>
                    <a:pt x="20457" y="108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7" name="Google Shape;1447;p53"/>
            <p:cNvSpPr/>
            <p:nvPr/>
          </p:nvSpPr>
          <p:spPr>
            <a:xfrm>
              <a:off x="11067765" y="3925824"/>
              <a:ext cx="107130" cy="107130"/>
            </a:xfrm>
            <a:custGeom>
              <a:avLst/>
              <a:gdLst/>
              <a:ahLst/>
              <a:cxnLst/>
              <a:rect l="l" t="t" r="r" b="b"/>
              <a:pathLst>
                <a:path w="107130" h="107130" extrusionOk="0">
                  <a:moveTo>
                    <a:pt x="107008" y="57092"/>
                  </a:moveTo>
                  <a:cubicBezTo>
                    <a:pt x="108997" y="27613"/>
                    <a:pt x="86571" y="2112"/>
                    <a:pt x="57092" y="123"/>
                  </a:cubicBezTo>
                  <a:cubicBezTo>
                    <a:pt x="27613" y="-1867"/>
                    <a:pt x="2112" y="20559"/>
                    <a:pt x="123" y="50039"/>
                  </a:cubicBezTo>
                  <a:cubicBezTo>
                    <a:pt x="-1867" y="79518"/>
                    <a:pt x="20559" y="105018"/>
                    <a:pt x="50039" y="107008"/>
                  </a:cubicBezTo>
                  <a:cubicBezTo>
                    <a:pt x="79518" y="108997"/>
                    <a:pt x="105018" y="86571"/>
                    <a:pt x="107008" y="570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8" name="Google Shape;1448;p53"/>
            <p:cNvSpPr/>
            <p:nvPr/>
          </p:nvSpPr>
          <p:spPr>
            <a:xfrm>
              <a:off x="10797425" y="4418147"/>
              <a:ext cx="81737" cy="81737"/>
            </a:xfrm>
            <a:custGeom>
              <a:avLst/>
              <a:gdLst/>
              <a:ahLst/>
              <a:cxnLst/>
              <a:rect l="l" t="t" r="r" b="b"/>
              <a:pathLst>
                <a:path w="81737" h="81737" extrusionOk="0">
                  <a:moveTo>
                    <a:pt x="81651" y="43491"/>
                  </a:moveTo>
                  <a:cubicBezTo>
                    <a:pt x="83098" y="20884"/>
                    <a:pt x="66098" y="1533"/>
                    <a:pt x="43491" y="86"/>
                  </a:cubicBezTo>
                  <a:cubicBezTo>
                    <a:pt x="20884" y="-1361"/>
                    <a:pt x="1533" y="15639"/>
                    <a:pt x="86" y="38246"/>
                  </a:cubicBezTo>
                  <a:cubicBezTo>
                    <a:pt x="-1361" y="60853"/>
                    <a:pt x="15639" y="80205"/>
                    <a:pt x="38246" y="81651"/>
                  </a:cubicBezTo>
                  <a:cubicBezTo>
                    <a:pt x="60672" y="83098"/>
                    <a:pt x="80204" y="66098"/>
                    <a:pt x="81651" y="434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49" name="Google Shape;1449;p53"/>
            <p:cNvSpPr/>
            <p:nvPr/>
          </p:nvSpPr>
          <p:spPr>
            <a:xfrm>
              <a:off x="11562461" y="4251060"/>
              <a:ext cx="61980" cy="61961"/>
            </a:xfrm>
            <a:custGeom>
              <a:avLst/>
              <a:gdLst/>
              <a:ahLst/>
              <a:cxnLst/>
              <a:rect l="l" t="t" r="r" b="b"/>
              <a:pathLst>
                <a:path w="61980" h="61961" extrusionOk="0">
                  <a:moveTo>
                    <a:pt x="61916" y="32979"/>
                  </a:moveTo>
                  <a:cubicBezTo>
                    <a:pt x="63001" y="15979"/>
                    <a:pt x="50161" y="1149"/>
                    <a:pt x="32979" y="64"/>
                  </a:cubicBezTo>
                  <a:cubicBezTo>
                    <a:pt x="15798" y="-1021"/>
                    <a:pt x="1149" y="11819"/>
                    <a:pt x="64" y="29001"/>
                  </a:cubicBezTo>
                  <a:cubicBezTo>
                    <a:pt x="-1021" y="46001"/>
                    <a:pt x="11819" y="60831"/>
                    <a:pt x="29001" y="61916"/>
                  </a:cubicBezTo>
                  <a:cubicBezTo>
                    <a:pt x="46182" y="62821"/>
                    <a:pt x="60831" y="49980"/>
                    <a:pt x="61916" y="329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0" name="Google Shape;1450;p53"/>
            <p:cNvSpPr/>
            <p:nvPr/>
          </p:nvSpPr>
          <p:spPr>
            <a:xfrm>
              <a:off x="11320714" y="4984841"/>
              <a:ext cx="12497" cy="12497"/>
            </a:xfrm>
            <a:custGeom>
              <a:avLst/>
              <a:gdLst/>
              <a:ahLst/>
              <a:cxnLst/>
              <a:rect l="l" t="t" r="r" b="b"/>
              <a:pathLst>
                <a:path w="12497" h="12497" extrusionOk="0">
                  <a:moveTo>
                    <a:pt x="12488" y="6701"/>
                  </a:moveTo>
                  <a:cubicBezTo>
                    <a:pt x="12669" y="3265"/>
                    <a:pt x="10137" y="371"/>
                    <a:pt x="6701" y="9"/>
                  </a:cubicBezTo>
                  <a:cubicBezTo>
                    <a:pt x="3265" y="-172"/>
                    <a:pt x="371" y="2360"/>
                    <a:pt x="9" y="5797"/>
                  </a:cubicBezTo>
                  <a:cubicBezTo>
                    <a:pt x="-172" y="9233"/>
                    <a:pt x="2360" y="12126"/>
                    <a:pt x="5797" y="12488"/>
                  </a:cubicBezTo>
                  <a:cubicBezTo>
                    <a:pt x="9233" y="12669"/>
                    <a:pt x="12307" y="10137"/>
                    <a:pt x="12488" y="67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1" name="Google Shape;1451;p53"/>
            <p:cNvSpPr/>
            <p:nvPr/>
          </p:nvSpPr>
          <p:spPr>
            <a:xfrm>
              <a:off x="10815738" y="4436460"/>
              <a:ext cx="45111" cy="45130"/>
            </a:xfrm>
            <a:custGeom>
              <a:avLst/>
              <a:gdLst/>
              <a:ahLst/>
              <a:cxnLst/>
              <a:rect l="l" t="t" r="r" b="b"/>
              <a:pathLst>
                <a:path w="45111" h="45130" extrusionOk="0">
                  <a:moveTo>
                    <a:pt x="45072" y="24093"/>
                  </a:moveTo>
                  <a:cubicBezTo>
                    <a:pt x="45795" y="11614"/>
                    <a:pt x="36391" y="943"/>
                    <a:pt x="24093" y="39"/>
                  </a:cubicBezTo>
                  <a:cubicBezTo>
                    <a:pt x="11614" y="-684"/>
                    <a:pt x="943" y="8720"/>
                    <a:pt x="39" y="21018"/>
                  </a:cubicBezTo>
                  <a:cubicBezTo>
                    <a:pt x="-684" y="33497"/>
                    <a:pt x="8720" y="44167"/>
                    <a:pt x="21018" y="45072"/>
                  </a:cubicBezTo>
                  <a:cubicBezTo>
                    <a:pt x="33497" y="45976"/>
                    <a:pt x="44168" y="36391"/>
                    <a:pt x="45072" y="240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2" name="Google Shape;1452;p53"/>
            <p:cNvSpPr/>
            <p:nvPr/>
          </p:nvSpPr>
          <p:spPr>
            <a:xfrm>
              <a:off x="11570063" y="4258480"/>
              <a:ext cx="46957" cy="46937"/>
            </a:xfrm>
            <a:custGeom>
              <a:avLst/>
              <a:gdLst/>
              <a:ahLst/>
              <a:cxnLst/>
              <a:rect l="l" t="t" r="r" b="b"/>
              <a:pathLst>
                <a:path w="46957" h="46937" extrusionOk="0">
                  <a:moveTo>
                    <a:pt x="46899" y="25016"/>
                  </a:moveTo>
                  <a:cubicBezTo>
                    <a:pt x="47804" y="12176"/>
                    <a:pt x="38037" y="962"/>
                    <a:pt x="25016" y="58"/>
                  </a:cubicBezTo>
                  <a:cubicBezTo>
                    <a:pt x="12175" y="-846"/>
                    <a:pt x="962" y="8920"/>
                    <a:pt x="58" y="21942"/>
                  </a:cubicBezTo>
                  <a:cubicBezTo>
                    <a:pt x="-846" y="34782"/>
                    <a:pt x="8920" y="45995"/>
                    <a:pt x="21941" y="46900"/>
                  </a:cubicBezTo>
                  <a:cubicBezTo>
                    <a:pt x="34782" y="47623"/>
                    <a:pt x="45995" y="37857"/>
                    <a:pt x="46899" y="2501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3" name="Google Shape;1453;p53"/>
            <p:cNvSpPr/>
            <p:nvPr/>
          </p:nvSpPr>
          <p:spPr>
            <a:xfrm>
              <a:off x="11350299" y="4173272"/>
              <a:ext cx="83361" cy="83360"/>
            </a:xfrm>
            <a:custGeom>
              <a:avLst/>
              <a:gdLst/>
              <a:ahLst/>
              <a:cxnLst/>
              <a:rect l="l" t="t" r="r" b="b"/>
              <a:pathLst>
                <a:path w="83361" h="83360" extrusionOk="0">
                  <a:moveTo>
                    <a:pt x="83277" y="44394"/>
                  </a:moveTo>
                  <a:cubicBezTo>
                    <a:pt x="84724" y="21425"/>
                    <a:pt x="67362" y="1712"/>
                    <a:pt x="44394" y="84"/>
                  </a:cubicBezTo>
                  <a:cubicBezTo>
                    <a:pt x="21425" y="-1363"/>
                    <a:pt x="1712" y="16000"/>
                    <a:pt x="84" y="38968"/>
                  </a:cubicBezTo>
                  <a:cubicBezTo>
                    <a:pt x="-1363" y="61936"/>
                    <a:pt x="16000" y="81649"/>
                    <a:pt x="38968" y="83277"/>
                  </a:cubicBezTo>
                  <a:cubicBezTo>
                    <a:pt x="61936" y="84724"/>
                    <a:pt x="81650" y="67181"/>
                    <a:pt x="83277" y="443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4" name="Google Shape;1454;p53"/>
            <p:cNvSpPr/>
            <p:nvPr/>
          </p:nvSpPr>
          <p:spPr>
            <a:xfrm>
              <a:off x="12350596" y="5755197"/>
              <a:ext cx="95315" cy="95315"/>
            </a:xfrm>
            <a:custGeom>
              <a:avLst/>
              <a:gdLst/>
              <a:ahLst/>
              <a:cxnLst/>
              <a:rect l="l" t="t" r="r" b="b"/>
              <a:pathLst>
                <a:path w="95315" h="95315" extrusionOk="0">
                  <a:moveTo>
                    <a:pt x="95223" y="50732"/>
                  </a:moveTo>
                  <a:cubicBezTo>
                    <a:pt x="96850" y="24508"/>
                    <a:pt x="76956" y="1721"/>
                    <a:pt x="50733" y="93"/>
                  </a:cubicBezTo>
                  <a:cubicBezTo>
                    <a:pt x="24509" y="-1534"/>
                    <a:pt x="1721" y="18359"/>
                    <a:pt x="93" y="44583"/>
                  </a:cubicBezTo>
                  <a:cubicBezTo>
                    <a:pt x="-1534" y="70807"/>
                    <a:pt x="18360" y="93595"/>
                    <a:pt x="44583" y="95222"/>
                  </a:cubicBezTo>
                  <a:cubicBezTo>
                    <a:pt x="70807" y="96850"/>
                    <a:pt x="93414" y="76956"/>
                    <a:pt x="95223" y="50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5" name="Google Shape;1455;p53"/>
            <p:cNvSpPr/>
            <p:nvPr/>
          </p:nvSpPr>
          <p:spPr>
            <a:xfrm>
              <a:off x="12534428" y="5680950"/>
              <a:ext cx="11954" cy="11979"/>
            </a:xfrm>
            <a:custGeom>
              <a:avLst/>
              <a:gdLst/>
              <a:ahLst/>
              <a:cxnLst/>
              <a:rect l="l" t="t" r="r" b="b"/>
              <a:pathLst>
                <a:path w="11954" h="11979" extrusionOk="0">
                  <a:moveTo>
                    <a:pt x="11946" y="6339"/>
                  </a:moveTo>
                  <a:cubicBezTo>
                    <a:pt x="12127" y="3084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2" y="8871"/>
                    <a:pt x="2360" y="11765"/>
                    <a:pt x="5616" y="11946"/>
                  </a:cubicBezTo>
                  <a:cubicBezTo>
                    <a:pt x="8690" y="12307"/>
                    <a:pt x="11584" y="9775"/>
                    <a:pt x="11946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6" name="Google Shape;1456;p53"/>
            <p:cNvSpPr/>
            <p:nvPr/>
          </p:nvSpPr>
          <p:spPr>
            <a:xfrm>
              <a:off x="11888947" y="5716205"/>
              <a:ext cx="21743" cy="21743"/>
            </a:xfrm>
            <a:custGeom>
              <a:avLst/>
              <a:gdLst/>
              <a:ahLst/>
              <a:cxnLst/>
              <a:rect l="l" t="t" r="r" b="b"/>
              <a:pathLst>
                <a:path w="21743" h="21743" extrusionOk="0">
                  <a:moveTo>
                    <a:pt x="21723" y="11595"/>
                  </a:moveTo>
                  <a:cubicBezTo>
                    <a:pt x="22085" y="5627"/>
                    <a:pt x="17563" y="382"/>
                    <a:pt x="11595" y="20"/>
                  </a:cubicBezTo>
                  <a:cubicBezTo>
                    <a:pt x="5627" y="-342"/>
                    <a:pt x="382" y="4180"/>
                    <a:pt x="20" y="10148"/>
                  </a:cubicBezTo>
                  <a:cubicBezTo>
                    <a:pt x="-341" y="16116"/>
                    <a:pt x="4180" y="21361"/>
                    <a:pt x="10148" y="21723"/>
                  </a:cubicBezTo>
                  <a:cubicBezTo>
                    <a:pt x="16116" y="22085"/>
                    <a:pt x="21361" y="17563"/>
                    <a:pt x="21723" y="1159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7" name="Google Shape;1457;p53"/>
            <p:cNvSpPr/>
            <p:nvPr/>
          </p:nvSpPr>
          <p:spPr>
            <a:xfrm>
              <a:off x="12378858" y="5783278"/>
              <a:ext cx="38792" cy="38792"/>
            </a:xfrm>
            <a:custGeom>
              <a:avLst/>
              <a:gdLst/>
              <a:ahLst/>
              <a:cxnLst/>
              <a:rect l="l" t="t" r="r" b="b"/>
              <a:pathLst>
                <a:path w="38792" h="38792" extrusionOk="0">
                  <a:moveTo>
                    <a:pt x="38748" y="20662"/>
                  </a:moveTo>
                  <a:cubicBezTo>
                    <a:pt x="39471" y="9992"/>
                    <a:pt x="31333" y="768"/>
                    <a:pt x="20662" y="45"/>
                  </a:cubicBezTo>
                  <a:cubicBezTo>
                    <a:pt x="9992" y="-679"/>
                    <a:pt x="768" y="7460"/>
                    <a:pt x="45" y="18130"/>
                  </a:cubicBezTo>
                  <a:cubicBezTo>
                    <a:pt x="-678" y="28801"/>
                    <a:pt x="7460" y="38024"/>
                    <a:pt x="18130" y="38748"/>
                  </a:cubicBezTo>
                  <a:cubicBezTo>
                    <a:pt x="28800" y="39471"/>
                    <a:pt x="38024" y="31332"/>
                    <a:pt x="38748" y="206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8" name="Google Shape;1458;p53"/>
            <p:cNvSpPr/>
            <p:nvPr/>
          </p:nvSpPr>
          <p:spPr>
            <a:xfrm>
              <a:off x="12625896" y="6101754"/>
              <a:ext cx="51650" cy="51650"/>
            </a:xfrm>
            <a:custGeom>
              <a:avLst/>
              <a:gdLst/>
              <a:ahLst/>
              <a:cxnLst/>
              <a:rect l="l" t="t" r="r" b="b"/>
              <a:pathLst>
                <a:path w="51650" h="51650" extrusionOk="0">
                  <a:moveTo>
                    <a:pt x="51597" y="27543"/>
                  </a:moveTo>
                  <a:cubicBezTo>
                    <a:pt x="52501" y="13256"/>
                    <a:pt x="41831" y="958"/>
                    <a:pt x="27544" y="54"/>
                  </a:cubicBezTo>
                  <a:cubicBezTo>
                    <a:pt x="13256" y="-851"/>
                    <a:pt x="958" y="9819"/>
                    <a:pt x="53" y="24107"/>
                  </a:cubicBezTo>
                  <a:cubicBezTo>
                    <a:pt x="-851" y="38395"/>
                    <a:pt x="9820" y="50693"/>
                    <a:pt x="24107" y="51597"/>
                  </a:cubicBezTo>
                  <a:cubicBezTo>
                    <a:pt x="38395" y="52501"/>
                    <a:pt x="50693" y="41831"/>
                    <a:pt x="51597" y="275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59" name="Google Shape;1459;p53"/>
            <p:cNvSpPr/>
            <p:nvPr/>
          </p:nvSpPr>
          <p:spPr>
            <a:xfrm>
              <a:off x="11882970" y="5710228"/>
              <a:ext cx="33697" cy="33697"/>
            </a:xfrm>
            <a:custGeom>
              <a:avLst/>
              <a:gdLst/>
              <a:ahLst/>
              <a:cxnLst/>
              <a:rect l="l" t="t" r="r" b="b"/>
              <a:pathLst>
                <a:path w="33697" h="33697" extrusionOk="0">
                  <a:moveTo>
                    <a:pt x="33668" y="17934"/>
                  </a:moveTo>
                  <a:cubicBezTo>
                    <a:pt x="34211" y="8710"/>
                    <a:pt x="27157" y="572"/>
                    <a:pt x="17934" y="29"/>
                  </a:cubicBezTo>
                  <a:cubicBezTo>
                    <a:pt x="8711" y="-513"/>
                    <a:pt x="572" y="6540"/>
                    <a:pt x="29" y="15764"/>
                  </a:cubicBezTo>
                  <a:cubicBezTo>
                    <a:pt x="-513" y="24987"/>
                    <a:pt x="6540" y="33126"/>
                    <a:pt x="15764" y="33668"/>
                  </a:cubicBezTo>
                  <a:cubicBezTo>
                    <a:pt x="24987" y="34211"/>
                    <a:pt x="32945" y="27157"/>
                    <a:pt x="33668" y="179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0" name="Google Shape;1460;p53"/>
            <p:cNvSpPr/>
            <p:nvPr/>
          </p:nvSpPr>
          <p:spPr>
            <a:xfrm>
              <a:off x="12339524" y="5743943"/>
              <a:ext cx="117640" cy="117641"/>
            </a:xfrm>
            <a:custGeom>
              <a:avLst/>
              <a:gdLst/>
              <a:ahLst/>
              <a:cxnLst/>
              <a:rect l="l" t="t" r="r" b="b"/>
              <a:pathLst>
                <a:path w="117640" h="117641" extrusionOk="0">
                  <a:moveTo>
                    <a:pt x="117508" y="62709"/>
                  </a:moveTo>
                  <a:cubicBezTo>
                    <a:pt x="119678" y="30336"/>
                    <a:pt x="95082" y="2304"/>
                    <a:pt x="62709" y="133"/>
                  </a:cubicBezTo>
                  <a:cubicBezTo>
                    <a:pt x="30336" y="-2037"/>
                    <a:pt x="2303" y="22559"/>
                    <a:pt x="133" y="54932"/>
                  </a:cubicBezTo>
                  <a:cubicBezTo>
                    <a:pt x="-2037" y="87305"/>
                    <a:pt x="22559" y="115338"/>
                    <a:pt x="54932" y="117508"/>
                  </a:cubicBezTo>
                  <a:cubicBezTo>
                    <a:pt x="87305" y="119678"/>
                    <a:pt x="115337" y="95082"/>
                    <a:pt x="117508" y="6270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1" name="Google Shape;1461;p53"/>
            <p:cNvSpPr/>
            <p:nvPr/>
          </p:nvSpPr>
          <p:spPr>
            <a:xfrm>
              <a:off x="12508937" y="5655639"/>
              <a:ext cx="62575" cy="62575"/>
            </a:xfrm>
            <a:custGeom>
              <a:avLst/>
              <a:gdLst/>
              <a:ahLst/>
              <a:cxnLst/>
              <a:rect l="l" t="t" r="r" b="b"/>
              <a:pathLst>
                <a:path w="62575" h="62575" extrusionOk="0">
                  <a:moveTo>
                    <a:pt x="62575" y="31288"/>
                  </a:moveTo>
                  <a:cubicBezTo>
                    <a:pt x="62575" y="48568"/>
                    <a:pt x="48568" y="62576"/>
                    <a:pt x="31287" y="62576"/>
                  </a:cubicBezTo>
                  <a:cubicBezTo>
                    <a:pt x="14008" y="62576"/>
                    <a:pt x="-1" y="48568"/>
                    <a:pt x="-1" y="31288"/>
                  </a:cubicBezTo>
                  <a:cubicBezTo>
                    <a:pt x="-1" y="14008"/>
                    <a:pt x="14007" y="0"/>
                    <a:pt x="31287" y="0"/>
                  </a:cubicBezTo>
                  <a:cubicBezTo>
                    <a:pt x="48567" y="0"/>
                    <a:pt x="62575" y="14008"/>
                    <a:pt x="62575" y="3128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2" name="Google Shape;1462;p53"/>
            <p:cNvSpPr/>
            <p:nvPr/>
          </p:nvSpPr>
          <p:spPr>
            <a:xfrm>
              <a:off x="12474337" y="5733350"/>
              <a:ext cx="48400" cy="48400"/>
            </a:xfrm>
            <a:custGeom>
              <a:avLst/>
              <a:gdLst/>
              <a:ahLst/>
              <a:cxnLst/>
              <a:rect l="l" t="t" r="r" b="b"/>
              <a:pathLst>
                <a:path w="48400" h="48400" extrusionOk="0">
                  <a:moveTo>
                    <a:pt x="48345" y="25737"/>
                  </a:moveTo>
                  <a:cubicBezTo>
                    <a:pt x="49249" y="12354"/>
                    <a:pt x="39121" y="960"/>
                    <a:pt x="25738" y="56"/>
                  </a:cubicBezTo>
                  <a:cubicBezTo>
                    <a:pt x="12355" y="-848"/>
                    <a:pt x="961" y="9280"/>
                    <a:pt x="56" y="22663"/>
                  </a:cubicBezTo>
                  <a:cubicBezTo>
                    <a:pt x="-848" y="36046"/>
                    <a:pt x="9280" y="47440"/>
                    <a:pt x="22663" y="48344"/>
                  </a:cubicBezTo>
                  <a:cubicBezTo>
                    <a:pt x="35866" y="49249"/>
                    <a:pt x="47440" y="39121"/>
                    <a:pt x="48345" y="257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3" name="Google Shape;1463;p53"/>
            <p:cNvSpPr/>
            <p:nvPr/>
          </p:nvSpPr>
          <p:spPr>
            <a:xfrm>
              <a:off x="12368166" y="5772586"/>
              <a:ext cx="60175" cy="60175"/>
            </a:xfrm>
            <a:custGeom>
              <a:avLst/>
              <a:gdLst/>
              <a:ahLst/>
              <a:cxnLst/>
              <a:rect l="l" t="t" r="r" b="b"/>
              <a:pathLst>
                <a:path w="60175" h="60175" extrusionOk="0">
                  <a:moveTo>
                    <a:pt x="60110" y="32077"/>
                  </a:moveTo>
                  <a:cubicBezTo>
                    <a:pt x="61195" y="15438"/>
                    <a:pt x="48716" y="1151"/>
                    <a:pt x="32077" y="66"/>
                  </a:cubicBezTo>
                  <a:cubicBezTo>
                    <a:pt x="15438" y="-1019"/>
                    <a:pt x="1151" y="11460"/>
                    <a:pt x="66" y="28098"/>
                  </a:cubicBezTo>
                  <a:cubicBezTo>
                    <a:pt x="-1019" y="44737"/>
                    <a:pt x="11460" y="59024"/>
                    <a:pt x="28098" y="60110"/>
                  </a:cubicBezTo>
                  <a:cubicBezTo>
                    <a:pt x="44737" y="61195"/>
                    <a:pt x="59024" y="48716"/>
                    <a:pt x="60110" y="320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4" name="Google Shape;1464;p53"/>
            <p:cNvSpPr/>
            <p:nvPr/>
          </p:nvSpPr>
          <p:spPr>
            <a:xfrm>
              <a:off x="12635324" y="6111181"/>
              <a:ext cx="32615" cy="32637"/>
            </a:xfrm>
            <a:custGeom>
              <a:avLst/>
              <a:gdLst/>
              <a:ahLst/>
              <a:cxnLst/>
              <a:rect l="l" t="t" r="r" b="b"/>
              <a:pathLst>
                <a:path w="32615" h="32637" extrusionOk="0">
                  <a:moveTo>
                    <a:pt x="32584" y="17393"/>
                  </a:moveTo>
                  <a:cubicBezTo>
                    <a:pt x="33127" y="8350"/>
                    <a:pt x="26435" y="573"/>
                    <a:pt x="17393" y="31"/>
                  </a:cubicBezTo>
                  <a:cubicBezTo>
                    <a:pt x="8350" y="-512"/>
                    <a:pt x="573" y="6180"/>
                    <a:pt x="31" y="15222"/>
                  </a:cubicBezTo>
                  <a:cubicBezTo>
                    <a:pt x="-512" y="24265"/>
                    <a:pt x="6180" y="32042"/>
                    <a:pt x="15223" y="32585"/>
                  </a:cubicBezTo>
                  <a:cubicBezTo>
                    <a:pt x="24265" y="33308"/>
                    <a:pt x="32042" y="26435"/>
                    <a:pt x="32584" y="1739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5" name="Google Shape;1465;p53"/>
            <p:cNvSpPr/>
            <p:nvPr/>
          </p:nvSpPr>
          <p:spPr>
            <a:xfrm>
              <a:off x="12438634" y="5697647"/>
              <a:ext cx="119808" cy="119807"/>
            </a:xfrm>
            <a:custGeom>
              <a:avLst/>
              <a:gdLst/>
              <a:ahLst/>
              <a:cxnLst/>
              <a:rect l="l" t="t" r="r" b="b"/>
              <a:pathLst>
                <a:path w="119808" h="119807" extrusionOk="0">
                  <a:moveTo>
                    <a:pt x="119677" y="63792"/>
                  </a:moveTo>
                  <a:cubicBezTo>
                    <a:pt x="121847" y="30696"/>
                    <a:pt x="96889" y="2302"/>
                    <a:pt x="63793" y="131"/>
                  </a:cubicBezTo>
                  <a:cubicBezTo>
                    <a:pt x="30696" y="-2039"/>
                    <a:pt x="2302" y="22919"/>
                    <a:pt x="131" y="56016"/>
                  </a:cubicBezTo>
                  <a:cubicBezTo>
                    <a:pt x="-2039" y="89112"/>
                    <a:pt x="22919" y="117506"/>
                    <a:pt x="56015" y="119676"/>
                  </a:cubicBezTo>
                  <a:cubicBezTo>
                    <a:pt x="88931" y="121847"/>
                    <a:pt x="117506" y="96889"/>
                    <a:pt x="119677" y="6379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6" name="Google Shape;1466;p53"/>
            <p:cNvSpPr/>
            <p:nvPr/>
          </p:nvSpPr>
          <p:spPr>
            <a:xfrm>
              <a:off x="8220796" y="4186297"/>
              <a:ext cx="65631" cy="65631"/>
            </a:xfrm>
            <a:custGeom>
              <a:avLst/>
              <a:gdLst/>
              <a:ahLst/>
              <a:cxnLst/>
              <a:rect l="l" t="t" r="r" b="b"/>
              <a:pathLst>
                <a:path w="65631" h="65631" extrusionOk="0">
                  <a:moveTo>
                    <a:pt x="65550" y="34986"/>
                  </a:moveTo>
                  <a:cubicBezTo>
                    <a:pt x="66816" y="16900"/>
                    <a:pt x="53071" y="1347"/>
                    <a:pt x="34986" y="81"/>
                  </a:cubicBezTo>
                  <a:cubicBezTo>
                    <a:pt x="16900" y="-1185"/>
                    <a:pt x="1347" y="12560"/>
                    <a:pt x="81" y="30645"/>
                  </a:cubicBezTo>
                  <a:cubicBezTo>
                    <a:pt x="-1185" y="48731"/>
                    <a:pt x="12560" y="64284"/>
                    <a:pt x="30645" y="65550"/>
                  </a:cubicBezTo>
                  <a:cubicBezTo>
                    <a:pt x="48731" y="66816"/>
                    <a:pt x="64284" y="53071"/>
                    <a:pt x="65550" y="349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7" name="Google Shape;1467;p53"/>
            <p:cNvSpPr/>
            <p:nvPr/>
          </p:nvSpPr>
          <p:spPr>
            <a:xfrm>
              <a:off x="7599233" y="4523805"/>
              <a:ext cx="36445" cy="36445"/>
            </a:xfrm>
            <a:custGeom>
              <a:avLst/>
              <a:gdLst/>
              <a:ahLst/>
              <a:cxnLst/>
              <a:rect l="l" t="t" r="r" b="b"/>
              <a:pathLst>
                <a:path w="36445" h="36445" extrusionOk="0">
                  <a:moveTo>
                    <a:pt x="36398" y="19398"/>
                  </a:moveTo>
                  <a:cubicBezTo>
                    <a:pt x="37122" y="9270"/>
                    <a:pt x="29345" y="589"/>
                    <a:pt x="19398" y="47"/>
                  </a:cubicBezTo>
                  <a:cubicBezTo>
                    <a:pt x="9270" y="-677"/>
                    <a:pt x="589" y="7100"/>
                    <a:pt x="47" y="17047"/>
                  </a:cubicBezTo>
                  <a:cubicBezTo>
                    <a:pt x="-677" y="27175"/>
                    <a:pt x="7100" y="35856"/>
                    <a:pt x="17047" y="36398"/>
                  </a:cubicBezTo>
                  <a:cubicBezTo>
                    <a:pt x="27175" y="37122"/>
                    <a:pt x="35856" y="29526"/>
                    <a:pt x="36398" y="1939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8" name="Google Shape;1468;p53"/>
            <p:cNvSpPr/>
            <p:nvPr/>
          </p:nvSpPr>
          <p:spPr>
            <a:xfrm>
              <a:off x="8239650" y="4205332"/>
              <a:ext cx="27741" cy="27902"/>
            </a:xfrm>
            <a:custGeom>
              <a:avLst/>
              <a:gdLst/>
              <a:ahLst/>
              <a:cxnLst/>
              <a:rect l="l" t="t" r="r" b="b"/>
              <a:pathLst>
                <a:path w="27741" h="27902" extrusionOk="0">
                  <a:moveTo>
                    <a:pt x="27706" y="14865"/>
                  </a:moveTo>
                  <a:cubicBezTo>
                    <a:pt x="28249" y="7269"/>
                    <a:pt x="22461" y="578"/>
                    <a:pt x="14684" y="35"/>
                  </a:cubicBezTo>
                  <a:cubicBezTo>
                    <a:pt x="6908" y="-508"/>
                    <a:pt x="397" y="5280"/>
                    <a:pt x="35" y="13057"/>
                  </a:cubicBezTo>
                  <a:cubicBezTo>
                    <a:pt x="-507" y="20653"/>
                    <a:pt x="5280" y="27344"/>
                    <a:pt x="13057" y="27887"/>
                  </a:cubicBezTo>
                  <a:cubicBezTo>
                    <a:pt x="20653" y="28249"/>
                    <a:pt x="27344" y="22461"/>
                    <a:pt x="27706" y="1486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69" name="Google Shape;1469;p53"/>
            <p:cNvSpPr/>
            <p:nvPr/>
          </p:nvSpPr>
          <p:spPr>
            <a:xfrm>
              <a:off x="8217728" y="4183229"/>
              <a:ext cx="71767" cy="71768"/>
            </a:xfrm>
            <a:custGeom>
              <a:avLst/>
              <a:gdLst/>
              <a:ahLst/>
              <a:cxnLst/>
              <a:rect l="l" t="t" r="r" b="b"/>
              <a:pathLst>
                <a:path w="71767" h="71768" extrusionOk="0">
                  <a:moveTo>
                    <a:pt x="71693" y="38235"/>
                  </a:moveTo>
                  <a:cubicBezTo>
                    <a:pt x="72959" y="18522"/>
                    <a:pt x="57948" y="1521"/>
                    <a:pt x="38235" y="75"/>
                  </a:cubicBezTo>
                  <a:cubicBezTo>
                    <a:pt x="18522" y="-1192"/>
                    <a:pt x="1521" y="13819"/>
                    <a:pt x="75" y="33532"/>
                  </a:cubicBezTo>
                  <a:cubicBezTo>
                    <a:pt x="-1191" y="53246"/>
                    <a:pt x="13819" y="70246"/>
                    <a:pt x="33533" y="71693"/>
                  </a:cubicBezTo>
                  <a:cubicBezTo>
                    <a:pt x="53246" y="72959"/>
                    <a:pt x="70246" y="58129"/>
                    <a:pt x="71693" y="382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0" name="Google Shape;1470;p53"/>
            <p:cNvSpPr/>
            <p:nvPr/>
          </p:nvSpPr>
          <p:spPr>
            <a:xfrm>
              <a:off x="8341272" y="4427403"/>
              <a:ext cx="51469" cy="51450"/>
            </a:xfrm>
            <a:custGeom>
              <a:avLst/>
              <a:gdLst/>
              <a:ahLst/>
              <a:cxnLst/>
              <a:rect l="l" t="t" r="r" b="b"/>
              <a:pathLst>
                <a:path w="51469" h="51450" extrusionOk="0">
                  <a:moveTo>
                    <a:pt x="51416" y="27362"/>
                  </a:moveTo>
                  <a:cubicBezTo>
                    <a:pt x="52320" y="13256"/>
                    <a:pt x="41650" y="958"/>
                    <a:pt x="27363" y="53"/>
                  </a:cubicBezTo>
                  <a:cubicBezTo>
                    <a:pt x="13256" y="-851"/>
                    <a:pt x="958" y="9819"/>
                    <a:pt x="53" y="24107"/>
                  </a:cubicBezTo>
                  <a:cubicBezTo>
                    <a:pt x="-851" y="38214"/>
                    <a:pt x="9820" y="50512"/>
                    <a:pt x="24107" y="51416"/>
                  </a:cubicBezTo>
                  <a:cubicBezTo>
                    <a:pt x="38395" y="52139"/>
                    <a:pt x="50512" y="41469"/>
                    <a:pt x="51416" y="273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1" name="Google Shape;1471;p53"/>
            <p:cNvSpPr/>
            <p:nvPr/>
          </p:nvSpPr>
          <p:spPr>
            <a:xfrm>
              <a:off x="7598331" y="4522903"/>
              <a:ext cx="38430" cy="38430"/>
            </a:xfrm>
            <a:custGeom>
              <a:avLst/>
              <a:gdLst/>
              <a:ahLst/>
              <a:cxnLst/>
              <a:rect l="l" t="t" r="r" b="b"/>
              <a:pathLst>
                <a:path w="38430" h="38430" extrusionOk="0">
                  <a:moveTo>
                    <a:pt x="38386" y="20481"/>
                  </a:moveTo>
                  <a:cubicBezTo>
                    <a:pt x="39109" y="9811"/>
                    <a:pt x="30971" y="768"/>
                    <a:pt x="20481" y="45"/>
                  </a:cubicBezTo>
                  <a:cubicBezTo>
                    <a:pt x="9811" y="-679"/>
                    <a:pt x="768" y="7460"/>
                    <a:pt x="45" y="17949"/>
                  </a:cubicBezTo>
                  <a:cubicBezTo>
                    <a:pt x="-679" y="28620"/>
                    <a:pt x="7460" y="37663"/>
                    <a:pt x="17949" y="38386"/>
                  </a:cubicBezTo>
                  <a:cubicBezTo>
                    <a:pt x="28439" y="39109"/>
                    <a:pt x="37662" y="30971"/>
                    <a:pt x="38386" y="204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2" name="Google Shape;1472;p53"/>
            <p:cNvSpPr/>
            <p:nvPr/>
          </p:nvSpPr>
          <p:spPr>
            <a:xfrm>
              <a:off x="8216283" y="4181784"/>
              <a:ext cx="74837" cy="74857"/>
            </a:xfrm>
            <a:custGeom>
              <a:avLst/>
              <a:gdLst/>
              <a:ahLst/>
              <a:cxnLst/>
              <a:rect l="l" t="t" r="r" b="b"/>
              <a:pathLst>
                <a:path w="74837" h="74857" extrusionOk="0">
                  <a:moveTo>
                    <a:pt x="74765" y="39860"/>
                  </a:moveTo>
                  <a:cubicBezTo>
                    <a:pt x="76031" y="19243"/>
                    <a:pt x="60478" y="1338"/>
                    <a:pt x="39860" y="72"/>
                  </a:cubicBezTo>
                  <a:cubicBezTo>
                    <a:pt x="19243" y="-1194"/>
                    <a:pt x="1338" y="14359"/>
                    <a:pt x="72" y="34977"/>
                  </a:cubicBezTo>
                  <a:cubicBezTo>
                    <a:pt x="-1194" y="55594"/>
                    <a:pt x="14360" y="73499"/>
                    <a:pt x="34977" y="74765"/>
                  </a:cubicBezTo>
                  <a:cubicBezTo>
                    <a:pt x="55594" y="76212"/>
                    <a:pt x="73318" y="60477"/>
                    <a:pt x="74765" y="398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3" name="Google Shape;1473;p53"/>
            <p:cNvSpPr/>
            <p:nvPr/>
          </p:nvSpPr>
          <p:spPr>
            <a:xfrm>
              <a:off x="8602404" y="4131503"/>
              <a:ext cx="70143" cy="70143"/>
            </a:xfrm>
            <a:custGeom>
              <a:avLst/>
              <a:gdLst/>
              <a:ahLst/>
              <a:cxnLst/>
              <a:rect l="l" t="t" r="r" b="b"/>
              <a:pathLst>
                <a:path w="70143" h="70143" extrusionOk="0">
                  <a:moveTo>
                    <a:pt x="70067" y="37332"/>
                  </a:moveTo>
                  <a:cubicBezTo>
                    <a:pt x="71333" y="17981"/>
                    <a:pt x="56684" y="1342"/>
                    <a:pt x="37332" y="76"/>
                  </a:cubicBezTo>
                  <a:cubicBezTo>
                    <a:pt x="17981" y="-1190"/>
                    <a:pt x="1342" y="13459"/>
                    <a:pt x="76" y="32811"/>
                  </a:cubicBezTo>
                  <a:cubicBezTo>
                    <a:pt x="-1190" y="52162"/>
                    <a:pt x="13459" y="68801"/>
                    <a:pt x="32811" y="70067"/>
                  </a:cubicBezTo>
                  <a:cubicBezTo>
                    <a:pt x="52162" y="71333"/>
                    <a:pt x="68801" y="56684"/>
                    <a:pt x="70067" y="37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4" name="Google Shape;1474;p53"/>
            <p:cNvSpPr/>
            <p:nvPr/>
          </p:nvSpPr>
          <p:spPr>
            <a:xfrm>
              <a:off x="8236040" y="4201701"/>
              <a:ext cx="34962" cy="34982"/>
            </a:xfrm>
            <a:custGeom>
              <a:avLst/>
              <a:gdLst/>
              <a:ahLst/>
              <a:cxnLst/>
              <a:rect l="l" t="t" r="r" b="b"/>
              <a:pathLst>
                <a:path w="34962" h="34982" extrusionOk="0">
                  <a:moveTo>
                    <a:pt x="34934" y="18677"/>
                  </a:moveTo>
                  <a:cubicBezTo>
                    <a:pt x="35476" y="9091"/>
                    <a:pt x="28242" y="772"/>
                    <a:pt x="18657" y="49"/>
                  </a:cubicBezTo>
                  <a:cubicBezTo>
                    <a:pt x="9071" y="-675"/>
                    <a:pt x="752" y="6741"/>
                    <a:pt x="29" y="16326"/>
                  </a:cubicBezTo>
                  <a:cubicBezTo>
                    <a:pt x="-514" y="25911"/>
                    <a:pt x="6720" y="34230"/>
                    <a:pt x="16306" y="34954"/>
                  </a:cubicBezTo>
                  <a:cubicBezTo>
                    <a:pt x="26072" y="35496"/>
                    <a:pt x="34391" y="28262"/>
                    <a:pt x="34934" y="1867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5" name="Google Shape;1475;p53"/>
            <p:cNvSpPr/>
            <p:nvPr/>
          </p:nvSpPr>
          <p:spPr>
            <a:xfrm>
              <a:off x="8604750" y="4133849"/>
              <a:ext cx="65631" cy="65631"/>
            </a:xfrm>
            <a:custGeom>
              <a:avLst/>
              <a:gdLst/>
              <a:ahLst/>
              <a:cxnLst/>
              <a:rect l="l" t="t" r="r" b="b"/>
              <a:pathLst>
                <a:path w="65631" h="65631" extrusionOk="0">
                  <a:moveTo>
                    <a:pt x="65550" y="34986"/>
                  </a:moveTo>
                  <a:cubicBezTo>
                    <a:pt x="66816" y="16900"/>
                    <a:pt x="53071" y="1166"/>
                    <a:pt x="34986" y="81"/>
                  </a:cubicBezTo>
                  <a:cubicBezTo>
                    <a:pt x="16900" y="-1185"/>
                    <a:pt x="1166" y="12560"/>
                    <a:pt x="81" y="30645"/>
                  </a:cubicBezTo>
                  <a:cubicBezTo>
                    <a:pt x="-1185" y="48731"/>
                    <a:pt x="12560" y="64465"/>
                    <a:pt x="30645" y="65550"/>
                  </a:cubicBezTo>
                  <a:cubicBezTo>
                    <a:pt x="48731" y="66816"/>
                    <a:pt x="64284" y="53071"/>
                    <a:pt x="65550" y="3498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6" name="Google Shape;1476;p53"/>
            <p:cNvSpPr/>
            <p:nvPr/>
          </p:nvSpPr>
          <p:spPr>
            <a:xfrm>
              <a:off x="8354691" y="4440641"/>
              <a:ext cx="24813" cy="24812"/>
            </a:xfrm>
            <a:custGeom>
              <a:avLst/>
              <a:gdLst/>
              <a:ahLst/>
              <a:cxnLst/>
              <a:rect l="l" t="t" r="r" b="b"/>
              <a:pathLst>
                <a:path w="24813" h="24812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0"/>
                    <a:pt x="18" y="11593"/>
                  </a:cubicBezTo>
                  <a:cubicBezTo>
                    <a:pt x="-343" y="18465"/>
                    <a:pt x="4720" y="24253"/>
                    <a:pt x="11593" y="24795"/>
                  </a:cubicBezTo>
                  <a:cubicBezTo>
                    <a:pt x="18465" y="25157"/>
                    <a:pt x="24253" y="19912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7" name="Google Shape;1477;p53"/>
            <p:cNvSpPr/>
            <p:nvPr/>
          </p:nvSpPr>
          <p:spPr>
            <a:xfrm>
              <a:off x="10160339" y="2712755"/>
              <a:ext cx="20478" cy="20478"/>
            </a:xfrm>
            <a:custGeom>
              <a:avLst/>
              <a:gdLst/>
              <a:ahLst/>
              <a:cxnLst/>
              <a:rect l="l" t="t" r="r" b="b"/>
              <a:pathLst>
                <a:path w="20478" h="20478" extrusionOk="0">
                  <a:moveTo>
                    <a:pt x="20458" y="10872"/>
                  </a:moveTo>
                  <a:cubicBezTo>
                    <a:pt x="20819" y="5266"/>
                    <a:pt x="16479" y="383"/>
                    <a:pt x="10872" y="21"/>
                  </a:cubicBezTo>
                  <a:cubicBezTo>
                    <a:pt x="5266" y="-341"/>
                    <a:pt x="383" y="4000"/>
                    <a:pt x="21" y="9606"/>
                  </a:cubicBezTo>
                  <a:cubicBezTo>
                    <a:pt x="-340" y="15213"/>
                    <a:pt x="4000" y="20096"/>
                    <a:pt x="9607" y="20458"/>
                  </a:cubicBezTo>
                  <a:cubicBezTo>
                    <a:pt x="15213" y="20819"/>
                    <a:pt x="20096" y="16479"/>
                    <a:pt x="20458" y="108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8" name="Google Shape;1478;p53"/>
            <p:cNvSpPr/>
            <p:nvPr/>
          </p:nvSpPr>
          <p:spPr>
            <a:xfrm>
              <a:off x="10215322" y="3544326"/>
              <a:ext cx="24813" cy="24813"/>
            </a:xfrm>
            <a:custGeom>
              <a:avLst/>
              <a:gdLst/>
              <a:ahLst/>
              <a:cxnLst/>
              <a:rect l="l" t="t" r="r" b="b"/>
              <a:pathLst>
                <a:path w="24813" h="24813" extrusionOk="0">
                  <a:moveTo>
                    <a:pt x="24795" y="13221"/>
                  </a:moveTo>
                  <a:cubicBezTo>
                    <a:pt x="25157" y="6348"/>
                    <a:pt x="20093" y="561"/>
                    <a:pt x="13221" y="18"/>
                  </a:cubicBezTo>
                  <a:cubicBezTo>
                    <a:pt x="6348" y="-344"/>
                    <a:pt x="561" y="4720"/>
                    <a:pt x="18" y="11593"/>
                  </a:cubicBezTo>
                  <a:cubicBezTo>
                    <a:pt x="-344" y="18465"/>
                    <a:pt x="4720" y="24253"/>
                    <a:pt x="11593" y="24795"/>
                  </a:cubicBezTo>
                  <a:cubicBezTo>
                    <a:pt x="18465" y="25157"/>
                    <a:pt x="24253" y="20093"/>
                    <a:pt x="24795" y="132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79" name="Google Shape;1479;p53"/>
            <p:cNvSpPr/>
            <p:nvPr/>
          </p:nvSpPr>
          <p:spPr>
            <a:xfrm>
              <a:off x="10216225" y="3545229"/>
              <a:ext cx="23188" cy="23187"/>
            </a:xfrm>
            <a:custGeom>
              <a:avLst/>
              <a:gdLst/>
              <a:ahLst/>
              <a:cxnLst/>
              <a:rect l="l" t="t" r="r" b="b"/>
              <a:pathLst>
                <a:path w="23188" h="23187" extrusionOk="0">
                  <a:moveTo>
                    <a:pt x="23169" y="12318"/>
                  </a:moveTo>
                  <a:cubicBezTo>
                    <a:pt x="23530" y="5988"/>
                    <a:pt x="18828" y="381"/>
                    <a:pt x="12318" y="20"/>
                  </a:cubicBezTo>
                  <a:cubicBezTo>
                    <a:pt x="5988" y="-342"/>
                    <a:pt x="381" y="4360"/>
                    <a:pt x="20" y="10871"/>
                  </a:cubicBezTo>
                  <a:cubicBezTo>
                    <a:pt x="-342" y="17201"/>
                    <a:pt x="4360" y="22807"/>
                    <a:pt x="10871" y="23169"/>
                  </a:cubicBezTo>
                  <a:cubicBezTo>
                    <a:pt x="17201" y="23531"/>
                    <a:pt x="22626" y="18648"/>
                    <a:pt x="23169" y="123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0" name="Google Shape;1480;p53"/>
            <p:cNvSpPr/>
            <p:nvPr/>
          </p:nvSpPr>
          <p:spPr>
            <a:xfrm>
              <a:off x="10141484" y="2693899"/>
              <a:ext cx="58189" cy="58169"/>
            </a:xfrm>
            <a:custGeom>
              <a:avLst/>
              <a:gdLst/>
              <a:ahLst/>
              <a:cxnLst/>
              <a:rect l="l" t="t" r="r" b="b"/>
              <a:pathLst>
                <a:path w="58189" h="58169" extrusionOk="0">
                  <a:moveTo>
                    <a:pt x="58122" y="30994"/>
                  </a:moveTo>
                  <a:cubicBezTo>
                    <a:pt x="59207" y="14898"/>
                    <a:pt x="47090" y="1153"/>
                    <a:pt x="30994" y="68"/>
                  </a:cubicBezTo>
                  <a:cubicBezTo>
                    <a:pt x="14898" y="-1018"/>
                    <a:pt x="1153" y="11100"/>
                    <a:pt x="68" y="27196"/>
                  </a:cubicBezTo>
                  <a:cubicBezTo>
                    <a:pt x="-1018" y="43292"/>
                    <a:pt x="11100" y="57037"/>
                    <a:pt x="27196" y="58122"/>
                  </a:cubicBezTo>
                  <a:cubicBezTo>
                    <a:pt x="43292" y="59026"/>
                    <a:pt x="57037" y="46909"/>
                    <a:pt x="58122" y="3099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1" name="Google Shape;1481;p53"/>
            <p:cNvSpPr/>
            <p:nvPr/>
          </p:nvSpPr>
          <p:spPr>
            <a:xfrm>
              <a:off x="8631588" y="4160687"/>
              <a:ext cx="11954" cy="11954"/>
            </a:xfrm>
            <a:custGeom>
              <a:avLst/>
              <a:gdLst/>
              <a:ahLst/>
              <a:cxnLst/>
              <a:rect l="l" t="t" r="r" b="b"/>
              <a:pathLst>
                <a:path w="11954" h="11954" extrusionOk="0">
                  <a:moveTo>
                    <a:pt x="11945" y="6339"/>
                  </a:moveTo>
                  <a:cubicBezTo>
                    <a:pt x="12126" y="3084"/>
                    <a:pt x="9594" y="190"/>
                    <a:pt x="6339" y="9"/>
                  </a:cubicBezTo>
                  <a:cubicBezTo>
                    <a:pt x="3084" y="-172"/>
                    <a:pt x="190" y="2360"/>
                    <a:pt x="9" y="5616"/>
                  </a:cubicBezTo>
                  <a:cubicBezTo>
                    <a:pt x="-172" y="8871"/>
                    <a:pt x="2360" y="11765"/>
                    <a:pt x="5616" y="11945"/>
                  </a:cubicBezTo>
                  <a:cubicBezTo>
                    <a:pt x="8871" y="12126"/>
                    <a:pt x="11765" y="9594"/>
                    <a:pt x="11945" y="633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2" name="Google Shape;1482;p53"/>
            <p:cNvSpPr/>
            <p:nvPr/>
          </p:nvSpPr>
          <p:spPr>
            <a:xfrm>
              <a:off x="9906384" y="3877422"/>
              <a:ext cx="48581" cy="48581"/>
            </a:xfrm>
            <a:custGeom>
              <a:avLst/>
              <a:gdLst/>
              <a:ahLst/>
              <a:cxnLst/>
              <a:rect l="l" t="t" r="r" b="b"/>
              <a:pathLst>
                <a:path w="48581" h="48581" extrusionOk="0">
                  <a:moveTo>
                    <a:pt x="48525" y="25918"/>
                  </a:moveTo>
                  <a:cubicBezTo>
                    <a:pt x="49429" y="12535"/>
                    <a:pt x="39302" y="960"/>
                    <a:pt x="25918" y="56"/>
                  </a:cubicBezTo>
                  <a:cubicBezTo>
                    <a:pt x="12535" y="-848"/>
                    <a:pt x="960" y="9280"/>
                    <a:pt x="56" y="22663"/>
                  </a:cubicBezTo>
                  <a:cubicBezTo>
                    <a:pt x="-848" y="36046"/>
                    <a:pt x="9280" y="47621"/>
                    <a:pt x="22663" y="48525"/>
                  </a:cubicBezTo>
                  <a:cubicBezTo>
                    <a:pt x="36046" y="49429"/>
                    <a:pt x="47621" y="39302"/>
                    <a:pt x="48525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3" name="Google Shape;1483;p53"/>
            <p:cNvSpPr/>
            <p:nvPr/>
          </p:nvSpPr>
          <p:spPr>
            <a:xfrm>
              <a:off x="9922331" y="3893369"/>
              <a:ext cx="16688" cy="16689"/>
            </a:xfrm>
            <a:custGeom>
              <a:avLst/>
              <a:gdLst/>
              <a:ahLst/>
              <a:cxnLst/>
              <a:rect l="l" t="t" r="r" b="b"/>
              <a:pathLst>
                <a:path w="16688" h="16689" extrusionOk="0">
                  <a:moveTo>
                    <a:pt x="16664" y="8887"/>
                  </a:moveTo>
                  <a:cubicBezTo>
                    <a:pt x="17025" y="4185"/>
                    <a:pt x="13408" y="206"/>
                    <a:pt x="8887" y="25"/>
                  </a:cubicBezTo>
                  <a:cubicBezTo>
                    <a:pt x="4185" y="-337"/>
                    <a:pt x="206" y="3280"/>
                    <a:pt x="25" y="7802"/>
                  </a:cubicBezTo>
                  <a:cubicBezTo>
                    <a:pt x="-337" y="12504"/>
                    <a:pt x="3280" y="16483"/>
                    <a:pt x="7802" y="16664"/>
                  </a:cubicBezTo>
                  <a:cubicBezTo>
                    <a:pt x="12323" y="17025"/>
                    <a:pt x="16302" y="13589"/>
                    <a:pt x="16664" y="888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4" name="Google Shape;1484;p53"/>
            <p:cNvSpPr/>
            <p:nvPr/>
          </p:nvSpPr>
          <p:spPr>
            <a:xfrm>
              <a:off x="9810864" y="4541309"/>
              <a:ext cx="81918" cy="81917"/>
            </a:xfrm>
            <a:custGeom>
              <a:avLst/>
              <a:gdLst/>
              <a:ahLst/>
              <a:cxnLst/>
              <a:rect l="l" t="t" r="r" b="b"/>
              <a:pathLst>
                <a:path w="81918" h="81917" extrusionOk="0">
                  <a:moveTo>
                    <a:pt x="81832" y="43672"/>
                  </a:moveTo>
                  <a:cubicBezTo>
                    <a:pt x="83279" y="21065"/>
                    <a:pt x="66279" y="1714"/>
                    <a:pt x="43672" y="86"/>
                  </a:cubicBezTo>
                  <a:cubicBezTo>
                    <a:pt x="21065" y="-1361"/>
                    <a:pt x="1714" y="15639"/>
                    <a:pt x="86" y="38246"/>
                  </a:cubicBezTo>
                  <a:cubicBezTo>
                    <a:pt x="-1361" y="60853"/>
                    <a:pt x="15639" y="80205"/>
                    <a:pt x="38246" y="81832"/>
                  </a:cubicBezTo>
                  <a:cubicBezTo>
                    <a:pt x="60853" y="83279"/>
                    <a:pt x="80385" y="66098"/>
                    <a:pt x="81832" y="4367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5" name="Google Shape;1485;p53"/>
            <p:cNvSpPr/>
            <p:nvPr/>
          </p:nvSpPr>
          <p:spPr>
            <a:xfrm>
              <a:off x="12114807" y="3406305"/>
              <a:ext cx="36447" cy="36426"/>
            </a:xfrm>
            <a:custGeom>
              <a:avLst/>
              <a:gdLst/>
              <a:ahLst/>
              <a:cxnLst/>
              <a:rect l="l" t="t" r="r" b="b"/>
              <a:pathLst>
                <a:path w="36447" h="36426" extrusionOk="0">
                  <a:moveTo>
                    <a:pt x="36400" y="19399"/>
                  </a:moveTo>
                  <a:cubicBezTo>
                    <a:pt x="37123" y="9452"/>
                    <a:pt x="29527" y="771"/>
                    <a:pt x="19399" y="48"/>
                  </a:cubicBezTo>
                  <a:cubicBezTo>
                    <a:pt x="9452" y="-676"/>
                    <a:pt x="771" y="6920"/>
                    <a:pt x="48" y="17048"/>
                  </a:cubicBezTo>
                  <a:cubicBezTo>
                    <a:pt x="-675" y="26995"/>
                    <a:pt x="6920" y="35676"/>
                    <a:pt x="17048" y="36399"/>
                  </a:cubicBezTo>
                  <a:cubicBezTo>
                    <a:pt x="26995" y="36942"/>
                    <a:pt x="35676" y="29346"/>
                    <a:pt x="36400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6" name="Google Shape;1486;p53"/>
            <p:cNvSpPr/>
            <p:nvPr/>
          </p:nvSpPr>
          <p:spPr>
            <a:xfrm>
              <a:off x="11108182" y="3966422"/>
              <a:ext cx="26296" cy="26276"/>
            </a:xfrm>
            <a:custGeom>
              <a:avLst/>
              <a:gdLst/>
              <a:ahLst/>
              <a:cxnLst/>
              <a:rect l="l" t="t" r="r" b="b"/>
              <a:pathLst>
                <a:path w="26296" h="26276" extrusionOk="0">
                  <a:moveTo>
                    <a:pt x="26260" y="13962"/>
                  </a:moveTo>
                  <a:cubicBezTo>
                    <a:pt x="26803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5" y="26260"/>
                  </a:cubicBezTo>
                  <a:cubicBezTo>
                    <a:pt x="19388" y="26622"/>
                    <a:pt x="25718" y="21015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7" name="Google Shape;1487;p53"/>
            <p:cNvSpPr/>
            <p:nvPr/>
          </p:nvSpPr>
          <p:spPr>
            <a:xfrm>
              <a:off x="12117897" y="3409395"/>
              <a:ext cx="30267" cy="30267"/>
            </a:xfrm>
            <a:custGeom>
              <a:avLst/>
              <a:gdLst/>
              <a:ahLst/>
              <a:cxnLst/>
              <a:rect l="l" t="t" r="r" b="b"/>
              <a:pathLst>
                <a:path w="30267" h="30267" extrusionOk="0">
                  <a:moveTo>
                    <a:pt x="30235" y="16128"/>
                  </a:moveTo>
                  <a:cubicBezTo>
                    <a:pt x="30778" y="7809"/>
                    <a:pt x="24448" y="575"/>
                    <a:pt x="16129" y="32"/>
                  </a:cubicBezTo>
                  <a:cubicBezTo>
                    <a:pt x="7809" y="-510"/>
                    <a:pt x="575" y="5820"/>
                    <a:pt x="32" y="14139"/>
                  </a:cubicBezTo>
                  <a:cubicBezTo>
                    <a:pt x="-510" y="22458"/>
                    <a:pt x="5820" y="29693"/>
                    <a:pt x="14139" y="30235"/>
                  </a:cubicBezTo>
                  <a:cubicBezTo>
                    <a:pt x="22458" y="30778"/>
                    <a:pt x="29693" y="24448"/>
                    <a:pt x="30235" y="161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8" name="Google Shape;1488;p53"/>
            <p:cNvSpPr/>
            <p:nvPr/>
          </p:nvSpPr>
          <p:spPr>
            <a:xfrm>
              <a:off x="12301822" y="3910538"/>
              <a:ext cx="26296" cy="26277"/>
            </a:xfrm>
            <a:custGeom>
              <a:avLst/>
              <a:gdLst/>
              <a:ahLst/>
              <a:cxnLst/>
              <a:rect l="l" t="t" r="r" b="b"/>
              <a:pathLst>
                <a:path w="26296" h="26277" extrusionOk="0">
                  <a:moveTo>
                    <a:pt x="26260" y="13962"/>
                  </a:moveTo>
                  <a:cubicBezTo>
                    <a:pt x="26802" y="6728"/>
                    <a:pt x="21196" y="579"/>
                    <a:pt x="13962" y="36"/>
                  </a:cubicBezTo>
                  <a:cubicBezTo>
                    <a:pt x="6728" y="-506"/>
                    <a:pt x="579" y="5100"/>
                    <a:pt x="36" y="12334"/>
                  </a:cubicBezTo>
                  <a:cubicBezTo>
                    <a:pt x="-506" y="19569"/>
                    <a:pt x="5100" y="25718"/>
                    <a:pt x="12334" y="26260"/>
                  </a:cubicBezTo>
                  <a:cubicBezTo>
                    <a:pt x="19568" y="26622"/>
                    <a:pt x="25717" y="21196"/>
                    <a:pt x="26260" y="1396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89" name="Google Shape;1489;p53"/>
            <p:cNvSpPr/>
            <p:nvPr/>
          </p:nvSpPr>
          <p:spPr>
            <a:xfrm>
              <a:off x="11092778" y="3951017"/>
              <a:ext cx="56925" cy="56905"/>
            </a:xfrm>
            <a:custGeom>
              <a:avLst/>
              <a:gdLst/>
              <a:ahLst/>
              <a:cxnLst/>
              <a:rect l="l" t="t" r="r" b="b"/>
              <a:pathLst>
                <a:path w="56925" h="56905" extrusionOk="0">
                  <a:moveTo>
                    <a:pt x="56857" y="30271"/>
                  </a:moveTo>
                  <a:cubicBezTo>
                    <a:pt x="57942" y="14537"/>
                    <a:pt x="46005" y="973"/>
                    <a:pt x="30271" y="68"/>
                  </a:cubicBezTo>
                  <a:cubicBezTo>
                    <a:pt x="14537" y="-1017"/>
                    <a:pt x="973" y="10920"/>
                    <a:pt x="69" y="26654"/>
                  </a:cubicBezTo>
                  <a:cubicBezTo>
                    <a:pt x="-1017" y="42389"/>
                    <a:pt x="10920" y="55953"/>
                    <a:pt x="26654" y="56857"/>
                  </a:cubicBezTo>
                  <a:cubicBezTo>
                    <a:pt x="42388" y="57761"/>
                    <a:pt x="55953" y="46006"/>
                    <a:pt x="56857" y="302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0" name="Google Shape;1490;p53"/>
            <p:cNvSpPr/>
            <p:nvPr/>
          </p:nvSpPr>
          <p:spPr>
            <a:xfrm>
              <a:off x="12111920" y="3403418"/>
              <a:ext cx="42221" cy="42222"/>
            </a:xfrm>
            <a:custGeom>
              <a:avLst/>
              <a:gdLst/>
              <a:ahLst/>
              <a:cxnLst/>
              <a:rect l="l" t="t" r="r" b="b"/>
              <a:pathLst>
                <a:path w="42221" h="42222" extrusionOk="0">
                  <a:moveTo>
                    <a:pt x="42180" y="22467"/>
                  </a:moveTo>
                  <a:cubicBezTo>
                    <a:pt x="42904" y="10712"/>
                    <a:pt x="34042" y="765"/>
                    <a:pt x="22467" y="41"/>
                  </a:cubicBezTo>
                  <a:cubicBezTo>
                    <a:pt x="10892" y="-682"/>
                    <a:pt x="764" y="8180"/>
                    <a:pt x="41" y="19754"/>
                  </a:cubicBezTo>
                  <a:cubicBezTo>
                    <a:pt x="-682" y="31510"/>
                    <a:pt x="8179" y="41457"/>
                    <a:pt x="19754" y="42180"/>
                  </a:cubicBezTo>
                  <a:cubicBezTo>
                    <a:pt x="31329" y="42904"/>
                    <a:pt x="41457" y="34223"/>
                    <a:pt x="42180" y="2246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1" name="Google Shape;1491;p53"/>
            <p:cNvSpPr/>
            <p:nvPr/>
          </p:nvSpPr>
          <p:spPr>
            <a:xfrm>
              <a:off x="12180610" y="3131739"/>
              <a:ext cx="69962" cy="69984"/>
            </a:xfrm>
            <a:custGeom>
              <a:avLst/>
              <a:gdLst/>
              <a:ahLst/>
              <a:cxnLst/>
              <a:rect l="l" t="t" r="r" b="b"/>
              <a:pathLst>
                <a:path w="69962" h="69984" extrusionOk="0">
                  <a:moveTo>
                    <a:pt x="69886" y="37332"/>
                  </a:moveTo>
                  <a:cubicBezTo>
                    <a:pt x="71152" y="17981"/>
                    <a:pt x="56503" y="1342"/>
                    <a:pt x="37332" y="76"/>
                  </a:cubicBezTo>
                  <a:cubicBezTo>
                    <a:pt x="17981" y="-1190"/>
                    <a:pt x="1342" y="13459"/>
                    <a:pt x="76" y="32630"/>
                  </a:cubicBezTo>
                  <a:cubicBezTo>
                    <a:pt x="-1190" y="51982"/>
                    <a:pt x="13459" y="68620"/>
                    <a:pt x="32630" y="69886"/>
                  </a:cubicBezTo>
                  <a:cubicBezTo>
                    <a:pt x="51981" y="71333"/>
                    <a:pt x="68620" y="56684"/>
                    <a:pt x="69886" y="373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2" name="Google Shape;1492;p53"/>
            <p:cNvSpPr/>
            <p:nvPr/>
          </p:nvSpPr>
          <p:spPr>
            <a:xfrm>
              <a:off x="12084540" y="3376038"/>
              <a:ext cx="96981" cy="96981"/>
            </a:xfrm>
            <a:custGeom>
              <a:avLst/>
              <a:gdLst/>
              <a:ahLst/>
              <a:cxnLst/>
              <a:rect l="l" t="t" r="r" b="b"/>
              <a:pathLst>
                <a:path w="96981" h="96981" extrusionOk="0">
                  <a:moveTo>
                    <a:pt x="96870" y="51656"/>
                  </a:moveTo>
                  <a:cubicBezTo>
                    <a:pt x="98678" y="24889"/>
                    <a:pt x="78422" y="1740"/>
                    <a:pt x="51656" y="112"/>
                  </a:cubicBezTo>
                  <a:cubicBezTo>
                    <a:pt x="24889" y="-1696"/>
                    <a:pt x="1740" y="18559"/>
                    <a:pt x="112" y="45326"/>
                  </a:cubicBezTo>
                  <a:cubicBezTo>
                    <a:pt x="-1696" y="72092"/>
                    <a:pt x="18559" y="95242"/>
                    <a:pt x="45326" y="96869"/>
                  </a:cubicBezTo>
                  <a:cubicBezTo>
                    <a:pt x="72093" y="98678"/>
                    <a:pt x="95061" y="78422"/>
                    <a:pt x="96870" y="516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3" name="Google Shape;1493;p53"/>
            <p:cNvSpPr/>
            <p:nvPr/>
          </p:nvSpPr>
          <p:spPr>
            <a:xfrm>
              <a:off x="12196014" y="3147324"/>
              <a:ext cx="39154" cy="39153"/>
            </a:xfrm>
            <a:custGeom>
              <a:avLst/>
              <a:gdLst/>
              <a:ahLst/>
              <a:cxnLst/>
              <a:rect l="l" t="t" r="r" b="b"/>
              <a:pathLst>
                <a:path w="39154" h="39153" extrusionOk="0">
                  <a:moveTo>
                    <a:pt x="39109" y="20843"/>
                  </a:moveTo>
                  <a:cubicBezTo>
                    <a:pt x="39832" y="9992"/>
                    <a:pt x="31694" y="768"/>
                    <a:pt x="20843" y="45"/>
                  </a:cubicBezTo>
                  <a:cubicBezTo>
                    <a:pt x="9992" y="-679"/>
                    <a:pt x="768" y="7460"/>
                    <a:pt x="45" y="18311"/>
                  </a:cubicBezTo>
                  <a:cubicBezTo>
                    <a:pt x="-679" y="29162"/>
                    <a:pt x="7460" y="38386"/>
                    <a:pt x="18311" y="39109"/>
                  </a:cubicBezTo>
                  <a:cubicBezTo>
                    <a:pt x="28982" y="39833"/>
                    <a:pt x="38386" y="31513"/>
                    <a:pt x="39109" y="2084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4" name="Google Shape;1494;p53"/>
            <p:cNvSpPr/>
            <p:nvPr/>
          </p:nvSpPr>
          <p:spPr>
            <a:xfrm>
              <a:off x="12099945" y="3391442"/>
              <a:ext cx="65990" cy="65991"/>
            </a:xfrm>
            <a:custGeom>
              <a:avLst/>
              <a:gdLst/>
              <a:ahLst/>
              <a:cxnLst/>
              <a:rect l="l" t="t" r="r" b="b"/>
              <a:pathLst>
                <a:path w="65990" h="65991" extrusionOk="0">
                  <a:moveTo>
                    <a:pt x="65911" y="35166"/>
                  </a:moveTo>
                  <a:cubicBezTo>
                    <a:pt x="67177" y="16899"/>
                    <a:pt x="53251" y="1346"/>
                    <a:pt x="35166" y="80"/>
                  </a:cubicBezTo>
                  <a:cubicBezTo>
                    <a:pt x="16899" y="-1186"/>
                    <a:pt x="1346" y="12740"/>
                    <a:pt x="80" y="30825"/>
                  </a:cubicBezTo>
                  <a:cubicBezTo>
                    <a:pt x="-1186" y="49091"/>
                    <a:pt x="12739" y="64645"/>
                    <a:pt x="30825" y="65911"/>
                  </a:cubicBezTo>
                  <a:cubicBezTo>
                    <a:pt x="49091" y="67177"/>
                    <a:pt x="64826" y="53432"/>
                    <a:pt x="65911" y="351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5" name="Google Shape;1495;p53"/>
            <p:cNvSpPr/>
            <p:nvPr/>
          </p:nvSpPr>
          <p:spPr>
            <a:xfrm>
              <a:off x="12307257" y="3915973"/>
              <a:ext cx="15427" cy="15427"/>
            </a:xfrm>
            <a:custGeom>
              <a:avLst/>
              <a:gdLst/>
              <a:ahLst/>
              <a:cxnLst/>
              <a:rect l="l" t="t" r="r" b="b"/>
              <a:pathLst>
                <a:path w="15427" h="15427" extrusionOk="0">
                  <a:moveTo>
                    <a:pt x="15400" y="8166"/>
                  </a:moveTo>
                  <a:cubicBezTo>
                    <a:pt x="15762" y="3825"/>
                    <a:pt x="12506" y="208"/>
                    <a:pt x="8166" y="27"/>
                  </a:cubicBezTo>
                  <a:cubicBezTo>
                    <a:pt x="3825" y="-334"/>
                    <a:pt x="208" y="2921"/>
                    <a:pt x="27" y="7262"/>
                  </a:cubicBezTo>
                  <a:cubicBezTo>
                    <a:pt x="-334" y="11602"/>
                    <a:pt x="2921" y="15219"/>
                    <a:pt x="7261" y="15400"/>
                  </a:cubicBezTo>
                  <a:cubicBezTo>
                    <a:pt x="11421" y="15762"/>
                    <a:pt x="15038" y="12506"/>
                    <a:pt x="15400" y="816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6" name="Google Shape;1496;p53"/>
            <p:cNvSpPr/>
            <p:nvPr/>
          </p:nvSpPr>
          <p:spPr>
            <a:xfrm>
              <a:off x="12102854" y="3394351"/>
              <a:ext cx="60354" cy="60354"/>
            </a:xfrm>
            <a:custGeom>
              <a:avLst/>
              <a:gdLst/>
              <a:ahLst/>
              <a:cxnLst/>
              <a:rect l="l" t="t" r="r" b="b"/>
              <a:pathLst>
                <a:path w="60354" h="60354" extrusionOk="0">
                  <a:moveTo>
                    <a:pt x="60289" y="32076"/>
                  </a:moveTo>
                  <a:cubicBezTo>
                    <a:pt x="61374" y="15437"/>
                    <a:pt x="48715" y="1150"/>
                    <a:pt x="32076" y="65"/>
                  </a:cubicBezTo>
                  <a:cubicBezTo>
                    <a:pt x="15437" y="-1020"/>
                    <a:pt x="1150" y="11640"/>
                    <a:pt x="65" y="28278"/>
                  </a:cubicBezTo>
                  <a:cubicBezTo>
                    <a:pt x="-1020" y="44917"/>
                    <a:pt x="11639" y="59204"/>
                    <a:pt x="28278" y="60289"/>
                  </a:cubicBezTo>
                  <a:cubicBezTo>
                    <a:pt x="44736" y="61375"/>
                    <a:pt x="59204" y="48715"/>
                    <a:pt x="60289" y="3207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7" name="Google Shape;1497;p53"/>
            <p:cNvSpPr/>
            <p:nvPr/>
          </p:nvSpPr>
          <p:spPr>
            <a:xfrm>
              <a:off x="9111530" y="4170226"/>
              <a:ext cx="49483" cy="49464"/>
            </a:xfrm>
            <a:custGeom>
              <a:avLst/>
              <a:gdLst/>
              <a:ahLst/>
              <a:cxnLst/>
              <a:rect l="l" t="t" r="r" b="b"/>
              <a:pathLst>
                <a:path w="49483" h="49464" extrusionOk="0">
                  <a:moveTo>
                    <a:pt x="49428" y="26279"/>
                  </a:moveTo>
                  <a:cubicBezTo>
                    <a:pt x="50333" y="12715"/>
                    <a:pt x="40024" y="779"/>
                    <a:pt x="26279" y="55"/>
                  </a:cubicBezTo>
                  <a:cubicBezTo>
                    <a:pt x="12715" y="-849"/>
                    <a:pt x="779" y="9459"/>
                    <a:pt x="55" y="23205"/>
                  </a:cubicBezTo>
                  <a:cubicBezTo>
                    <a:pt x="-849" y="36769"/>
                    <a:pt x="9460" y="48705"/>
                    <a:pt x="23205" y="49428"/>
                  </a:cubicBezTo>
                  <a:cubicBezTo>
                    <a:pt x="36769" y="50152"/>
                    <a:pt x="48524" y="39843"/>
                    <a:pt x="49428" y="262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8" name="Google Shape;1498;p53"/>
            <p:cNvSpPr/>
            <p:nvPr/>
          </p:nvSpPr>
          <p:spPr>
            <a:xfrm>
              <a:off x="8618891" y="4148171"/>
              <a:ext cx="37168" cy="37148"/>
            </a:xfrm>
            <a:custGeom>
              <a:avLst/>
              <a:gdLst/>
              <a:ahLst/>
              <a:cxnLst/>
              <a:rect l="l" t="t" r="r" b="b"/>
              <a:pathLst>
                <a:path w="37168" h="37148" extrusionOk="0">
                  <a:moveTo>
                    <a:pt x="37122" y="19760"/>
                  </a:moveTo>
                  <a:cubicBezTo>
                    <a:pt x="37845" y="9632"/>
                    <a:pt x="30069" y="770"/>
                    <a:pt x="19760" y="47"/>
                  </a:cubicBezTo>
                  <a:cubicBezTo>
                    <a:pt x="9632" y="-677"/>
                    <a:pt x="770" y="7100"/>
                    <a:pt x="47" y="17409"/>
                  </a:cubicBezTo>
                  <a:cubicBezTo>
                    <a:pt x="-677" y="27537"/>
                    <a:pt x="7100" y="36398"/>
                    <a:pt x="17409" y="37122"/>
                  </a:cubicBezTo>
                  <a:cubicBezTo>
                    <a:pt x="27537" y="37664"/>
                    <a:pt x="36398" y="29888"/>
                    <a:pt x="37122" y="1976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99" name="Google Shape;1499;p53"/>
            <p:cNvSpPr/>
            <p:nvPr/>
          </p:nvSpPr>
          <p:spPr>
            <a:xfrm>
              <a:off x="8341814" y="4427764"/>
              <a:ext cx="50386" cy="50386"/>
            </a:xfrm>
            <a:custGeom>
              <a:avLst/>
              <a:gdLst/>
              <a:ahLst/>
              <a:cxnLst/>
              <a:rect l="l" t="t" r="r" b="b"/>
              <a:pathLst>
                <a:path w="50386" h="50386" extrusionOk="0">
                  <a:moveTo>
                    <a:pt x="50332" y="26821"/>
                  </a:moveTo>
                  <a:cubicBezTo>
                    <a:pt x="51236" y="12895"/>
                    <a:pt x="40747" y="959"/>
                    <a:pt x="26821" y="54"/>
                  </a:cubicBezTo>
                  <a:cubicBezTo>
                    <a:pt x="12895" y="-850"/>
                    <a:pt x="959" y="9640"/>
                    <a:pt x="54" y="23565"/>
                  </a:cubicBezTo>
                  <a:cubicBezTo>
                    <a:pt x="-850" y="37491"/>
                    <a:pt x="9640" y="49428"/>
                    <a:pt x="23565" y="50332"/>
                  </a:cubicBezTo>
                  <a:cubicBezTo>
                    <a:pt x="37491" y="51236"/>
                    <a:pt x="49428" y="40747"/>
                    <a:pt x="50332" y="268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0" name="Google Shape;1500;p53"/>
            <p:cNvSpPr/>
            <p:nvPr/>
          </p:nvSpPr>
          <p:spPr>
            <a:xfrm>
              <a:off x="9103567" y="4162243"/>
              <a:ext cx="65229" cy="65269"/>
            </a:xfrm>
            <a:custGeom>
              <a:avLst/>
              <a:gdLst/>
              <a:ahLst/>
              <a:cxnLst/>
              <a:rect l="l" t="t" r="r" b="b"/>
              <a:pathLst>
                <a:path w="65229" h="65269" extrusionOk="0">
                  <a:moveTo>
                    <a:pt x="65168" y="34805"/>
                  </a:moveTo>
                  <a:cubicBezTo>
                    <a:pt x="66253" y="16900"/>
                    <a:pt x="52689" y="1347"/>
                    <a:pt x="34785" y="81"/>
                  </a:cubicBezTo>
                  <a:cubicBezTo>
                    <a:pt x="16880" y="-1185"/>
                    <a:pt x="1327" y="12560"/>
                    <a:pt x="61" y="30464"/>
                  </a:cubicBezTo>
                  <a:cubicBezTo>
                    <a:pt x="-1024" y="48369"/>
                    <a:pt x="12540" y="63923"/>
                    <a:pt x="30444" y="65188"/>
                  </a:cubicBezTo>
                  <a:cubicBezTo>
                    <a:pt x="48530" y="66454"/>
                    <a:pt x="64083" y="52710"/>
                    <a:pt x="65168" y="3480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1" name="Google Shape;1501;p53"/>
            <p:cNvSpPr/>
            <p:nvPr/>
          </p:nvSpPr>
          <p:spPr>
            <a:xfrm>
              <a:off x="8929071" y="4966552"/>
              <a:ext cx="31351" cy="31350"/>
            </a:xfrm>
            <a:custGeom>
              <a:avLst/>
              <a:gdLst/>
              <a:ahLst/>
              <a:cxnLst/>
              <a:rect l="l" t="t" r="r" b="b"/>
              <a:pathLst>
                <a:path w="31351" h="31350" extrusionOk="0">
                  <a:moveTo>
                    <a:pt x="31319" y="16670"/>
                  </a:moveTo>
                  <a:cubicBezTo>
                    <a:pt x="31862" y="7989"/>
                    <a:pt x="25351" y="574"/>
                    <a:pt x="16670" y="32"/>
                  </a:cubicBezTo>
                  <a:cubicBezTo>
                    <a:pt x="7989" y="-511"/>
                    <a:pt x="574" y="6000"/>
                    <a:pt x="32" y="14681"/>
                  </a:cubicBezTo>
                  <a:cubicBezTo>
                    <a:pt x="-511" y="23362"/>
                    <a:pt x="6000" y="30777"/>
                    <a:pt x="14681" y="31319"/>
                  </a:cubicBezTo>
                  <a:cubicBezTo>
                    <a:pt x="23181" y="31862"/>
                    <a:pt x="30777" y="25351"/>
                    <a:pt x="31319" y="166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2" name="Google Shape;1502;p53"/>
            <p:cNvSpPr/>
            <p:nvPr/>
          </p:nvSpPr>
          <p:spPr>
            <a:xfrm>
              <a:off x="8355775" y="4441725"/>
              <a:ext cx="22465" cy="22465"/>
            </a:xfrm>
            <a:custGeom>
              <a:avLst/>
              <a:gdLst/>
              <a:ahLst/>
              <a:cxnLst/>
              <a:rect l="l" t="t" r="r" b="b"/>
              <a:pathLst>
                <a:path w="22465" h="22465" extrusionOk="0">
                  <a:moveTo>
                    <a:pt x="22446" y="11956"/>
                  </a:moveTo>
                  <a:cubicBezTo>
                    <a:pt x="22807" y="5807"/>
                    <a:pt x="18105" y="381"/>
                    <a:pt x="11956" y="20"/>
                  </a:cubicBezTo>
                  <a:cubicBezTo>
                    <a:pt x="5807" y="-342"/>
                    <a:pt x="381" y="4360"/>
                    <a:pt x="20" y="10509"/>
                  </a:cubicBezTo>
                  <a:cubicBezTo>
                    <a:pt x="-342" y="16658"/>
                    <a:pt x="4360" y="22084"/>
                    <a:pt x="10509" y="22446"/>
                  </a:cubicBezTo>
                  <a:cubicBezTo>
                    <a:pt x="16839" y="22807"/>
                    <a:pt x="22084" y="18286"/>
                    <a:pt x="22446" y="119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3" name="Google Shape;1503;p53"/>
            <p:cNvSpPr/>
            <p:nvPr/>
          </p:nvSpPr>
          <p:spPr>
            <a:xfrm>
              <a:off x="9116243" y="4174759"/>
              <a:ext cx="40056" cy="40078"/>
            </a:xfrm>
            <a:custGeom>
              <a:avLst/>
              <a:gdLst/>
              <a:ahLst/>
              <a:cxnLst/>
              <a:rect l="l" t="t" r="r" b="b"/>
              <a:pathLst>
                <a:path w="40056" h="40078" extrusionOk="0">
                  <a:moveTo>
                    <a:pt x="40013" y="21385"/>
                  </a:moveTo>
                  <a:cubicBezTo>
                    <a:pt x="40736" y="10352"/>
                    <a:pt x="32417" y="767"/>
                    <a:pt x="21385" y="44"/>
                  </a:cubicBezTo>
                  <a:cubicBezTo>
                    <a:pt x="10353" y="-680"/>
                    <a:pt x="767" y="7640"/>
                    <a:pt x="44" y="18672"/>
                  </a:cubicBezTo>
                  <a:cubicBezTo>
                    <a:pt x="-680" y="29704"/>
                    <a:pt x="7640" y="39289"/>
                    <a:pt x="18672" y="40013"/>
                  </a:cubicBezTo>
                  <a:cubicBezTo>
                    <a:pt x="29704" y="40917"/>
                    <a:pt x="39289" y="32417"/>
                    <a:pt x="40013" y="213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4" name="Google Shape;1504;p53"/>
            <p:cNvSpPr/>
            <p:nvPr/>
          </p:nvSpPr>
          <p:spPr>
            <a:xfrm>
              <a:off x="8628680" y="4157779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205"/>
                    <a:pt x="9428" y="24"/>
                  </a:cubicBezTo>
                  <a:cubicBezTo>
                    <a:pt x="4545" y="-338"/>
                    <a:pt x="205" y="3460"/>
                    <a:pt x="24" y="8343"/>
                  </a:cubicBezTo>
                  <a:cubicBezTo>
                    <a:pt x="-338" y="13226"/>
                    <a:pt x="3460" y="17567"/>
                    <a:pt x="8343" y="17748"/>
                  </a:cubicBezTo>
                  <a:cubicBezTo>
                    <a:pt x="13226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5" name="Google Shape;1505;p53"/>
            <p:cNvSpPr/>
            <p:nvPr/>
          </p:nvSpPr>
          <p:spPr>
            <a:xfrm>
              <a:off x="9108260" y="4166957"/>
              <a:ext cx="55842" cy="55842"/>
            </a:xfrm>
            <a:custGeom>
              <a:avLst/>
              <a:gdLst/>
              <a:ahLst/>
              <a:cxnLst/>
              <a:rect l="l" t="t" r="r" b="b"/>
              <a:pathLst>
                <a:path w="55842" h="55842" extrusionOk="0">
                  <a:moveTo>
                    <a:pt x="55773" y="29730"/>
                  </a:moveTo>
                  <a:cubicBezTo>
                    <a:pt x="56858" y="14357"/>
                    <a:pt x="45102" y="1155"/>
                    <a:pt x="29730" y="69"/>
                  </a:cubicBezTo>
                  <a:cubicBezTo>
                    <a:pt x="14357" y="-1016"/>
                    <a:pt x="1155" y="10740"/>
                    <a:pt x="69" y="26113"/>
                  </a:cubicBezTo>
                  <a:cubicBezTo>
                    <a:pt x="-1016" y="41485"/>
                    <a:pt x="10740" y="54688"/>
                    <a:pt x="26112" y="55773"/>
                  </a:cubicBezTo>
                  <a:cubicBezTo>
                    <a:pt x="41485" y="56858"/>
                    <a:pt x="54868" y="45102"/>
                    <a:pt x="55773" y="2973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6" name="Google Shape;1506;p53"/>
            <p:cNvSpPr/>
            <p:nvPr/>
          </p:nvSpPr>
          <p:spPr>
            <a:xfrm>
              <a:off x="9824081" y="4554527"/>
              <a:ext cx="55482" cy="55461"/>
            </a:xfrm>
            <a:custGeom>
              <a:avLst/>
              <a:gdLst/>
              <a:ahLst/>
              <a:cxnLst/>
              <a:rect l="l" t="t" r="r" b="b"/>
              <a:pathLst>
                <a:path w="55482" h="55461" extrusionOk="0">
                  <a:moveTo>
                    <a:pt x="55412" y="29550"/>
                  </a:moveTo>
                  <a:cubicBezTo>
                    <a:pt x="56497" y="14358"/>
                    <a:pt x="44922" y="1156"/>
                    <a:pt x="29550" y="70"/>
                  </a:cubicBezTo>
                  <a:cubicBezTo>
                    <a:pt x="14358" y="-1015"/>
                    <a:pt x="1156" y="10560"/>
                    <a:pt x="70" y="25933"/>
                  </a:cubicBezTo>
                  <a:cubicBezTo>
                    <a:pt x="-1015" y="41124"/>
                    <a:pt x="10560" y="54327"/>
                    <a:pt x="25933" y="55412"/>
                  </a:cubicBezTo>
                  <a:cubicBezTo>
                    <a:pt x="41305" y="56316"/>
                    <a:pt x="54327" y="44742"/>
                    <a:pt x="55412" y="2955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7" name="Google Shape;1507;p53"/>
            <p:cNvSpPr/>
            <p:nvPr/>
          </p:nvSpPr>
          <p:spPr>
            <a:xfrm>
              <a:off x="8892646" y="4930308"/>
              <a:ext cx="104021" cy="104020"/>
            </a:xfrm>
            <a:custGeom>
              <a:avLst/>
              <a:gdLst/>
              <a:ahLst/>
              <a:cxnLst/>
              <a:rect l="l" t="t" r="r" b="b"/>
              <a:pathLst>
                <a:path w="104021" h="104020" extrusionOk="0">
                  <a:moveTo>
                    <a:pt x="103916" y="55447"/>
                  </a:moveTo>
                  <a:cubicBezTo>
                    <a:pt x="105724" y="26691"/>
                    <a:pt x="84022" y="1914"/>
                    <a:pt x="55447" y="105"/>
                  </a:cubicBezTo>
                  <a:cubicBezTo>
                    <a:pt x="26691" y="-1703"/>
                    <a:pt x="1914" y="19999"/>
                    <a:pt x="105" y="48574"/>
                  </a:cubicBezTo>
                  <a:cubicBezTo>
                    <a:pt x="-1703" y="77330"/>
                    <a:pt x="19999" y="102107"/>
                    <a:pt x="48574" y="103916"/>
                  </a:cubicBezTo>
                  <a:cubicBezTo>
                    <a:pt x="77330" y="105724"/>
                    <a:pt x="102107" y="84022"/>
                    <a:pt x="103916" y="5544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8" name="Google Shape;1508;p53"/>
            <p:cNvSpPr/>
            <p:nvPr/>
          </p:nvSpPr>
          <p:spPr>
            <a:xfrm>
              <a:off x="9104830" y="4163346"/>
              <a:ext cx="62882" cy="62903"/>
            </a:xfrm>
            <a:custGeom>
              <a:avLst/>
              <a:gdLst/>
              <a:ahLst/>
              <a:cxnLst/>
              <a:rect l="l" t="t" r="r" b="b"/>
              <a:pathLst>
                <a:path w="62882" h="62903" extrusionOk="0">
                  <a:moveTo>
                    <a:pt x="62820" y="33521"/>
                  </a:moveTo>
                  <a:cubicBezTo>
                    <a:pt x="63905" y="16159"/>
                    <a:pt x="50883" y="1148"/>
                    <a:pt x="33521" y="63"/>
                  </a:cubicBezTo>
                  <a:cubicBezTo>
                    <a:pt x="16159" y="-1022"/>
                    <a:pt x="1148" y="12000"/>
                    <a:pt x="63" y="29361"/>
                  </a:cubicBezTo>
                  <a:cubicBezTo>
                    <a:pt x="-1022" y="46724"/>
                    <a:pt x="11999" y="61735"/>
                    <a:pt x="29362" y="62820"/>
                  </a:cubicBezTo>
                  <a:cubicBezTo>
                    <a:pt x="46724" y="64086"/>
                    <a:pt x="61734" y="50883"/>
                    <a:pt x="62820" y="3352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09" name="Google Shape;1509;p53"/>
            <p:cNvSpPr/>
            <p:nvPr/>
          </p:nvSpPr>
          <p:spPr>
            <a:xfrm>
              <a:off x="9821374" y="4551820"/>
              <a:ext cx="60896" cy="60896"/>
            </a:xfrm>
            <a:custGeom>
              <a:avLst/>
              <a:gdLst/>
              <a:ahLst/>
              <a:cxnLst/>
              <a:rect l="l" t="t" r="r" b="b"/>
              <a:pathLst>
                <a:path w="60896" h="60896" extrusionOk="0">
                  <a:moveTo>
                    <a:pt x="60832" y="32438"/>
                  </a:moveTo>
                  <a:cubicBezTo>
                    <a:pt x="61917" y="15618"/>
                    <a:pt x="49257" y="1150"/>
                    <a:pt x="32438" y="65"/>
                  </a:cubicBezTo>
                  <a:cubicBezTo>
                    <a:pt x="15618" y="-1020"/>
                    <a:pt x="1150" y="11640"/>
                    <a:pt x="65" y="28459"/>
                  </a:cubicBezTo>
                  <a:cubicBezTo>
                    <a:pt x="-1020" y="45278"/>
                    <a:pt x="11640" y="59747"/>
                    <a:pt x="28459" y="60832"/>
                  </a:cubicBezTo>
                  <a:cubicBezTo>
                    <a:pt x="45278" y="61917"/>
                    <a:pt x="59747" y="49257"/>
                    <a:pt x="60832" y="3243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0" name="Google Shape;1510;p53"/>
            <p:cNvSpPr/>
            <p:nvPr/>
          </p:nvSpPr>
          <p:spPr>
            <a:xfrm>
              <a:off x="12098555" y="4500137"/>
              <a:ext cx="18673" cy="18674"/>
            </a:xfrm>
            <a:custGeom>
              <a:avLst/>
              <a:gdLst/>
              <a:ahLst/>
              <a:cxnLst/>
              <a:rect l="l" t="t" r="r" b="b"/>
              <a:pathLst>
                <a:path w="18673" h="18674" extrusionOk="0">
                  <a:moveTo>
                    <a:pt x="18651" y="9970"/>
                  </a:moveTo>
                  <a:cubicBezTo>
                    <a:pt x="19013" y="4725"/>
                    <a:pt x="15034" y="385"/>
                    <a:pt x="9970" y="23"/>
                  </a:cubicBezTo>
                  <a:cubicBezTo>
                    <a:pt x="4725" y="-339"/>
                    <a:pt x="385" y="3640"/>
                    <a:pt x="23" y="8704"/>
                  </a:cubicBezTo>
                  <a:cubicBezTo>
                    <a:pt x="-339" y="13949"/>
                    <a:pt x="3640" y="18289"/>
                    <a:pt x="8704" y="18651"/>
                  </a:cubicBezTo>
                  <a:cubicBezTo>
                    <a:pt x="13949" y="19013"/>
                    <a:pt x="18289" y="15215"/>
                    <a:pt x="18651" y="99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1" name="Google Shape;1511;p53"/>
            <p:cNvSpPr/>
            <p:nvPr/>
          </p:nvSpPr>
          <p:spPr>
            <a:xfrm>
              <a:off x="12297108" y="3906005"/>
              <a:ext cx="35364" cy="35343"/>
            </a:xfrm>
            <a:custGeom>
              <a:avLst/>
              <a:gdLst/>
              <a:ahLst/>
              <a:cxnLst/>
              <a:rect l="l" t="t" r="r" b="b"/>
              <a:pathLst>
                <a:path w="35364" h="35343" extrusionOk="0">
                  <a:moveTo>
                    <a:pt x="35316" y="18858"/>
                  </a:moveTo>
                  <a:cubicBezTo>
                    <a:pt x="36039" y="9091"/>
                    <a:pt x="28624" y="772"/>
                    <a:pt x="18858" y="49"/>
                  </a:cubicBezTo>
                  <a:cubicBezTo>
                    <a:pt x="9091" y="-675"/>
                    <a:pt x="772" y="6740"/>
                    <a:pt x="49" y="16507"/>
                  </a:cubicBezTo>
                  <a:cubicBezTo>
                    <a:pt x="-675" y="26273"/>
                    <a:pt x="6740" y="34592"/>
                    <a:pt x="16507" y="35315"/>
                  </a:cubicBezTo>
                  <a:cubicBezTo>
                    <a:pt x="26453" y="35858"/>
                    <a:pt x="34773" y="28443"/>
                    <a:pt x="35316" y="1885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2" name="Google Shape;1512;p53"/>
            <p:cNvSpPr/>
            <p:nvPr/>
          </p:nvSpPr>
          <p:spPr>
            <a:xfrm>
              <a:off x="11567717" y="4256135"/>
              <a:ext cx="51648" cy="51648"/>
            </a:xfrm>
            <a:custGeom>
              <a:avLst/>
              <a:gdLst/>
              <a:ahLst/>
              <a:cxnLst/>
              <a:rect l="l" t="t" r="r" b="b"/>
              <a:pathLst>
                <a:path w="51648" h="51648" extrusionOk="0">
                  <a:moveTo>
                    <a:pt x="51596" y="27542"/>
                  </a:moveTo>
                  <a:cubicBezTo>
                    <a:pt x="52500" y="13255"/>
                    <a:pt x="41649" y="957"/>
                    <a:pt x="27543" y="53"/>
                  </a:cubicBezTo>
                  <a:cubicBezTo>
                    <a:pt x="13255" y="-852"/>
                    <a:pt x="957" y="10000"/>
                    <a:pt x="53" y="24106"/>
                  </a:cubicBezTo>
                  <a:cubicBezTo>
                    <a:pt x="-852" y="38394"/>
                    <a:pt x="10000" y="50692"/>
                    <a:pt x="24106" y="51596"/>
                  </a:cubicBezTo>
                  <a:cubicBezTo>
                    <a:pt x="38394" y="52500"/>
                    <a:pt x="50692" y="41649"/>
                    <a:pt x="51596" y="2754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3" name="Google Shape;1513;p53"/>
            <p:cNvSpPr/>
            <p:nvPr/>
          </p:nvSpPr>
          <p:spPr>
            <a:xfrm>
              <a:off x="12083511" y="4485274"/>
              <a:ext cx="48762" cy="48742"/>
            </a:xfrm>
            <a:custGeom>
              <a:avLst/>
              <a:gdLst/>
              <a:ahLst/>
              <a:cxnLst/>
              <a:rect l="l" t="t" r="r" b="b"/>
              <a:pathLst>
                <a:path w="48762" h="48742" extrusionOk="0">
                  <a:moveTo>
                    <a:pt x="48706" y="25918"/>
                  </a:moveTo>
                  <a:cubicBezTo>
                    <a:pt x="49610" y="12535"/>
                    <a:pt x="39482" y="779"/>
                    <a:pt x="25918" y="56"/>
                  </a:cubicBezTo>
                  <a:cubicBezTo>
                    <a:pt x="12535" y="-848"/>
                    <a:pt x="780" y="9280"/>
                    <a:pt x="56" y="22844"/>
                  </a:cubicBezTo>
                  <a:cubicBezTo>
                    <a:pt x="-848" y="36227"/>
                    <a:pt x="9280" y="47982"/>
                    <a:pt x="22844" y="48706"/>
                  </a:cubicBezTo>
                  <a:cubicBezTo>
                    <a:pt x="36227" y="49429"/>
                    <a:pt x="47801" y="39302"/>
                    <a:pt x="48706" y="259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4" name="Google Shape;1514;p53"/>
            <p:cNvSpPr/>
            <p:nvPr/>
          </p:nvSpPr>
          <p:spPr>
            <a:xfrm>
              <a:off x="12716186" y="4390914"/>
              <a:ext cx="11232" cy="11232"/>
            </a:xfrm>
            <a:custGeom>
              <a:avLst/>
              <a:gdLst/>
              <a:ahLst/>
              <a:cxnLst/>
              <a:rect l="l" t="t" r="r" b="b"/>
              <a:pathLst>
                <a:path w="11232" h="11232" extrusionOk="0">
                  <a:moveTo>
                    <a:pt x="11223" y="5978"/>
                  </a:moveTo>
                  <a:cubicBezTo>
                    <a:pt x="11404" y="2904"/>
                    <a:pt x="9052" y="191"/>
                    <a:pt x="5978" y="10"/>
                  </a:cubicBezTo>
                  <a:cubicBezTo>
                    <a:pt x="2903" y="-171"/>
                    <a:pt x="191" y="2180"/>
                    <a:pt x="10" y="5254"/>
                  </a:cubicBezTo>
                  <a:cubicBezTo>
                    <a:pt x="-171" y="8329"/>
                    <a:pt x="2180" y="11042"/>
                    <a:pt x="5255" y="11223"/>
                  </a:cubicBezTo>
                  <a:cubicBezTo>
                    <a:pt x="8329" y="11404"/>
                    <a:pt x="10861" y="9052"/>
                    <a:pt x="11223" y="597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5" name="Google Shape;1515;p53"/>
            <p:cNvSpPr/>
            <p:nvPr/>
          </p:nvSpPr>
          <p:spPr>
            <a:xfrm>
              <a:off x="12284252" y="3892968"/>
              <a:ext cx="61256" cy="61279"/>
            </a:xfrm>
            <a:custGeom>
              <a:avLst/>
              <a:gdLst/>
              <a:ahLst/>
              <a:cxnLst/>
              <a:rect l="l" t="t" r="r" b="b"/>
              <a:pathLst>
                <a:path w="61256" h="61279" extrusionOk="0">
                  <a:moveTo>
                    <a:pt x="61192" y="32618"/>
                  </a:moveTo>
                  <a:cubicBezTo>
                    <a:pt x="62278" y="15798"/>
                    <a:pt x="49437" y="1149"/>
                    <a:pt x="32618" y="64"/>
                  </a:cubicBezTo>
                  <a:cubicBezTo>
                    <a:pt x="15798" y="-1021"/>
                    <a:pt x="1149" y="11819"/>
                    <a:pt x="64" y="28639"/>
                  </a:cubicBezTo>
                  <a:cubicBezTo>
                    <a:pt x="-1021" y="45458"/>
                    <a:pt x="11819" y="60108"/>
                    <a:pt x="28639" y="61193"/>
                  </a:cubicBezTo>
                  <a:cubicBezTo>
                    <a:pt x="45639" y="62459"/>
                    <a:pt x="60107" y="49618"/>
                    <a:pt x="61192" y="326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6" name="Google Shape;1516;p53"/>
            <p:cNvSpPr/>
            <p:nvPr/>
          </p:nvSpPr>
          <p:spPr>
            <a:xfrm>
              <a:off x="12050155" y="4451757"/>
              <a:ext cx="115655" cy="115795"/>
            </a:xfrm>
            <a:custGeom>
              <a:avLst/>
              <a:gdLst/>
              <a:ahLst/>
              <a:cxnLst/>
              <a:rect l="l" t="t" r="r" b="b"/>
              <a:pathLst>
                <a:path w="115655" h="115795" extrusionOk="0">
                  <a:moveTo>
                    <a:pt x="115520" y="61606"/>
                  </a:moveTo>
                  <a:cubicBezTo>
                    <a:pt x="117691" y="29775"/>
                    <a:pt x="93456" y="2104"/>
                    <a:pt x="61626" y="115"/>
                  </a:cubicBezTo>
                  <a:cubicBezTo>
                    <a:pt x="29795" y="-1874"/>
                    <a:pt x="2124" y="22179"/>
                    <a:pt x="135" y="54191"/>
                  </a:cubicBezTo>
                  <a:cubicBezTo>
                    <a:pt x="-2035" y="86021"/>
                    <a:pt x="22199" y="113692"/>
                    <a:pt x="54029" y="115681"/>
                  </a:cubicBezTo>
                  <a:cubicBezTo>
                    <a:pt x="85860" y="117670"/>
                    <a:pt x="113350" y="93436"/>
                    <a:pt x="115520" y="616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7" name="Google Shape;1517;p53"/>
            <p:cNvSpPr/>
            <p:nvPr/>
          </p:nvSpPr>
          <p:spPr>
            <a:xfrm>
              <a:off x="12464246" y="5173100"/>
              <a:ext cx="23188" cy="23187"/>
            </a:xfrm>
            <a:custGeom>
              <a:avLst/>
              <a:gdLst/>
              <a:ahLst/>
              <a:cxnLst/>
              <a:rect l="l" t="t" r="r" b="b"/>
              <a:pathLst>
                <a:path w="23188" h="23187" extrusionOk="0">
                  <a:moveTo>
                    <a:pt x="23169" y="12318"/>
                  </a:moveTo>
                  <a:cubicBezTo>
                    <a:pt x="23531" y="5988"/>
                    <a:pt x="18829" y="381"/>
                    <a:pt x="12317" y="20"/>
                  </a:cubicBezTo>
                  <a:cubicBezTo>
                    <a:pt x="5988" y="-342"/>
                    <a:pt x="382" y="4360"/>
                    <a:pt x="20" y="10871"/>
                  </a:cubicBezTo>
                  <a:cubicBezTo>
                    <a:pt x="-342" y="17201"/>
                    <a:pt x="4360" y="22807"/>
                    <a:pt x="10871" y="23169"/>
                  </a:cubicBezTo>
                  <a:cubicBezTo>
                    <a:pt x="17201" y="23531"/>
                    <a:pt x="22626" y="18648"/>
                    <a:pt x="23169" y="1231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8" name="Google Shape;1518;p53"/>
            <p:cNvSpPr/>
            <p:nvPr/>
          </p:nvSpPr>
          <p:spPr>
            <a:xfrm>
              <a:off x="12078256" y="4480019"/>
              <a:ext cx="59270" cy="59252"/>
            </a:xfrm>
            <a:custGeom>
              <a:avLst/>
              <a:gdLst/>
              <a:ahLst/>
              <a:cxnLst/>
              <a:rect l="l" t="t" r="r" b="b"/>
              <a:pathLst>
                <a:path w="59270" h="59252" extrusionOk="0">
                  <a:moveTo>
                    <a:pt x="59205" y="31535"/>
                  </a:moveTo>
                  <a:cubicBezTo>
                    <a:pt x="60291" y="15258"/>
                    <a:pt x="47812" y="1151"/>
                    <a:pt x="31534" y="66"/>
                  </a:cubicBezTo>
                  <a:cubicBezTo>
                    <a:pt x="15257" y="-1019"/>
                    <a:pt x="1151" y="11460"/>
                    <a:pt x="66" y="27736"/>
                  </a:cubicBezTo>
                  <a:cubicBezTo>
                    <a:pt x="-1019" y="44014"/>
                    <a:pt x="11460" y="58120"/>
                    <a:pt x="27736" y="59205"/>
                  </a:cubicBezTo>
                  <a:cubicBezTo>
                    <a:pt x="44013" y="60110"/>
                    <a:pt x="58120" y="47811"/>
                    <a:pt x="59205" y="3153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19" name="Google Shape;1519;p53"/>
            <p:cNvSpPr/>
            <p:nvPr/>
          </p:nvSpPr>
          <p:spPr>
            <a:xfrm>
              <a:off x="12702587" y="4377315"/>
              <a:ext cx="38431" cy="38431"/>
            </a:xfrm>
            <a:custGeom>
              <a:avLst/>
              <a:gdLst/>
              <a:ahLst/>
              <a:cxnLst/>
              <a:rect l="l" t="t" r="r" b="b"/>
              <a:pathLst>
                <a:path w="38431" h="38431" extrusionOk="0">
                  <a:moveTo>
                    <a:pt x="38386" y="20481"/>
                  </a:moveTo>
                  <a:cubicBezTo>
                    <a:pt x="39109" y="9811"/>
                    <a:pt x="30971" y="768"/>
                    <a:pt x="20481" y="45"/>
                  </a:cubicBezTo>
                  <a:cubicBezTo>
                    <a:pt x="9811" y="-679"/>
                    <a:pt x="768" y="7460"/>
                    <a:pt x="45" y="17949"/>
                  </a:cubicBezTo>
                  <a:cubicBezTo>
                    <a:pt x="-678" y="28620"/>
                    <a:pt x="7460" y="37663"/>
                    <a:pt x="17950" y="38386"/>
                  </a:cubicBezTo>
                  <a:cubicBezTo>
                    <a:pt x="28439" y="39109"/>
                    <a:pt x="37663" y="31152"/>
                    <a:pt x="38386" y="204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0" name="Google Shape;1520;p53"/>
            <p:cNvSpPr/>
            <p:nvPr/>
          </p:nvSpPr>
          <p:spPr>
            <a:xfrm>
              <a:off x="10158534" y="2710949"/>
              <a:ext cx="24090" cy="24090"/>
            </a:xfrm>
            <a:custGeom>
              <a:avLst/>
              <a:gdLst/>
              <a:ahLst/>
              <a:cxnLst/>
              <a:rect l="l" t="t" r="r" b="b"/>
              <a:pathLst>
                <a:path w="24090" h="24090" extrusionOk="0">
                  <a:moveTo>
                    <a:pt x="24072" y="12859"/>
                  </a:moveTo>
                  <a:cubicBezTo>
                    <a:pt x="24433" y="6167"/>
                    <a:pt x="19370" y="380"/>
                    <a:pt x="12859" y="18"/>
                  </a:cubicBezTo>
                  <a:cubicBezTo>
                    <a:pt x="6167" y="-344"/>
                    <a:pt x="380" y="4720"/>
                    <a:pt x="18" y="11231"/>
                  </a:cubicBezTo>
                  <a:cubicBezTo>
                    <a:pt x="-344" y="17923"/>
                    <a:pt x="4720" y="23710"/>
                    <a:pt x="11231" y="24072"/>
                  </a:cubicBezTo>
                  <a:cubicBezTo>
                    <a:pt x="17923" y="24434"/>
                    <a:pt x="23710" y="19370"/>
                    <a:pt x="24072" y="1285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21" name="Google Shape;1521;p53"/>
            <p:cNvSpPr/>
            <p:nvPr/>
          </p:nvSpPr>
          <p:spPr>
            <a:xfrm>
              <a:off x="10161783" y="2714018"/>
              <a:ext cx="17771" cy="17771"/>
            </a:xfrm>
            <a:custGeom>
              <a:avLst/>
              <a:gdLst/>
              <a:ahLst/>
              <a:cxnLst/>
              <a:rect l="l" t="t" r="r" b="b"/>
              <a:pathLst>
                <a:path w="17771" h="17771" extrusionOk="0">
                  <a:moveTo>
                    <a:pt x="17748" y="9428"/>
                  </a:moveTo>
                  <a:cubicBezTo>
                    <a:pt x="18109" y="4545"/>
                    <a:pt x="14311" y="385"/>
                    <a:pt x="9428" y="24"/>
                  </a:cubicBezTo>
                  <a:cubicBezTo>
                    <a:pt x="4545" y="-338"/>
                    <a:pt x="386" y="3460"/>
                    <a:pt x="24" y="8343"/>
                  </a:cubicBezTo>
                  <a:cubicBezTo>
                    <a:pt x="-338" y="13226"/>
                    <a:pt x="3460" y="17386"/>
                    <a:pt x="8343" y="17748"/>
                  </a:cubicBezTo>
                  <a:cubicBezTo>
                    <a:pt x="13045" y="18109"/>
                    <a:pt x="17386" y="14311"/>
                    <a:pt x="17748" y="9428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grpSp>
          <p:nvGrpSpPr>
            <p:cNvPr id="1522" name="Google Shape;1522;p53"/>
            <p:cNvGrpSpPr/>
            <p:nvPr/>
          </p:nvGrpSpPr>
          <p:grpSpPr>
            <a:xfrm>
              <a:off x="9214555" y="1244711"/>
              <a:ext cx="2483318" cy="2784621"/>
              <a:chOff x="9214555" y="1244711"/>
              <a:chExt cx="2483318" cy="2784621"/>
            </a:xfrm>
          </p:grpSpPr>
          <p:sp>
            <p:nvSpPr>
              <p:cNvPr id="1523" name="Google Shape;1523;p53"/>
              <p:cNvSpPr/>
              <p:nvPr/>
            </p:nvSpPr>
            <p:spPr>
              <a:xfrm>
                <a:off x="11478884" y="1352121"/>
                <a:ext cx="80292" cy="80292"/>
              </a:xfrm>
              <a:custGeom>
                <a:avLst/>
                <a:gdLst/>
                <a:ahLst/>
                <a:cxnLst/>
                <a:rect l="l" t="t" r="r" b="b"/>
                <a:pathLst>
                  <a:path w="80292" h="80292" extrusionOk="0">
                    <a:moveTo>
                      <a:pt x="80205" y="42768"/>
                    </a:moveTo>
                    <a:cubicBezTo>
                      <a:pt x="81652" y="20704"/>
                      <a:pt x="64833" y="1534"/>
                      <a:pt x="42768" y="87"/>
                    </a:cubicBezTo>
                    <a:cubicBezTo>
                      <a:pt x="20704" y="-1360"/>
                      <a:pt x="1534" y="15459"/>
                      <a:pt x="87" y="37524"/>
                    </a:cubicBezTo>
                    <a:cubicBezTo>
                      <a:pt x="-1360" y="59588"/>
                      <a:pt x="15460" y="78758"/>
                      <a:pt x="37524" y="80205"/>
                    </a:cubicBezTo>
                    <a:cubicBezTo>
                      <a:pt x="59588" y="81652"/>
                      <a:pt x="78759" y="64833"/>
                      <a:pt x="80205" y="427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4" name="Google Shape;1524;p53"/>
              <p:cNvSpPr/>
              <p:nvPr/>
            </p:nvSpPr>
            <p:spPr>
              <a:xfrm>
                <a:off x="11653826" y="1256686"/>
                <a:ext cx="31892" cy="31914"/>
              </a:xfrm>
              <a:custGeom>
                <a:avLst/>
                <a:gdLst/>
                <a:ahLst/>
                <a:cxnLst/>
                <a:rect l="l" t="t" r="r" b="b"/>
                <a:pathLst>
                  <a:path w="31892" h="31914" extrusionOk="0">
                    <a:moveTo>
                      <a:pt x="31861" y="17031"/>
                    </a:moveTo>
                    <a:cubicBezTo>
                      <a:pt x="32404" y="8169"/>
                      <a:pt x="25712" y="573"/>
                      <a:pt x="17031" y="31"/>
                    </a:cubicBezTo>
                    <a:cubicBezTo>
                      <a:pt x="8169" y="-512"/>
                      <a:pt x="573" y="6180"/>
                      <a:pt x="31" y="14861"/>
                    </a:cubicBezTo>
                    <a:cubicBezTo>
                      <a:pt x="-512" y="23723"/>
                      <a:pt x="6180" y="31319"/>
                      <a:pt x="14861" y="31861"/>
                    </a:cubicBezTo>
                    <a:cubicBezTo>
                      <a:pt x="23723" y="32585"/>
                      <a:pt x="31319" y="25893"/>
                      <a:pt x="31861" y="1703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5" name="Google Shape;1525;p53"/>
              <p:cNvSpPr/>
              <p:nvPr/>
            </p:nvSpPr>
            <p:spPr>
              <a:xfrm>
                <a:off x="11496293" y="1369531"/>
                <a:ext cx="45291" cy="45291"/>
              </a:xfrm>
              <a:custGeom>
                <a:avLst/>
                <a:gdLst/>
                <a:ahLst/>
                <a:cxnLst/>
                <a:rect l="l" t="t" r="r" b="b"/>
                <a:pathLst>
                  <a:path w="45291" h="45291" extrusionOk="0">
                    <a:moveTo>
                      <a:pt x="45253" y="24093"/>
                    </a:moveTo>
                    <a:cubicBezTo>
                      <a:pt x="45976" y="11614"/>
                      <a:pt x="36572" y="943"/>
                      <a:pt x="24093" y="39"/>
                    </a:cubicBezTo>
                    <a:cubicBezTo>
                      <a:pt x="11614" y="-684"/>
                      <a:pt x="943" y="8720"/>
                      <a:pt x="39" y="21199"/>
                    </a:cubicBezTo>
                    <a:cubicBezTo>
                      <a:pt x="-684" y="33678"/>
                      <a:pt x="8720" y="44348"/>
                      <a:pt x="21199" y="45253"/>
                    </a:cubicBezTo>
                    <a:cubicBezTo>
                      <a:pt x="33678" y="45976"/>
                      <a:pt x="44348" y="36572"/>
                      <a:pt x="45253" y="2409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6" name="Google Shape;1526;p53"/>
              <p:cNvSpPr/>
              <p:nvPr/>
            </p:nvSpPr>
            <p:spPr>
              <a:xfrm>
                <a:off x="9648838" y="2511962"/>
                <a:ext cx="60175" cy="60175"/>
              </a:xfrm>
              <a:custGeom>
                <a:avLst/>
                <a:gdLst/>
                <a:ahLst/>
                <a:cxnLst/>
                <a:rect l="l" t="t" r="r" b="b"/>
                <a:pathLst>
                  <a:path w="60175" h="60175" extrusionOk="0">
                    <a:moveTo>
                      <a:pt x="60109" y="32077"/>
                    </a:moveTo>
                    <a:cubicBezTo>
                      <a:pt x="61195" y="15438"/>
                      <a:pt x="48716" y="1151"/>
                      <a:pt x="32077" y="66"/>
                    </a:cubicBezTo>
                    <a:cubicBezTo>
                      <a:pt x="15438" y="-1019"/>
                      <a:pt x="1151" y="11460"/>
                      <a:pt x="66" y="28098"/>
                    </a:cubicBezTo>
                    <a:cubicBezTo>
                      <a:pt x="-1019" y="44737"/>
                      <a:pt x="11460" y="59024"/>
                      <a:pt x="28098" y="60109"/>
                    </a:cubicBezTo>
                    <a:cubicBezTo>
                      <a:pt x="44737" y="61194"/>
                      <a:pt x="59024" y="48715"/>
                      <a:pt x="60109" y="320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7" name="Google Shape;1527;p53"/>
              <p:cNvSpPr/>
              <p:nvPr/>
            </p:nvSpPr>
            <p:spPr>
              <a:xfrm>
                <a:off x="11641670" y="1244711"/>
                <a:ext cx="56203" cy="56183"/>
              </a:xfrm>
              <a:custGeom>
                <a:avLst/>
                <a:gdLst/>
                <a:ahLst/>
                <a:cxnLst/>
                <a:rect l="l" t="t" r="r" b="b"/>
                <a:pathLst>
                  <a:path w="56203" h="56183" extrusionOk="0">
                    <a:moveTo>
                      <a:pt x="56134" y="29910"/>
                    </a:moveTo>
                    <a:cubicBezTo>
                      <a:pt x="57220" y="14357"/>
                      <a:pt x="45464" y="974"/>
                      <a:pt x="29911" y="69"/>
                    </a:cubicBezTo>
                    <a:cubicBezTo>
                      <a:pt x="14357" y="-1016"/>
                      <a:pt x="974" y="10740"/>
                      <a:pt x="69" y="26293"/>
                    </a:cubicBezTo>
                    <a:cubicBezTo>
                      <a:pt x="-1016" y="41847"/>
                      <a:pt x="10740" y="55230"/>
                      <a:pt x="26293" y="56134"/>
                    </a:cubicBezTo>
                    <a:cubicBezTo>
                      <a:pt x="41847" y="57039"/>
                      <a:pt x="55230" y="45283"/>
                      <a:pt x="56134" y="2991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8" name="Google Shape;1528;p53"/>
              <p:cNvSpPr/>
              <p:nvPr/>
            </p:nvSpPr>
            <p:spPr>
              <a:xfrm>
                <a:off x="11376146" y="3027363"/>
                <a:ext cx="89178" cy="89178"/>
              </a:xfrm>
              <a:custGeom>
                <a:avLst/>
                <a:gdLst/>
                <a:ahLst/>
                <a:cxnLst/>
                <a:rect l="l" t="t" r="r" b="b"/>
                <a:pathLst>
                  <a:path w="89178" h="89178" extrusionOk="0">
                    <a:moveTo>
                      <a:pt x="89079" y="47483"/>
                    </a:moveTo>
                    <a:cubicBezTo>
                      <a:pt x="90707" y="22887"/>
                      <a:pt x="72079" y="1727"/>
                      <a:pt x="47483" y="99"/>
                    </a:cubicBezTo>
                    <a:cubicBezTo>
                      <a:pt x="22887" y="-1529"/>
                      <a:pt x="1727" y="17099"/>
                      <a:pt x="99" y="41695"/>
                    </a:cubicBezTo>
                    <a:cubicBezTo>
                      <a:pt x="-1529" y="66292"/>
                      <a:pt x="17099" y="87452"/>
                      <a:pt x="41696" y="89079"/>
                    </a:cubicBezTo>
                    <a:cubicBezTo>
                      <a:pt x="66292" y="90707"/>
                      <a:pt x="87633" y="72079"/>
                      <a:pt x="89079" y="474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29" name="Google Shape;1529;p53"/>
              <p:cNvSpPr/>
              <p:nvPr/>
            </p:nvSpPr>
            <p:spPr>
              <a:xfrm>
                <a:off x="9641757" y="3648604"/>
                <a:ext cx="95315" cy="95336"/>
              </a:xfrm>
              <a:custGeom>
                <a:avLst/>
                <a:gdLst/>
                <a:ahLst/>
                <a:cxnLst/>
                <a:rect l="l" t="t" r="r" b="b"/>
                <a:pathLst>
                  <a:path w="95315" h="95336" extrusionOk="0">
                    <a:moveTo>
                      <a:pt x="95223" y="50732"/>
                    </a:moveTo>
                    <a:cubicBezTo>
                      <a:pt x="96850" y="24509"/>
                      <a:pt x="76956" y="1721"/>
                      <a:pt x="50732" y="93"/>
                    </a:cubicBezTo>
                    <a:cubicBezTo>
                      <a:pt x="24509" y="-1534"/>
                      <a:pt x="1721" y="18360"/>
                      <a:pt x="93" y="44583"/>
                    </a:cubicBezTo>
                    <a:cubicBezTo>
                      <a:pt x="-1535" y="70807"/>
                      <a:pt x="18359" y="93595"/>
                      <a:pt x="44583" y="95223"/>
                    </a:cubicBezTo>
                    <a:cubicBezTo>
                      <a:pt x="70807" y="97031"/>
                      <a:pt x="93595" y="77137"/>
                      <a:pt x="95223" y="507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0" name="Google Shape;1530;p53"/>
              <p:cNvSpPr/>
              <p:nvPr/>
            </p:nvSpPr>
            <p:spPr>
              <a:xfrm>
                <a:off x="9622753" y="3536641"/>
                <a:ext cx="101674" cy="101674"/>
              </a:xfrm>
              <a:custGeom>
                <a:avLst/>
                <a:gdLst/>
                <a:ahLst/>
                <a:cxnLst/>
                <a:rect l="l" t="t" r="r" b="b"/>
                <a:pathLst>
                  <a:path w="101674" h="101674" extrusionOk="0">
                    <a:moveTo>
                      <a:pt x="101567" y="54183"/>
                    </a:moveTo>
                    <a:cubicBezTo>
                      <a:pt x="103376" y="26151"/>
                      <a:pt x="82216" y="1916"/>
                      <a:pt x="54183" y="108"/>
                    </a:cubicBezTo>
                    <a:cubicBezTo>
                      <a:pt x="26151" y="-1701"/>
                      <a:pt x="1916" y="19459"/>
                      <a:pt x="108" y="47492"/>
                    </a:cubicBezTo>
                    <a:cubicBezTo>
                      <a:pt x="-1701" y="75524"/>
                      <a:pt x="19459" y="99759"/>
                      <a:pt x="47492" y="101567"/>
                    </a:cubicBezTo>
                    <a:cubicBezTo>
                      <a:pt x="75524" y="103376"/>
                      <a:pt x="99759" y="82035"/>
                      <a:pt x="101567" y="541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1" name="Google Shape;1531;p53"/>
              <p:cNvSpPr/>
              <p:nvPr/>
            </p:nvSpPr>
            <p:spPr>
              <a:xfrm>
                <a:off x="11402603" y="3053640"/>
                <a:ext cx="36445" cy="36446"/>
              </a:xfrm>
              <a:custGeom>
                <a:avLst/>
                <a:gdLst/>
                <a:ahLst/>
                <a:cxnLst/>
                <a:rect l="l" t="t" r="r" b="b"/>
                <a:pathLst>
                  <a:path w="36445" h="36446" extrusionOk="0">
                    <a:moveTo>
                      <a:pt x="36399" y="19398"/>
                    </a:moveTo>
                    <a:cubicBezTo>
                      <a:pt x="37122" y="9270"/>
                      <a:pt x="29345" y="589"/>
                      <a:pt x="19398" y="47"/>
                    </a:cubicBezTo>
                    <a:cubicBezTo>
                      <a:pt x="9270" y="-677"/>
                      <a:pt x="589" y="7100"/>
                      <a:pt x="47" y="17047"/>
                    </a:cubicBezTo>
                    <a:cubicBezTo>
                      <a:pt x="-677" y="27175"/>
                      <a:pt x="7100" y="35856"/>
                      <a:pt x="17047" y="36398"/>
                    </a:cubicBezTo>
                    <a:cubicBezTo>
                      <a:pt x="26994" y="37122"/>
                      <a:pt x="35675" y="29526"/>
                      <a:pt x="36399" y="1939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2" name="Google Shape;1532;p53"/>
              <p:cNvSpPr/>
              <p:nvPr/>
            </p:nvSpPr>
            <p:spPr>
              <a:xfrm>
                <a:off x="11431758" y="2767565"/>
                <a:ext cx="11232" cy="11233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33" extrusionOk="0">
                    <a:moveTo>
                      <a:pt x="11223" y="5978"/>
                    </a:moveTo>
                    <a:cubicBezTo>
                      <a:pt x="11404" y="2904"/>
                      <a:pt x="9052" y="191"/>
                      <a:pt x="5978" y="10"/>
                    </a:cubicBezTo>
                    <a:cubicBezTo>
                      <a:pt x="2904" y="-171"/>
                      <a:pt x="191" y="2180"/>
                      <a:pt x="10" y="5255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404"/>
                      <a:pt x="11042" y="9233"/>
                      <a:pt x="11223" y="59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3" name="Google Shape;1533;p53"/>
              <p:cNvSpPr/>
              <p:nvPr/>
            </p:nvSpPr>
            <p:spPr>
              <a:xfrm>
                <a:off x="11409683" y="3060900"/>
                <a:ext cx="22104" cy="22089"/>
              </a:xfrm>
              <a:custGeom>
                <a:avLst/>
                <a:gdLst/>
                <a:ahLst/>
                <a:cxnLst/>
                <a:rect l="l" t="t" r="r" b="b"/>
                <a:pathLst>
                  <a:path w="22104" h="22089" extrusionOk="0">
                    <a:moveTo>
                      <a:pt x="22085" y="11776"/>
                    </a:moveTo>
                    <a:cubicBezTo>
                      <a:pt x="22446" y="5808"/>
                      <a:pt x="17925" y="563"/>
                      <a:pt x="11776" y="20"/>
                    </a:cubicBezTo>
                    <a:cubicBezTo>
                      <a:pt x="5808" y="-341"/>
                      <a:pt x="563" y="4180"/>
                      <a:pt x="20" y="10329"/>
                    </a:cubicBezTo>
                    <a:cubicBezTo>
                      <a:pt x="-341" y="16297"/>
                      <a:pt x="4180" y="21542"/>
                      <a:pt x="10329" y="22085"/>
                    </a:cubicBezTo>
                    <a:cubicBezTo>
                      <a:pt x="16478" y="22265"/>
                      <a:pt x="21723" y="17744"/>
                      <a:pt x="22085" y="117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4" name="Google Shape;1534;p53"/>
              <p:cNvSpPr/>
              <p:nvPr/>
            </p:nvSpPr>
            <p:spPr>
              <a:xfrm>
                <a:off x="11413083" y="2749071"/>
                <a:ext cx="48400" cy="48381"/>
              </a:xfrm>
              <a:custGeom>
                <a:avLst/>
                <a:gdLst/>
                <a:ahLst/>
                <a:cxnLst/>
                <a:rect l="l" t="t" r="r" b="b"/>
                <a:pathLst>
                  <a:path w="48400" h="48381" extrusionOk="0">
                    <a:moveTo>
                      <a:pt x="48344" y="25737"/>
                    </a:moveTo>
                    <a:cubicBezTo>
                      <a:pt x="49249" y="12354"/>
                      <a:pt x="39121" y="960"/>
                      <a:pt x="25737" y="56"/>
                    </a:cubicBezTo>
                    <a:cubicBezTo>
                      <a:pt x="12354" y="-848"/>
                      <a:pt x="960" y="9280"/>
                      <a:pt x="56" y="22663"/>
                    </a:cubicBezTo>
                    <a:cubicBezTo>
                      <a:pt x="-848" y="36046"/>
                      <a:pt x="9280" y="47440"/>
                      <a:pt x="22482" y="48344"/>
                    </a:cubicBezTo>
                    <a:cubicBezTo>
                      <a:pt x="36046" y="49068"/>
                      <a:pt x="47621" y="39121"/>
                      <a:pt x="48344" y="2573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5" name="Google Shape;1535;p53"/>
              <p:cNvSpPr/>
              <p:nvPr/>
            </p:nvSpPr>
            <p:spPr>
              <a:xfrm>
                <a:off x="11499904" y="1373141"/>
                <a:ext cx="38251" cy="38232"/>
              </a:xfrm>
              <a:custGeom>
                <a:avLst/>
                <a:gdLst/>
                <a:ahLst/>
                <a:cxnLst/>
                <a:rect l="l" t="t" r="r" b="b"/>
                <a:pathLst>
                  <a:path w="38251" h="38232" extrusionOk="0">
                    <a:moveTo>
                      <a:pt x="38206" y="20301"/>
                    </a:moveTo>
                    <a:cubicBezTo>
                      <a:pt x="38929" y="9812"/>
                      <a:pt x="30972" y="769"/>
                      <a:pt x="20301" y="46"/>
                    </a:cubicBezTo>
                    <a:cubicBezTo>
                      <a:pt x="9812" y="-678"/>
                      <a:pt x="769" y="7280"/>
                      <a:pt x="46" y="17950"/>
                    </a:cubicBezTo>
                    <a:cubicBezTo>
                      <a:pt x="-678" y="28621"/>
                      <a:pt x="7280" y="37483"/>
                      <a:pt x="17950" y="38206"/>
                    </a:cubicBezTo>
                    <a:cubicBezTo>
                      <a:pt x="28259" y="38749"/>
                      <a:pt x="37482" y="30791"/>
                      <a:pt x="38206" y="2030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6" name="Google Shape;1536;p53"/>
              <p:cNvSpPr/>
              <p:nvPr/>
            </p:nvSpPr>
            <p:spPr>
              <a:xfrm>
                <a:off x="11360893" y="2696700"/>
                <a:ext cx="153143" cy="153142"/>
              </a:xfrm>
              <a:custGeom>
                <a:avLst/>
                <a:gdLst/>
                <a:ahLst/>
                <a:cxnLst/>
                <a:rect l="l" t="t" r="r" b="b"/>
                <a:pathLst>
                  <a:path w="153143" h="153142" extrusionOk="0">
                    <a:moveTo>
                      <a:pt x="152983" y="81545"/>
                    </a:moveTo>
                    <a:cubicBezTo>
                      <a:pt x="155695" y="39406"/>
                      <a:pt x="123684" y="2873"/>
                      <a:pt x="81545" y="160"/>
                    </a:cubicBezTo>
                    <a:cubicBezTo>
                      <a:pt x="39406" y="-2552"/>
                      <a:pt x="2873" y="29459"/>
                      <a:pt x="160" y="71598"/>
                    </a:cubicBezTo>
                    <a:cubicBezTo>
                      <a:pt x="-2552" y="113737"/>
                      <a:pt x="29459" y="150270"/>
                      <a:pt x="71598" y="152982"/>
                    </a:cubicBezTo>
                    <a:cubicBezTo>
                      <a:pt x="113737" y="155695"/>
                      <a:pt x="150270" y="123684"/>
                      <a:pt x="152983" y="8154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7" name="Google Shape;1537;p53"/>
              <p:cNvSpPr/>
              <p:nvPr/>
            </p:nvSpPr>
            <p:spPr>
              <a:xfrm>
                <a:off x="11403325" y="3054361"/>
                <a:ext cx="34982" cy="34982"/>
              </a:xfrm>
              <a:custGeom>
                <a:avLst/>
                <a:gdLst/>
                <a:ahLst/>
                <a:cxnLst/>
                <a:rect l="l" t="t" r="r" b="b"/>
                <a:pathLst>
                  <a:path w="34982" h="34982" extrusionOk="0">
                    <a:moveTo>
                      <a:pt x="34954" y="18677"/>
                    </a:moveTo>
                    <a:cubicBezTo>
                      <a:pt x="35496" y="9091"/>
                      <a:pt x="28262" y="772"/>
                      <a:pt x="18677" y="49"/>
                    </a:cubicBezTo>
                    <a:cubicBezTo>
                      <a:pt x="9092" y="-675"/>
                      <a:pt x="772" y="6740"/>
                      <a:pt x="49" y="16326"/>
                    </a:cubicBezTo>
                    <a:cubicBezTo>
                      <a:pt x="-675" y="25911"/>
                      <a:pt x="6740" y="34230"/>
                      <a:pt x="16326" y="34954"/>
                    </a:cubicBezTo>
                    <a:cubicBezTo>
                      <a:pt x="25911" y="35496"/>
                      <a:pt x="34230" y="28262"/>
                      <a:pt x="34954" y="186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8" name="Google Shape;1538;p53"/>
              <p:cNvSpPr/>
              <p:nvPr/>
            </p:nvSpPr>
            <p:spPr>
              <a:xfrm>
                <a:off x="11408550" y="2744358"/>
                <a:ext cx="57827" cy="57827"/>
              </a:xfrm>
              <a:custGeom>
                <a:avLst/>
                <a:gdLst/>
                <a:ahLst/>
                <a:cxnLst/>
                <a:rect l="l" t="t" r="r" b="b"/>
                <a:pathLst>
                  <a:path w="57827" h="57827" extrusionOk="0">
                    <a:moveTo>
                      <a:pt x="57760" y="30813"/>
                    </a:moveTo>
                    <a:cubicBezTo>
                      <a:pt x="58845" y="14898"/>
                      <a:pt x="46728" y="1153"/>
                      <a:pt x="30813" y="68"/>
                    </a:cubicBezTo>
                    <a:cubicBezTo>
                      <a:pt x="14898" y="-1018"/>
                      <a:pt x="1153" y="11100"/>
                      <a:pt x="68" y="27015"/>
                    </a:cubicBezTo>
                    <a:cubicBezTo>
                      <a:pt x="-1018" y="42930"/>
                      <a:pt x="11100" y="56675"/>
                      <a:pt x="27015" y="57760"/>
                    </a:cubicBezTo>
                    <a:cubicBezTo>
                      <a:pt x="42930" y="58845"/>
                      <a:pt x="56675" y="46728"/>
                      <a:pt x="57760" y="3081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39" name="Google Shape;1539;p53"/>
              <p:cNvSpPr/>
              <p:nvPr/>
            </p:nvSpPr>
            <p:spPr>
              <a:xfrm>
                <a:off x="9668033" y="3674880"/>
                <a:ext cx="42945" cy="42944"/>
              </a:xfrm>
              <a:custGeom>
                <a:avLst/>
                <a:gdLst/>
                <a:ahLst/>
                <a:cxnLst/>
                <a:rect l="l" t="t" r="r" b="b"/>
                <a:pathLst>
                  <a:path w="42945" h="42944" extrusionOk="0">
                    <a:moveTo>
                      <a:pt x="42904" y="22829"/>
                    </a:moveTo>
                    <a:cubicBezTo>
                      <a:pt x="43627" y="10892"/>
                      <a:pt x="34765" y="765"/>
                      <a:pt x="22829" y="41"/>
                    </a:cubicBezTo>
                    <a:cubicBezTo>
                      <a:pt x="10893" y="-682"/>
                      <a:pt x="765" y="8180"/>
                      <a:pt x="41" y="20116"/>
                    </a:cubicBezTo>
                    <a:cubicBezTo>
                      <a:pt x="-682" y="32052"/>
                      <a:pt x="8180" y="42180"/>
                      <a:pt x="20116" y="42904"/>
                    </a:cubicBezTo>
                    <a:cubicBezTo>
                      <a:pt x="31872" y="43627"/>
                      <a:pt x="42180" y="34584"/>
                      <a:pt x="42904" y="2282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0" name="Google Shape;1540;p53"/>
              <p:cNvSpPr/>
              <p:nvPr/>
            </p:nvSpPr>
            <p:spPr>
              <a:xfrm>
                <a:off x="9651706" y="3658553"/>
                <a:ext cx="75599" cy="75578"/>
              </a:xfrm>
              <a:custGeom>
                <a:avLst/>
                <a:gdLst/>
                <a:ahLst/>
                <a:cxnLst/>
                <a:rect l="l" t="t" r="r" b="b"/>
                <a:pathLst>
                  <a:path w="75599" h="75578" extrusionOk="0">
                    <a:moveTo>
                      <a:pt x="75508" y="40241"/>
                    </a:moveTo>
                    <a:cubicBezTo>
                      <a:pt x="76955" y="19443"/>
                      <a:pt x="61039" y="1357"/>
                      <a:pt x="40241" y="91"/>
                    </a:cubicBezTo>
                    <a:cubicBezTo>
                      <a:pt x="19443" y="-1356"/>
                      <a:pt x="1357" y="14560"/>
                      <a:pt x="91" y="35358"/>
                    </a:cubicBezTo>
                    <a:cubicBezTo>
                      <a:pt x="-1356" y="56156"/>
                      <a:pt x="14560" y="74242"/>
                      <a:pt x="35358" y="75508"/>
                    </a:cubicBezTo>
                    <a:cubicBezTo>
                      <a:pt x="56156" y="76774"/>
                      <a:pt x="74061" y="61039"/>
                      <a:pt x="75508" y="4024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1" name="Google Shape;1541;p53"/>
              <p:cNvSpPr/>
              <p:nvPr/>
            </p:nvSpPr>
            <p:spPr>
              <a:xfrm>
                <a:off x="10652036" y="2501109"/>
                <a:ext cx="57646" cy="57627"/>
              </a:xfrm>
              <a:custGeom>
                <a:avLst/>
                <a:gdLst/>
                <a:ahLst/>
                <a:cxnLst/>
                <a:rect l="l" t="t" r="r" b="b"/>
                <a:pathLst>
                  <a:path w="57646" h="57627" extrusionOk="0">
                    <a:moveTo>
                      <a:pt x="57579" y="30632"/>
                    </a:moveTo>
                    <a:cubicBezTo>
                      <a:pt x="58665" y="14717"/>
                      <a:pt x="46547" y="972"/>
                      <a:pt x="30632" y="68"/>
                    </a:cubicBezTo>
                    <a:cubicBezTo>
                      <a:pt x="14717" y="-1018"/>
                      <a:pt x="972" y="11100"/>
                      <a:pt x="68" y="27015"/>
                    </a:cubicBezTo>
                    <a:cubicBezTo>
                      <a:pt x="-1018" y="42930"/>
                      <a:pt x="11100" y="56675"/>
                      <a:pt x="27015" y="57579"/>
                    </a:cubicBezTo>
                    <a:cubicBezTo>
                      <a:pt x="42930" y="58483"/>
                      <a:pt x="56675" y="46547"/>
                      <a:pt x="57579" y="306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2" name="Google Shape;1542;p53"/>
              <p:cNvSpPr/>
              <p:nvPr/>
            </p:nvSpPr>
            <p:spPr>
              <a:xfrm>
                <a:off x="10636451" y="2485343"/>
                <a:ext cx="89178" cy="89178"/>
              </a:xfrm>
              <a:custGeom>
                <a:avLst/>
                <a:gdLst/>
                <a:ahLst/>
                <a:cxnLst/>
                <a:rect l="l" t="t" r="r" b="b"/>
                <a:pathLst>
                  <a:path w="89178" h="89178" extrusionOk="0">
                    <a:moveTo>
                      <a:pt x="89079" y="47483"/>
                    </a:moveTo>
                    <a:cubicBezTo>
                      <a:pt x="90707" y="22887"/>
                      <a:pt x="72079" y="1727"/>
                      <a:pt x="47483" y="99"/>
                    </a:cubicBezTo>
                    <a:cubicBezTo>
                      <a:pt x="22887" y="-1529"/>
                      <a:pt x="1727" y="17099"/>
                      <a:pt x="99" y="41696"/>
                    </a:cubicBezTo>
                    <a:cubicBezTo>
                      <a:pt x="-1529" y="66292"/>
                      <a:pt x="17099" y="87452"/>
                      <a:pt x="41696" y="89079"/>
                    </a:cubicBezTo>
                    <a:cubicBezTo>
                      <a:pt x="66111" y="90707"/>
                      <a:pt x="87452" y="72079"/>
                      <a:pt x="89079" y="4748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3" name="Google Shape;1543;p53"/>
              <p:cNvSpPr/>
              <p:nvPr/>
            </p:nvSpPr>
            <p:spPr>
              <a:xfrm>
                <a:off x="11467831" y="1341069"/>
                <a:ext cx="102396" cy="102396"/>
              </a:xfrm>
              <a:custGeom>
                <a:avLst/>
                <a:gdLst/>
                <a:ahLst/>
                <a:cxnLst/>
                <a:rect l="l" t="t" r="r" b="b"/>
                <a:pathLst>
                  <a:path w="102396" h="102396" extrusionOk="0">
                    <a:moveTo>
                      <a:pt x="102290" y="54544"/>
                    </a:moveTo>
                    <a:cubicBezTo>
                      <a:pt x="104098" y="26331"/>
                      <a:pt x="82758" y="1916"/>
                      <a:pt x="54544" y="107"/>
                    </a:cubicBezTo>
                    <a:cubicBezTo>
                      <a:pt x="26331" y="-1702"/>
                      <a:pt x="1916" y="19639"/>
                      <a:pt x="107" y="47853"/>
                    </a:cubicBezTo>
                    <a:cubicBezTo>
                      <a:pt x="-1701" y="76066"/>
                      <a:pt x="19639" y="100481"/>
                      <a:pt x="47853" y="102290"/>
                    </a:cubicBezTo>
                    <a:cubicBezTo>
                      <a:pt x="76066" y="104098"/>
                      <a:pt x="100481" y="82757"/>
                      <a:pt x="102290" y="5454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4" name="Google Shape;1544;p53"/>
              <p:cNvSpPr/>
              <p:nvPr/>
            </p:nvSpPr>
            <p:spPr>
              <a:xfrm>
                <a:off x="10451430" y="1479222"/>
                <a:ext cx="103118" cy="103138"/>
              </a:xfrm>
              <a:custGeom>
                <a:avLst/>
                <a:gdLst/>
                <a:ahLst/>
                <a:cxnLst/>
                <a:rect l="l" t="t" r="r" b="b"/>
                <a:pathLst>
                  <a:path w="103118" h="103138" extrusionOk="0">
                    <a:moveTo>
                      <a:pt x="103012" y="54925"/>
                    </a:moveTo>
                    <a:cubicBezTo>
                      <a:pt x="104821" y="26531"/>
                      <a:pt x="83299" y="2116"/>
                      <a:pt x="54905" y="127"/>
                    </a:cubicBezTo>
                    <a:cubicBezTo>
                      <a:pt x="26511" y="-1863"/>
                      <a:pt x="2096" y="19840"/>
                      <a:pt x="106" y="48234"/>
                    </a:cubicBezTo>
                    <a:cubicBezTo>
                      <a:pt x="-1703" y="76628"/>
                      <a:pt x="19819" y="101043"/>
                      <a:pt x="48214" y="103033"/>
                    </a:cubicBezTo>
                    <a:cubicBezTo>
                      <a:pt x="76608" y="104841"/>
                      <a:pt x="101023" y="83320"/>
                      <a:pt x="103012" y="5492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5" name="Google Shape;1545;p53"/>
              <p:cNvSpPr/>
              <p:nvPr/>
            </p:nvSpPr>
            <p:spPr>
              <a:xfrm>
                <a:off x="10653861" y="2502753"/>
                <a:ext cx="54177" cy="54177"/>
              </a:xfrm>
              <a:custGeom>
                <a:avLst/>
                <a:gdLst/>
                <a:ahLst/>
                <a:cxnLst/>
                <a:rect l="l" t="t" r="r" b="b"/>
                <a:pathLst>
                  <a:path w="54177" h="54177" extrusionOk="0">
                    <a:moveTo>
                      <a:pt x="54127" y="28807"/>
                    </a:moveTo>
                    <a:cubicBezTo>
                      <a:pt x="55031" y="13796"/>
                      <a:pt x="43818" y="955"/>
                      <a:pt x="28807" y="51"/>
                    </a:cubicBezTo>
                    <a:cubicBezTo>
                      <a:pt x="13796" y="-853"/>
                      <a:pt x="955" y="10360"/>
                      <a:pt x="51" y="25371"/>
                    </a:cubicBezTo>
                    <a:cubicBezTo>
                      <a:pt x="-853" y="40382"/>
                      <a:pt x="10360" y="53222"/>
                      <a:pt x="25371" y="54126"/>
                    </a:cubicBezTo>
                    <a:cubicBezTo>
                      <a:pt x="40201" y="55031"/>
                      <a:pt x="53222" y="43818"/>
                      <a:pt x="54127" y="2880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6" name="Google Shape;1546;p53"/>
              <p:cNvSpPr/>
              <p:nvPr/>
            </p:nvSpPr>
            <p:spPr>
              <a:xfrm>
                <a:off x="10663088" y="2511980"/>
                <a:ext cx="35723" cy="35704"/>
              </a:xfrm>
              <a:custGeom>
                <a:avLst/>
                <a:gdLst/>
                <a:ahLst/>
                <a:cxnLst/>
                <a:rect l="l" t="t" r="r" b="b"/>
                <a:pathLst>
                  <a:path w="35723" h="35704" extrusionOk="0">
                    <a:moveTo>
                      <a:pt x="35676" y="19037"/>
                    </a:moveTo>
                    <a:cubicBezTo>
                      <a:pt x="36400" y="9271"/>
                      <a:pt x="28803" y="771"/>
                      <a:pt x="19037" y="48"/>
                    </a:cubicBezTo>
                    <a:cubicBezTo>
                      <a:pt x="9271" y="-676"/>
                      <a:pt x="771" y="6920"/>
                      <a:pt x="48" y="16686"/>
                    </a:cubicBezTo>
                    <a:cubicBezTo>
                      <a:pt x="-676" y="26452"/>
                      <a:pt x="6920" y="34953"/>
                      <a:pt x="16686" y="35676"/>
                    </a:cubicBezTo>
                    <a:cubicBezTo>
                      <a:pt x="26453" y="36219"/>
                      <a:pt x="34953" y="28803"/>
                      <a:pt x="35676" y="1903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7" name="Google Shape;1547;p53"/>
              <p:cNvSpPr/>
              <p:nvPr/>
            </p:nvSpPr>
            <p:spPr>
              <a:xfrm>
                <a:off x="11422872" y="2758679"/>
                <a:ext cx="29184" cy="29184"/>
              </a:xfrm>
              <a:custGeom>
                <a:avLst/>
                <a:gdLst/>
                <a:ahLst/>
                <a:cxnLst/>
                <a:rect l="l" t="t" r="r" b="b"/>
                <a:pathLst>
                  <a:path w="29184" h="29184" extrusionOk="0">
                    <a:moveTo>
                      <a:pt x="29151" y="15587"/>
                    </a:moveTo>
                    <a:cubicBezTo>
                      <a:pt x="29693" y="7448"/>
                      <a:pt x="23544" y="576"/>
                      <a:pt x="15587" y="33"/>
                    </a:cubicBezTo>
                    <a:cubicBezTo>
                      <a:pt x="7448" y="-509"/>
                      <a:pt x="576" y="5640"/>
                      <a:pt x="33" y="13597"/>
                    </a:cubicBezTo>
                    <a:cubicBezTo>
                      <a:pt x="-509" y="21736"/>
                      <a:pt x="5640" y="28608"/>
                      <a:pt x="13597" y="29151"/>
                    </a:cubicBezTo>
                    <a:cubicBezTo>
                      <a:pt x="21736" y="29693"/>
                      <a:pt x="28608" y="23544"/>
                      <a:pt x="29151" y="1558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8" name="Google Shape;1548;p53"/>
              <p:cNvSpPr/>
              <p:nvPr/>
            </p:nvSpPr>
            <p:spPr>
              <a:xfrm>
                <a:off x="10625580" y="2474471"/>
                <a:ext cx="110921" cy="110921"/>
              </a:xfrm>
              <a:custGeom>
                <a:avLst/>
                <a:gdLst/>
                <a:ahLst/>
                <a:cxnLst/>
                <a:rect l="l" t="t" r="r" b="b"/>
                <a:pathLst>
                  <a:path w="110921" h="110921" extrusionOk="0">
                    <a:moveTo>
                      <a:pt x="110802" y="59078"/>
                    </a:moveTo>
                    <a:cubicBezTo>
                      <a:pt x="112791" y="28513"/>
                      <a:pt x="89642" y="2109"/>
                      <a:pt x="59078" y="119"/>
                    </a:cubicBezTo>
                    <a:cubicBezTo>
                      <a:pt x="28513" y="-1870"/>
                      <a:pt x="2109" y="21279"/>
                      <a:pt x="119" y="51844"/>
                    </a:cubicBezTo>
                    <a:cubicBezTo>
                      <a:pt x="-1870" y="82408"/>
                      <a:pt x="21279" y="108813"/>
                      <a:pt x="51844" y="110802"/>
                    </a:cubicBezTo>
                    <a:cubicBezTo>
                      <a:pt x="82408" y="112791"/>
                      <a:pt x="108632" y="89642"/>
                      <a:pt x="110802" y="590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49" name="Google Shape;1549;p53"/>
              <p:cNvSpPr/>
              <p:nvPr/>
            </p:nvSpPr>
            <p:spPr>
              <a:xfrm>
                <a:off x="11380650" y="2716457"/>
                <a:ext cx="113628" cy="113629"/>
              </a:xfrm>
              <a:custGeom>
                <a:avLst/>
                <a:gdLst/>
                <a:ahLst/>
                <a:cxnLst/>
                <a:rect l="l" t="t" r="r" b="b"/>
                <a:pathLst>
                  <a:path w="113628" h="113629" extrusionOk="0">
                    <a:moveTo>
                      <a:pt x="113512" y="60522"/>
                    </a:moveTo>
                    <a:cubicBezTo>
                      <a:pt x="115502" y="29234"/>
                      <a:pt x="91810" y="2106"/>
                      <a:pt x="60522" y="117"/>
                    </a:cubicBezTo>
                    <a:cubicBezTo>
                      <a:pt x="29234" y="-1873"/>
                      <a:pt x="2106" y="21819"/>
                      <a:pt x="117" y="53107"/>
                    </a:cubicBezTo>
                    <a:cubicBezTo>
                      <a:pt x="-1873" y="84395"/>
                      <a:pt x="21819" y="111523"/>
                      <a:pt x="53107" y="113512"/>
                    </a:cubicBezTo>
                    <a:cubicBezTo>
                      <a:pt x="84395" y="115502"/>
                      <a:pt x="111523" y="91810"/>
                      <a:pt x="113512" y="6052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0" name="Google Shape;1550;p53"/>
              <p:cNvSpPr/>
              <p:nvPr/>
            </p:nvSpPr>
            <p:spPr>
              <a:xfrm>
                <a:off x="11509151" y="1382389"/>
                <a:ext cx="19757" cy="19756"/>
              </a:xfrm>
              <a:custGeom>
                <a:avLst/>
                <a:gdLst/>
                <a:ahLst/>
                <a:cxnLst/>
                <a:rect l="l" t="t" r="r" b="b"/>
                <a:pathLst>
                  <a:path w="19757" h="19756" extrusionOk="0">
                    <a:moveTo>
                      <a:pt x="19735" y="10511"/>
                    </a:moveTo>
                    <a:cubicBezTo>
                      <a:pt x="20097" y="5086"/>
                      <a:pt x="15937" y="384"/>
                      <a:pt x="10511" y="22"/>
                    </a:cubicBezTo>
                    <a:cubicBezTo>
                      <a:pt x="5086" y="-340"/>
                      <a:pt x="384" y="3820"/>
                      <a:pt x="22" y="9245"/>
                    </a:cubicBezTo>
                    <a:cubicBezTo>
                      <a:pt x="-340" y="14671"/>
                      <a:pt x="3820" y="19373"/>
                      <a:pt x="9246" y="19735"/>
                    </a:cubicBezTo>
                    <a:cubicBezTo>
                      <a:pt x="14671" y="20097"/>
                      <a:pt x="19373" y="15937"/>
                      <a:pt x="19735" y="1051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1" name="Google Shape;1551;p53"/>
              <p:cNvSpPr/>
              <p:nvPr/>
            </p:nvSpPr>
            <p:spPr>
              <a:xfrm>
                <a:off x="9485858" y="2947610"/>
                <a:ext cx="92607" cy="92607"/>
              </a:xfrm>
              <a:custGeom>
                <a:avLst/>
                <a:gdLst/>
                <a:ahLst/>
                <a:cxnLst/>
                <a:rect l="l" t="t" r="r" b="b"/>
                <a:pathLst>
                  <a:path w="92607" h="92607" extrusionOk="0">
                    <a:moveTo>
                      <a:pt x="92512" y="49288"/>
                    </a:moveTo>
                    <a:cubicBezTo>
                      <a:pt x="94140" y="23788"/>
                      <a:pt x="74788" y="1723"/>
                      <a:pt x="49288" y="96"/>
                    </a:cubicBezTo>
                    <a:cubicBezTo>
                      <a:pt x="23787" y="-1532"/>
                      <a:pt x="1723" y="17819"/>
                      <a:pt x="96" y="43320"/>
                    </a:cubicBezTo>
                    <a:cubicBezTo>
                      <a:pt x="-1532" y="68820"/>
                      <a:pt x="17819" y="90885"/>
                      <a:pt x="43320" y="92512"/>
                    </a:cubicBezTo>
                    <a:cubicBezTo>
                      <a:pt x="68820" y="94140"/>
                      <a:pt x="90884" y="74789"/>
                      <a:pt x="92512" y="4928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2" name="Google Shape;1552;p53"/>
              <p:cNvSpPr/>
              <p:nvPr/>
            </p:nvSpPr>
            <p:spPr>
              <a:xfrm>
                <a:off x="9482879" y="2944631"/>
                <a:ext cx="98384" cy="98384"/>
              </a:xfrm>
              <a:custGeom>
                <a:avLst/>
                <a:gdLst/>
                <a:ahLst/>
                <a:cxnLst/>
                <a:rect l="l" t="t" r="r" b="b"/>
                <a:pathLst>
                  <a:path w="98384" h="98384" extrusionOk="0">
                    <a:moveTo>
                      <a:pt x="98385" y="49192"/>
                    </a:moveTo>
                    <a:cubicBezTo>
                      <a:pt x="98385" y="76361"/>
                      <a:pt x="76361" y="98385"/>
                      <a:pt x="49192" y="98385"/>
                    </a:cubicBezTo>
                    <a:cubicBezTo>
                      <a:pt x="22024" y="98385"/>
                      <a:pt x="0" y="76361"/>
                      <a:pt x="0" y="49192"/>
                    </a:cubicBezTo>
                    <a:cubicBezTo>
                      <a:pt x="0" y="22024"/>
                      <a:pt x="22024" y="0"/>
                      <a:pt x="49192" y="0"/>
                    </a:cubicBezTo>
                    <a:cubicBezTo>
                      <a:pt x="76361" y="0"/>
                      <a:pt x="98385" y="22024"/>
                      <a:pt x="98385" y="4919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3" name="Google Shape;1553;p53"/>
              <p:cNvSpPr/>
              <p:nvPr/>
            </p:nvSpPr>
            <p:spPr>
              <a:xfrm>
                <a:off x="9497091" y="2958662"/>
                <a:ext cx="70323" cy="70503"/>
              </a:xfrm>
              <a:custGeom>
                <a:avLst/>
                <a:gdLst/>
                <a:ahLst/>
                <a:cxnLst/>
                <a:rect l="l" t="t" r="r" b="b"/>
                <a:pathLst>
                  <a:path w="70323" h="70503" extrusionOk="0">
                    <a:moveTo>
                      <a:pt x="70248" y="37513"/>
                    </a:moveTo>
                    <a:cubicBezTo>
                      <a:pt x="71514" y="18162"/>
                      <a:pt x="56865" y="1342"/>
                      <a:pt x="37513" y="76"/>
                    </a:cubicBezTo>
                    <a:cubicBezTo>
                      <a:pt x="18162" y="-1190"/>
                      <a:pt x="1342" y="13459"/>
                      <a:pt x="76" y="32992"/>
                    </a:cubicBezTo>
                    <a:cubicBezTo>
                      <a:pt x="-1190" y="52343"/>
                      <a:pt x="13459" y="69163"/>
                      <a:pt x="32811" y="70429"/>
                    </a:cubicBezTo>
                    <a:cubicBezTo>
                      <a:pt x="52162" y="71695"/>
                      <a:pt x="68982" y="56865"/>
                      <a:pt x="70248" y="3751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4" name="Google Shape;1554;p53"/>
              <p:cNvSpPr/>
              <p:nvPr/>
            </p:nvSpPr>
            <p:spPr>
              <a:xfrm>
                <a:off x="9509406" y="2971158"/>
                <a:ext cx="45512" cy="45492"/>
              </a:xfrm>
              <a:custGeom>
                <a:avLst/>
                <a:gdLst/>
                <a:ahLst/>
                <a:cxnLst/>
                <a:rect l="l" t="t" r="r" b="b"/>
                <a:pathLst>
                  <a:path w="45512" h="45492" extrusionOk="0">
                    <a:moveTo>
                      <a:pt x="45453" y="24294"/>
                    </a:moveTo>
                    <a:cubicBezTo>
                      <a:pt x="46358" y="11815"/>
                      <a:pt x="36773" y="963"/>
                      <a:pt x="24294" y="59"/>
                    </a:cubicBezTo>
                    <a:cubicBezTo>
                      <a:pt x="11815" y="-845"/>
                      <a:pt x="963" y="8740"/>
                      <a:pt x="59" y="21219"/>
                    </a:cubicBezTo>
                    <a:cubicBezTo>
                      <a:pt x="-845" y="33698"/>
                      <a:pt x="8740" y="44549"/>
                      <a:pt x="21219" y="45454"/>
                    </a:cubicBezTo>
                    <a:cubicBezTo>
                      <a:pt x="33879" y="46177"/>
                      <a:pt x="44549" y="36773"/>
                      <a:pt x="45453" y="2429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5" name="Google Shape;1555;p53"/>
              <p:cNvSpPr/>
              <p:nvPr/>
            </p:nvSpPr>
            <p:spPr>
              <a:xfrm>
                <a:off x="9647766" y="3561654"/>
                <a:ext cx="51648" cy="51648"/>
              </a:xfrm>
              <a:custGeom>
                <a:avLst/>
                <a:gdLst/>
                <a:ahLst/>
                <a:cxnLst/>
                <a:rect l="l" t="t" r="r" b="b"/>
                <a:pathLst>
                  <a:path w="51648" h="51648" extrusionOk="0">
                    <a:moveTo>
                      <a:pt x="51596" y="27543"/>
                    </a:moveTo>
                    <a:cubicBezTo>
                      <a:pt x="52500" y="13255"/>
                      <a:pt x="41649" y="957"/>
                      <a:pt x="27543" y="53"/>
                    </a:cubicBezTo>
                    <a:cubicBezTo>
                      <a:pt x="13255" y="-851"/>
                      <a:pt x="957" y="10000"/>
                      <a:pt x="53" y="24106"/>
                    </a:cubicBezTo>
                    <a:cubicBezTo>
                      <a:pt x="-852" y="38394"/>
                      <a:pt x="10000" y="50692"/>
                      <a:pt x="24106" y="51596"/>
                    </a:cubicBezTo>
                    <a:cubicBezTo>
                      <a:pt x="38394" y="52501"/>
                      <a:pt x="50692" y="41649"/>
                      <a:pt x="51596" y="2754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6" name="Google Shape;1556;p53"/>
              <p:cNvSpPr/>
              <p:nvPr/>
            </p:nvSpPr>
            <p:spPr>
              <a:xfrm>
                <a:off x="9511412" y="2973164"/>
                <a:ext cx="41499" cy="41499"/>
              </a:xfrm>
              <a:custGeom>
                <a:avLst/>
                <a:gdLst/>
                <a:ahLst/>
                <a:cxnLst/>
                <a:rect l="l" t="t" r="r" b="b"/>
                <a:pathLst>
                  <a:path w="41499" h="41499" extrusionOk="0">
                    <a:moveTo>
                      <a:pt x="41458" y="22106"/>
                    </a:moveTo>
                    <a:cubicBezTo>
                      <a:pt x="42181" y="10712"/>
                      <a:pt x="33500" y="946"/>
                      <a:pt x="22106" y="42"/>
                    </a:cubicBezTo>
                    <a:cubicBezTo>
                      <a:pt x="10712" y="-681"/>
                      <a:pt x="946" y="8000"/>
                      <a:pt x="42" y="19394"/>
                    </a:cubicBezTo>
                    <a:cubicBezTo>
                      <a:pt x="-681" y="30787"/>
                      <a:pt x="8000" y="40553"/>
                      <a:pt x="19394" y="41458"/>
                    </a:cubicBezTo>
                    <a:cubicBezTo>
                      <a:pt x="30787" y="42181"/>
                      <a:pt x="40734" y="33500"/>
                      <a:pt x="41458" y="2210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7" name="Google Shape;1557;p53"/>
              <p:cNvSpPr/>
              <p:nvPr/>
            </p:nvSpPr>
            <p:spPr>
              <a:xfrm rot="-1491190">
                <a:off x="9644414" y="2507399"/>
                <a:ext cx="69087" cy="69087"/>
              </a:xfrm>
              <a:custGeom>
                <a:avLst/>
                <a:gdLst/>
                <a:ahLst/>
                <a:cxnLst/>
                <a:rect l="l" t="t" r="r" b="b"/>
                <a:pathLst>
                  <a:path w="69087" h="69087" extrusionOk="0">
                    <a:moveTo>
                      <a:pt x="69087" y="34544"/>
                    </a:moveTo>
                    <a:cubicBezTo>
                      <a:pt x="69087" y="53622"/>
                      <a:pt x="53622" y="69087"/>
                      <a:pt x="34544" y="69087"/>
                    </a:cubicBezTo>
                    <a:cubicBezTo>
                      <a:pt x="15466" y="69087"/>
                      <a:pt x="0" y="53622"/>
                      <a:pt x="0" y="34544"/>
                    </a:cubicBezTo>
                    <a:cubicBezTo>
                      <a:pt x="0" y="15466"/>
                      <a:pt x="15466" y="0"/>
                      <a:pt x="34544" y="0"/>
                    </a:cubicBezTo>
                    <a:cubicBezTo>
                      <a:pt x="53622" y="0"/>
                      <a:pt x="69087" y="15466"/>
                      <a:pt x="69087" y="3454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8" name="Google Shape;1558;p53"/>
              <p:cNvSpPr/>
              <p:nvPr/>
            </p:nvSpPr>
            <p:spPr>
              <a:xfrm>
                <a:off x="9505254" y="2967006"/>
                <a:ext cx="53815" cy="53815"/>
              </a:xfrm>
              <a:custGeom>
                <a:avLst/>
                <a:gdLst/>
                <a:ahLst/>
                <a:cxnLst/>
                <a:rect l="l" t="t" r="r" b="b"/>
                <a:pathLst>
                  <a:path w="53815" h="53815" extrusionOk="0">
                    <a:moveTo>
                      <a:pt x="53765" y="28626"/>
                    </a:moveTo>
                    <a:cubicBezTo>
                      <a:pt x="54669" y="13796"/>
                      <a:pt x="43456" y="955"/>
                      <a:pt x="28626" y="51"/>
                    </a:cubicBezTo>
                    <a:cubicBezTo>
                      <a:pt x="13796" y="-853"/>
                      <a:pt x="955" y="10360"/>
                      <a:pt x="51" y="25190"/>
                    </a:cubicBezTo>
                    <a:cubicBezTo>
                      <a:pt x="-853" y="40020"/>
                      <a:pt x="10360" y="52861"/>
                      <a:pt x="25190" y="53765"/>
                    </a:cubicBezTo>
                    <a:cubicBezTo>
                      <a:pt x="40020" y="54669"/>
                      <a:pt x="52861" y="43456"/>
                      <a:pt x="53765" y="2862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59" name="Google Shape;1559;p53"/>
              <p:cNvSpPr/>
              <p:nvPr/>
            </p:nvSpPr>
            <p:spPr>
              <a:xfrm rot="-4431566">
                <a:off x="9665996" y="2529096"/>
                <a:ext cx="26043" cy="26043"/>
              </a:xfrm>
              <a:custGeom>
                <a:avLst/>
                <a:gdLst/>
                <a:ahLst/>
                <a:cxnLst/>
                <a:rect l="l" t="t" r="r" b="b"/>
                <a:pathLst>
                  <a:path w="26043" h="26043" extrusionOk="0">
                    <a:moveTo>
                      <a:pt x="26044" y="13022"/>
                    </a:moveTo>
                    <a:cubicBezTo>
                      <a:pt x="26044" y="20213"/>
                      <a:pt x="20213" y="26043"/>
                      <a:pt x="13022" y="26043"/>
                    </a:cubicBezTo>
                    <a:cubicBezTo>
                      <a:pt x="5830" y="26043"/>
                      <a:pt x="0" y="20213"/>
                      <a:pt x="0" y="13022"/>
                    </a:cubicBezTo>
                    <a:cubicBezTo>
                      <a:pt x="0" y="5830"/>
                      <a:pt x="5830" y="0"/>
                      <a:pt x="13022" y="0"/>
                    </a:cubicBezTo>
                    <a:cubicBezTo>
                      <a:pt x="20213" y="0"/>
                      <a:pt x="26044" y="5830"/>
                      <a:pt x="26044" y="1302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0" name="Google Shape;1560;p53"/>
              <p:cNvSpPr/>
              <p:nvPr/>
            </p:nvSpPr>
            <p:spPr>
              <a:xfrm>
                <a:off x="9514480" y="2976232"/>
                <a:ext cx="35364" cy="35343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3" extrusionOk="0">
                    <a:moveTo>
                      <a:pt x="35315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0" y="34592"/>
                      <a:pt x="16506" y="35315"/>
                    </a:cubicBezTo>
                    <a:cubicBezTo>
                      <a:pt x="26273" y="35858"/>
                      <a:pt x="34592" y="28624"/>
                      <a:pt x="35315" y="1885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1" name="Google Shape;1561;p53"/>
              <p:cNvSpPr/>
              <p:nvPr/>
            </p:nvSpPr>
            <p:spPr>
              <a:xfrm>
                <a:off x="9639602" y="3553309"/>
                <a:ext cx="68338" cy="68338"/>
              </a:xfrm>
              <a:custGeom>
                <a:avLst/>
                <a:gdLst/>
                <a:ahLst/>
                <a:cxnLst/>
                <a:rect l="l" t="t" r="r" b="b"/>
                <a:pathLst>
                  <a:path w="68338" h="68338" extrusionOk="0">
                    <a:moveTo>
                      <a:pt x="68260" y="36430"/>
                    </a:moveTo>
                    <a:cubicBezTo>
                      <a:pt x="69526" y="17621"/>
                      <a:pt x="55239" y="1344"/>
                      <a:pt x="36430" y="78"/>
                    </a:cubicBezTo>
                    <a:cubicBezTo>
                      <a:pt x="17621" y="-1188"/>
                      <a:pt x="1344" y="13100"/>
                      <a:pt x="78" y="31908"/>
                    </a:cubicBezTo>
                    <a:cubicBezTo>
                      <a:pt x="-1188" y="50717"/>
                      <a:pt x="13100" y="66994"/>
                      <a:pt x="31908" y="68260"/>
                    </a:cubicBezTo>
                    <a:cubicBezTo>
                      <a:pt x="50717" y="69526"/>
                      <a:pt x="66994" y="55239"/>
                      <a:pt x="68260" y="3643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2" name="Google Shape;1562;p53"/>
              <p:cNvSpPr/>
              <p:nvPr/>
            </p:nvSpPr>
            <p:spPr>
              <a:xfrm>
                <a:off x="9501985" y="2963556"/>
                <a:ext cx="60535" cy="60557"/>
              </a:xfrm>
              <a:custGeom>
                <a:avLst/>
                <a:gdLst/>
                <a:ahLst/>
                <a:cxnLst/>
                <a:rect l="l" t="t" r="r" b="b"/>
                <a:pathLst>
                  <a:path w="60535" h="60557" extrusionOk="0">
                    <a:moveTo>
                      <a:pt x="60470" y="32257"/>
                    </a:moveTo>
                    <a:cubicBezTo>
                      <a:pt x="61555" y="15618"/>
                      <a:pt x="48896" y="1150"/>
                      <a:pt x="32257" y="65"/>
                    </a:cubicBezTo>
                    <a:cubicBezTo>
                      <a:pt x="15618" y="-1020"/>
                      <a:pt x="1150" y="11640"/>
                      <a:pt x="65" y="28278"/>
                    </a:cubicBezTo>
                    <a:cubicBezTo>
                      <a:pt x="-1020" y="44917"/>
                      <a:pt x="11640" y="59385"/>
                      <a:pt x="28278" y="60470"/>
                    </a:cubicBezTo>
                    <a:cubicBezTo>
                      <a:pt x="44917" y="61736"/>
                      <a:pt x="59385" y="49076"/>
                      <a:pt x="60470" y="322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3" name="Google Shape;1563;p53"/>
              <p:cNvSpPr/>
              <p:nvPr/>
            </p:nvSpPr>
            <p:spPr>
              <a:xfrm>
                <a:off x="9214555" y="3916606"/>
                <a:ext cx="112726" cy="112726"/>
              </a:xfrm>
              <a:custGeom>
                <a:avLst/>
                <a:gdLst/>
                <a:ahLst/>
                <a:cxnLst/>
                <a:rect l="l" t="t" r="r" b="b"/>
                <a:pathLst>
                  <a:path w="112726" h="112726" extrusionOk="0">
                    <a:moveTo>
                      <a:pt x="112609" y="59980"/>
                    </a:moveTo>
                    <a:cubicBezTo>
                      <a:pt x="114598" y="28873"/>
                      <a:pt x="91087" y="2107"/>
                      <a:pt x="59980" y="117"/>
                    </a:cubicBezTo>
                    <a:cubicBezTo>
                      <a:pt x="28873" y="-1872"/>
                      <a:pt x="2107" y="21639"/>
                      <a:pt x="117" y="52746"/>
                    </a:cubicBezTo>
                    <a:cubicBezTo>
                      <a:pt x="-1872" y="83853"/>
                      <a:pt x="21639" y="110620"/>
                      <a:pt x="52746" y="112609"/>
                    </a:cubicBezTo>
                    <a:cubicBezTo>
                      <a:pt x="83672" y="114598"/>
                      <a:pt x="110620" y="91087"/>
                      <a:pt x="112609" y="5998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4" name="Google Shape;1564;p53"/>
              <p:cNvSpPr/>
              <p:nvPr/>
            </p:nvSpPr>
            <p:spPr>
              <a:xfrm>
                <a:off x="9250980" y="3953032"/>
                <a:ext cx="39694" cy="39695"/>
              </a:xfrm>
              <a:custGeom>
                <a:avLst/>
                <a:gdLst/>
                <a:ahLst/>
                <a:cxnLst/>
                <a:rect l="l" t="t" r="r" b="b"/>
                <a:pathLst>
                  <a:path w="39694" h="39695" extrusionOk="0">
                    <a:moveTo>
                      <a:pt x="39651" y="21204"/>
                    </a:moveTo>
                    <a:cubicBezTo>
                      <a:pt x="40374" y="10172"/>
                      <a:pt x="32055" y="767"/>
                      <a:pt x="21204" y="44"/>
                    </a:cubicBezTo>
                    <a:cubicBezTo>
                      <a:pt x="10172" y="-679"/>
                      <a:pt x="767" y="7640"/>
                      <a:pt x="44" y="18491"/>
                    </a:cubicBezTo>
                    <a:cubicBezTo>
                      <a:pt x="-680" y="29523"/>
                      <a:pt x="7640" y="38928"/>
                      <a:pt x="18491" y="39651"/>
                    </a:cubicBezTo>
                    <a:cubicBezTo>
                      <a:pt x="29342" y="40375"/>
                      <a:pt x="38928" y="32236"/>
                      <a:pt x="39651" y="2120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5" name="Google Shape;1565;p53"/>
              <p:cNvSpPr/>
              <p:nvPr/>
            </p:nvSpPr>
            <p:spPr>
              <a:xfrm>
                <a:off x="9649751" y="3563639"/>
                <a:ext cx="47678" cy="47678"/>
              </a:xfrm>
              <a:custGeom>
                <a:avLst/>
                <a:gdLst/>
                <a:ahLst/>
                <a:cxnLst/>
                <a:rect l="l" t="t" r="r" b="b"/>
                <a:pathLst>
                  <a:path w="47678" h="47678" extrusionOk="0">
                    <a:moveTo>
                      <a:pt x="47622" y="25377"/>
                    </a:moveTo>
                    <a:cubicBezTo>
                      <a:pt x="48526" y="12174"/>
                      <a:pt x="38579" y="961"/>
                      <a:pt x="25377" y="57"/>
                    </a:cubicBezTo>
                    <a:cubicBezTo>
                      <a:pt x="12174" y="-847"/>
                      <a:pt x="961" y="9100"/>
                      <a:pt x="57" y="22302"/>
                    </a:cubicBezTo>
                    <a:cubicBezTo>
                      <a:pt x="-847" y="35505"/>
                      <a:pt x="9100" y="46718"/>
                      <a:pt x="22302" y="47622"/>
                    </a:cubicBezTo>
                    <a:cubicBezTo>
                      <a:pt x="35505" y="48526"/>
                      <a:pt x="46898" y="38398"/>
                      <a:pt x="47622" y="253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6" name="Google Shape;1566;p53"/>
              <p:cNvSpPr/>
              <p:nvPr/>
            </p:nvSpPr>
            <p:spPr>
              <a:xfrm>
                <a:off x="9249356" y="3951407"/>
                <a:ext cx="43124" cy="43124"/>
              </a:xfrm>
              <a:custGeom>
                <a:avLst/>
                <a:gdLst/>
                <a:ahLst/>
                <a:cxnLst/>
                <a:rect l="l" t="t" r="r" b="b"/>
                <a:pathLst>
                  <a:path w="43124" h="43124" extrusionOk="0">
                    <a:moveTo>
                      <a:pt x="43084" y="23009"/>
                    </a:moveTo>
                    <a:cubicBezTo>
                      <a:pt x="43807" y="11073"/>
                      <a:pt x="34765" y="945"/>
                      <a:pt x="23009" y="41"/>
                    </a:cubicBezTo>
                    <a:cubicBezTo>
                      <a:pt x="11073" y="-683"/>
                      <a:pt x="945" y="8360"/>
                      <a:pt x="41" y="20115"/>
                    </a:cubicBezTo>
                    <a:cubicBezTo>
                      <a:pt x="-683" y="32052"/>
                      <a:pt x="8360" y="42180"/>
                      <a:pt x="20115" y="43084"/>
                    </a:cubicBezTo>
                    <a:cubicBezTo>
                      <a:pt x="32052" y="43807"/>
                      <a:pt x="42361" y="34765"/>
                      <a:pt x="43084" y="2300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7" name="Google Shape;1567;p53"/>
              <p:cNvSpPr/>
              <p:nvPr/>
            </p:nvSpPr>
            <p:spPr>
              <a:xfrm>
                <a:off x="9661674" y="3668541"/>
                <a:ext cx="55462" cy="55441"/>
              </a:xfrm>
              <a:custGeom>
                <a:avLst/>
                <a:gdLst/>
                <a:ahLst/>
                <a:cxnLst/>
                <a:rect l="l" t="t" r="r" b="b"/>
                <a:pathLst>
                  <a:path w="55462" h="55441" extrusionOk="0">
                    <a:moveTo>
                      <a:pt x="55412" y="29530"/>
                    </a:moveTo>
                    <a:cubicBezTo>
                      <a:pt x="56316" y="14338"/>
                      <a:pt x="44922" y="1135"/>
                      <a:pt x="29550" y="50"/>
                    </a:cubicBezTo>
                    <a:cubicBezTo>
                      <a:pt x="14358" y="-854"/>
                      <a:pt x="1156" y="10540"/>
                      <a:pt x="70" y="25913"/>
                    </a:cubicBezTo>
                    <a:cubicBezTo>
                      <a:pt x="-1015" y="41285"/>
                      <a:pt x="10560" y="54307"/>
                      <a:pt x="25933" y="55392"/>
                    </a:cubicBezTo>
                    <a:cubicBezTo>
                      <a:pt x="41124" y="56296"/>
                      <a:pt x="54327" y="44721"/>
                      <a:pt x="55412" y="2953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8" name="Google Shape;1568;p53"/>
              <p:cNvSpPr/>
              <p:nvPr/>
            </p:nvSpPr>
            <p:spPr>
              <a:xfrm>
                <a:off x="9636894" y="3550781"/>
                <a:ext cx="73212" cy="73212"/>
              </a:xfrm>
              <a:custGeom>
                <a:avLst/>
                <a:gdLst/>
                <a:ahLst/>
                <a:cxnLst/>
                <a:rect l="l" t="t" r="r" b="b"/>
                <a:pathLst>
                  <a:path w="73212" h="73212" extrusionOk="0">
                    <a:moveTo>
                      <a:pt x="73139" y="38957"/>
                    </a:moveTo>
                    <a:cubicBezTo>
                      <a:pt x="74405" y="18883"/>
                      <a:pt x="59213" y="1340"/>
                      <a:pt x="38957" y="74"/>
                    </a:cubicBezTo>
                    <a:cubicBezTo>
                      <a:pt x="18883" y="-1192"/>
                      <a:pt x="1340" y="13999"/>
                      <a:pt x="74" y="34255"/>
                    </a:cubicBezTo>
                    <a:cubicBezTo>
                      <a:pt x="-1192" y="54330"/>
                      <a:pt x="14000" y="71873"/>
                      <a:pt x="34255" y="73139"/>
                    </a:cubicBezTo>
                    <a:cubicBezTo>
                      <a:pt x="54511" y="74405"/>
                      <a:pt x="71873" y="59213"/>
                      <a:pt x="73139" y="389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69" name="Google Shape;1569;p53"/>
              <p:cNvSpPr/>
              <p:nvPr/>
            </p:nvSpPr>
            <p:spPr>
              <a:xfrm>
                <a:off x="9259866" y="3962098"/>
                <a:ext cx="21923" cy="21923"/>
              </a:xfrm>
              <a:custGeom>
                <a:avLst/>
                <a:gdLst/>
                <a:ahLst/>
                <a:cxnLst/>
                <a:rect l="l" t="t" r="r" b="b"/>
                <a:pathLst>
                  <a:path w="21923" h="21923" extrusionOk="0">
                    <a:moveTo>
                      <a:pt x="21904" y="11595"/>
                    </a:moveTo>
                    <a:cubicBezTo>
                      <a:pt x="22265" y="5627"/>
                      <a:pt x="17744" y="382"/>
                      <a:pt x="11595" y="20"/>
                    </a:cubicBezTo>
                    <a:cubicBezTo>
                      <a:pt x="5446" y="-341"/>
                      <a:pt x="382" y="4180"/>
                      <a:pt x="20" y="10329"/>
                    </a:cubicBezTo>
                    <a:cubicBezTo>
                      <a:pt x="-341" y="16297"/>
                      <a:pt x="4180" y="21542"/>
                      <a:pt x="10329" y="21904"/>
                    </a:cubicBezTo>
                    <a:cubicBezTo>
                      <a:pt x="16297" y="22266"/>
                      <a:pt x="21542" y="17563"/>
                      <a:pt x="21904" y="11595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0" name="Google Shape;1570;p53"/>
              <p:cNvSpPr/>
              <p:nvPr/>
            </p:nvSpPr>
            <p:spPr>
              <a:xfrm>
                <a:off x="9672205" y="3678872"/>
                <a:ext cx="34600" cy="34621"/>
              </a:xfrm>
              <a:custGeom>
                <a:avLst/>
                <a:gdLst/>
                <a:ahLst/>
                <a:cxnLst/>
                <a:rect l="l" t="t" r="r" b="b"/>
                <a:pathLst>
                  <a:path w="34600" h="34621" extrusionOk="0">
                    <a:moveTo>
                      <a:pt x="34572" y="18476"/>
                    </a:moveTo>
                    <a:cubicBezTo>
                      <a:pt x="35114" y="8890"/>
                      <a:pt x="27880" y="752"/>
                      <a:pt x="18476" y="29"/>
                    </a:cubicBezTo>
                    <a:cubicBezTo>
                      <a:pt x="8890" y="-514"/>
                      <a:pt x="752" y="6720"/>
                      <a:pt x="29" y="16125"/>
                    </a:cubicBezTo>
                    <a:cubicBezTo>
                      <a:pt x="-514" y="25710"/>
                      <a:pt x="6720" y="33848"/>
                      <a:pt x="16125" y="34572"/>
                    </a:cubicBezTo>
                    <a:cubicBezTo>
                      <a:pt x="25710" y="35295"/>
                      <a:pt x="33848" y="28061"/>
                      <a:pt x="34572" y="184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1" name="Google Shape;1571;p53"/>
              <p:cNvSpPr/>
              <p:nvPr/>
            </p:nvSpPr>
            <p:spPr>
              <a:xfrm>
                <a:off x="9228335" y="3930386"/>
                <a:ext cx="85166" cy="85187"/>
              </a:xfrm>
              <a:custGeom>
                <a:avLst/>
                <a:gdLst/>
                <a:ahLst/>
                <a:cxnLst/>
                <a:rect l="l" t="t" r="r" b="b"/>
                <a:pathLst>
                  <a:path w="85166" h="85187" extrusionOk="0">
                    <a:moveTo>
                      <a:pt x="85084" y="45296"/>
                    </a:moveTo>
                    <a:cubicBezTo>
                      <a:pt x="86531" y="21785"/>
                      <a:pt x="68807" y="1530"/>
                      <a:pt x="45296" y="83"/>
                    </a:cubicBezTo>
                    <a:cubicBezTo>
                      <a:pt x="21785" y="-1364"/>
                      <a:pt x="1529" y="16360"/>
                      <a:pt x="83" y="39871"/>
                    </a:cubicBezTo>
                    <a:cubicBezTo>
                      <a:pt x="-1364" y="63382"/>
                      <a:pt x="16360" y="83638"/>
                      <a:pt x="39871" y="85084"/>
                    </a:cubicBezTo>
                    <a:cubicBezTo>
                      <a:pt x="63201" y="86712"/>
                      <a:pt x="83457" y="68807"/>
                      <a:pt x="85084" y="4529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2" name="Google Shape;1572;p53"/>
              <p:cNvSpPr/>
              <p:nvPr/>
            </p:nvSpPr>
            <p:spPr>
              <a:xfrm>
                <a:off x="11392092" y="3043329"/>
                <a:ext cx="57287" cy="57247"/>
              </a:xfrm>
              <a:custGeom>
                <a:avLst/>
                <a:gdLst/>
                <a:ahLst/>
                <a:cxnLst/>
                <a:rect l="l" t="t" r="r" b="b"/>
                <a:pathLst>
                  <a:path w="57287" h="57247" extrusionOk="0">
                    <a:moveTo>
                      <a:pt x="57219" y="30432"/>
                    </a:moveTo>
                    <a:cubicBezTo>
                      <a:pt x="58304" y="14698"/>
                      <a:pt x="46367" y="953"/>
                      <a:pt x="30452" y="49"/>
                    </a:cubicBezTo>
                    <a:cubicBezTo>
                      <a:pt x="14537" y="-855"/>
                      <a:pt x="973" y="10900"/>
                      <a:pt x="68" y="26815"/>
                    </a:cubicBezTo>
                    <a:cubicBezTo>
                      <a:pt x="-1017" y="42550"/>
                      <a:pt x="10920" y="56295"/>
                      <a:pt x="26835" y="57199"/>
                    </a:cubicBezTo>
                    <a:cubicBezTo>
                      <a:pt x="42750" y="58103"/>
                      <a:pt x="56314" y="46167"/>
                      <a:pt x="57219" y="30432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3" name="Google Shape;1573;p53"/>
              <p:cNvSpPr/>
              <p:nvPr/>
            </p:nvSpPr>
            <p:spPr>
              <a:xfrm>
                <a:off x="11403144" y="3054180"/>
                <a:ext cx="35364" cy="35344"/>
              </a:xfrm>
              <a:custGeom>
                <a:avLst/>
                <a:gdLst/>
                <a:ahLst/>
                <a:cxnLst/>
                <a:rect l="l" t="t" r="r" b="b"/>
                <a:pathLst>
                  <a:path w="35364" h="35344" extrusionOk="0">
                    <a:moveTo>
                      <a:pt x="35316" y="18858"/>
                    </a:moveTo>
                    <a:cubicBezTo>
                      <a:pt x="36039" y="9091"/>
                      <a:pt x="28624" y="772"/>
                      <a:pt x="18858" y="49"/>
                    </a:cubicBezTo>
                    <a:cubicBezTo>
                      <a:pt x="9091" y="-675"/>
                      <a:pt x="772" y="6740"/>
                      <a:pt x="49" y="16507"/>
                    </a:cubicBezTo>
                    <a:cubicBezTo>
                      <a:pt x="-675" y="26273"/>
                      <a:pt x="6741" y="34592"/>
                      <a:pt x="16507" y="35315"/>
                    </a:cubicBezTo>
                    <a:cubicBezTo>
                      <a:pt x="26273" y="35858"/>
                      <a:pt x="34592" y="28624"/>
                      <a:pt x="35316" y="1885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4" name="Google Shape;1574;p53"/>
              <p:cNvSpPr/>
              <p:nvPr/>
            </p:nvSpPr>
            <p:spPr>
              <a:xfrm>
                <a:off x="9246989" y="3949040"/>
                <a:ext cx="47857" cy="48019"/>
              </a:xfrm>
              <a:custGeom>
                <a:avLst/>
                <a:gdLst/>
                <a:ahLst/>
                <a:cxnLst/>
                <a:rect l="l" t="t" r="r" b="b"/>
                <a:pathLst>
                  <a:path w="47857" h="48019" extrusionOk="0">
                    <a:moveTo>
                      <a:pt x="47802" y="25557"/>
                    </a:moveTo>
                    <a:cubicBezTo>
                      <a:pt x="48706" y="12354"/>
                      <a:pt x="38578" y="960"/>
                      <a:pt x="25557" y="56"/>
                    </a:cubicBezTo>
                    <a:cubicBezTo>
                      <a:pt x="12354" y="-848"/>
                      <a:pt x="960" y="9280"/>
                      <a:pt x="56" y="22482"/>
                    </a:cubicBezTo>
                    <a:cubicBezTo>
                      <a:pt x="-848" y="35684"/>
                      <a:pt x="9280" y="47078"/>
                      <a:pt x="22301" y="47983"/>
                    </a:cubicBezTo>
                    <a:cubicBezTo>
                      <a:pt x="35504" y="48706"/>
                      <a:pt x="46897" y="38759"/>
                      <a:pt x="47802" y="2555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5" name="Google Shape;1575;p53"/>
              <p:cNvSpPr/>
              <p:nvPr/>
            </p:nvSpPr>
            <p:spPr>
              <a:xfrm>
                <a:off x="9259866" y="3961917"/>
                <a:ext cx="22104" cy="22127"/>
              </a:xfrm>
              <a:custGeom>
                <a:avLst/>
                <a:gdLst/>
                <a:ahLst/>
                <a:cxnLst/>
                <a:rect l="l" t="t" r="r" b="b"/>
                <a:pathLst>
                  <a:path w="22104" h="22127" extrusionOk="0">
                    <a:moveTo>
                      <a:pt x="22085" y="11776"/>
                    </a:moveTo>
                    <a:cubicBezTo>
                      <a:pt x="22446" y="5627"/>
                      <a:pt x="17925" y="382"/>
                      <a:pt x="11776" y="20"/>
                    </a:cubicBezTo>
                    <a:cubicBezTo>
                      <a:pt x="5627" y="-342"/>
                      <a:pt x="382" y="4180"/>
                      <a:pt x="20" y="10329"/>
                    </a:cubicBezTo>
                    <a:cubicBezTo>
                      <a:pt x="-341" y="16478"/>
                      <a:pt x="4180" y="21723"/>
                      <a:pt x="10329" y="22085"/>
                    </a:cubicBezTo>
                    <a:cubicBezTo>
                      <a:pt x="16478" y="22627"/>
                      <a:pt x="21723" y="17925"/>
                      <a:pt x="22085" y="11776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6" name="Google Shape;1576;p53"/>
              <p:cNvSpPr/>
              <p:nvPr/>
            </p:nvSpPr>
            <p:spPr>
              <a:xfrm>
                <a:off x="10165527" y="2203592"/>
                <a:ext cx="67795" cy="67796"/>
              </a:xfrm>
              <a:custGeom>
                <a:avLst/>
                <a:gdLst/>
                <a:ahLst/>
                <a:cxnLst/>
                <a:rect l="l" t="t" r="r" b="b"/>
                <a:pathLst>
                  <a:path w="67795" h="67796" extrusionOk="0">
                    <a:moveTo>
                      <a:pt x="67718" y="36068"/>
                    </a:moveTo>
                    <a:cubicBezTo>
                      <a:pt x="68984" y="17440"/>
                      <a:pt x="54696" y="1163"/>
                      <a:pt x="36068" y="78"/>
                    </a:cubicBezTo>
                    <a:cubicBezTo>
                      <a:pt x="17440" y="-1188"/>
                      <a:pt x="1163" y="13100"/>
                      <a:pt x="78" y="31728"/>
                    </a:cubicBezTo>
                    <a:cubicBezTo>
                      <a:pt x="-1188" y="50356"/>
                      <a:pt x="13100" y="66632"/>
                      <a:pt x="31728" y="67718"/>
                    </a:cubicBezTo>
                    <a:cubicBezTo>
                      <a:pt x="50356" y="68984"/>
                      <a:pt x="66452" y="54877"/>
                      <a:pt x="67718" y="360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7" name="Google Shape;1577;p53"/>
              <p:cNvSpPr/>
              <p:nvPr/>
            </p:nvSpPr>
            <p:spPr>
              <a:xfrm>
                <a:off x="10190899" y="2229145"/>
                <a:ext cx="16690" cy="16671"/>
              </a:xfrm>
              <a:custGeom>
                <a:avLst/>
                <a:gdLst/>
                <a:ahLst/>
                <a:cxnLst/>
                <a:rect l="l" t="t" r="r" b="b"/>
                <a:pathLst>
                  <a:path w="16690" h="16671" extrusionOk="0">
                    <a:moveTo>
                      <a:pt x="16665" y="8888"/>
                    </a:moveTo>
                    <a:cubicBezTo>
                      <a:pt x="17026" y="4367"/>
                      <a:pt x="13590" y="388"/>
                      <a:pt x="8888" y="26"/>
                    </a:cubicBezTo>
                    <a:cubicBezTo>
                      <a:pt x="4367" y="-336"/>
                      <a:pt x="388" y="3101"/>
                      <a:pt x="26" y="7803"/>
                    </a:cubicBezTo>
                    <a:cubicBezTo>
                      <a:pt x="-335" y="12324"/>
                      <a:pt x="3101" y="16303"/>
                      <a:pt x="7803" y="16665"/>
                    </a:cubicBezTo>
                    <a:cubicBezTo>
                      <a:pt x="12505" y="16846"/>
                      <a:pt x="16484" y="13409"/>
                      <a:pt x="16665" y="888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8" name="Google Shape;1578;p53"/>
              <p:cNvSpPr/>
              <p:nvPr/>
            </p:nvSpPr>
            <p:spPr>
              <a:xfrm>
                <a:off x="9673309" y="2536433"/>
                <a:ext cx="11232" cy="11259"/>
              </a:xfrm>
              <a:custGeom>
                <a:avLst/>
                <a:gdLst/>
                <a:ahLst/>
                <a:cxnLst/>
                <a:rect l="l" t="t" r="r" b="b"/>
                <a:pathLst>
                  <a:path w="11232" h="11259" extrusionOk="0">
                    <a:moveTo>
                      <a:pt x="11223" y="5978"/>
                    </a:moveTo>
                    <a:cubicBezTo>
                      <a:pt x="11404" y="2903"/>
                      <a:pt x="9053" y="191"/>
                      <a:pt x="5978" y="10"/>
                    </a:cubicBezTo>
                    <a:cubicBezTo>
                      <a:pt x="2903" y="-171"/>
                      <a:pt x="191" y="2180"/>
                      <a:pt x="10" y="5255"/>
                    </a:cubicBezTo>
                    <a:cubicBezTo>
                      <a:pt x="-171" y="8329"/>
                      <a:pt x="2180" y="11042"/>
                      <a:pt x="5255" y="11223"/>
                    </a:cubicBezTo>
                    <a:cubicBezTo>
                      <a:pt x="8329" y="11584"/>
                      <a:pt x="11042" y="9233"/>
                      <a:pt x="11223" y="597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79" name="Google Shape;1579;p53"/>
              <p:cNvSpPr/>
              <p:nvPr/>
            </p:nvSpPr>
            <p:spPr>
              <a:xfrm>
                <a:off x="10185645" y="2223710"/>
                <a:ext cx="27560" cy="27560"/>
              </a:xfrm>
              <a:custGeom>
                <a:avLst/>
                <a:gdLst/>
                <a:ahLst/>
                <a:cxnLst/>
                <a:rect l="l" t="t" r="r" b="b"/>
                <a:pathLst>
                  <a:path w="27560" h="27560" extrusionOk="0">
                    <a:moveTo>
                      <a:pt x="27525" y="14684"/>
                    </a:moveTo>
                    <a:cubicBezTo>
                      <a:pt x="28068" y="7089"/>
                      <a:pt x="22280" y="578"/>
                      <a:pt x="14684" y="35"/>
                    </a:cubicBezTo>
                    <a:cubicBezTo>
                      <a:pt x="7089" y="-507"/>
                      <a:pt x="578" y="5280"/>
                      <a:pt x="35" y="12876"/>
                    </a:cubicBezTo>
                    <a:cubicBezTo>
                      <a:pt x="-507" y="20472"/>
                      <a:pt x="5280" y="26983"/>
                      <a:pt x="12876" y="27525"/>
                    </a:cubicBezTo>
                    <a:cubicBezTo>
                      <a:pt x="20472" y="28068"/>
                      <a:pt x="26982" y="22280"/>
                      <a:pt x="27525" y="14684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0" name="Google Shape;1580;p53"/>
              <p:cNvSpPr/>
              <p:nvPr/>
            </p:nvSpPr>
            <p:spPr>
              <a:xfrm>
                <a:off x="10259201" y="1412707"/>
                <a:ext cx="80292" cy="80292"/>
              </a:xfrm>
              <a:custGeom>
                <a:avLst/>
                <a:gdLst/>
                <a:ahLst/>
                <a:cxnLst/>
                <a:rect l="l" t="t" r="r" b="b"/>
                <a:pathLst>
                  <a:path w="80292" h="80292" extrusionOk="0">
                    <a:moveTo>
                      <a:pt x="80205" y="42768"/>
                    </a:moveTo>
                    <a:cubicBezTo>
                      <a:pt x="81652" y="20704"/>
                      <a:pt x="64833" y="1534"/>
                      <a:pt x="42768" y="87"/>
                    </a:cubicBezTo>
                    <a:cubicBezTo>
                      <a:pt x="20704" y="-1360"/>
                      <a:pt x="1534" y="15459"/>
                      <a:pt x="87" y="37524"/>
                    </a:cubicBezTo>
                    <a:cubicBezTo>
                      <a:pt x="-1360" y="59588"/>
                      <a:pt x="15460" y="78758"/>
                      <a:pt x="37524" y="80205"/>
                    </a:cubicBezTo>
                    <a:cubicBezTo>
                      <a:pt x="59588" y="81652"/>
                      <a:pt x="78759" y="64833"/>
                      <a:pt x="80205" y="42768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1" name="Google Shape;1581;p53"/>
              <p:cNvSpPr/>
              <p:nvPr/>
            </p:nvSpPr>
            <p:spPr>
              <a:xfrm>
                <a:off x="10142520" y="2180585"/>
                <a:ext cx="113990" cy="113990"/>
              </a:xfrm>
              <a:custGeom>
                <a:avLst/>
                <a:gdLst/>
                <a:ahLst/>
                <a:cxnLst/>
                <a:rect l="l" t="t" r="r" b="b"/>
                <a:pathLst>
                  <a:path w="113990" h="113990" extrusionOk="0">
                    <a:moveTo>
                      <a:pt x="113874" y="60703"/>
                    </a:moveTo>
                    <a:cubicBezTo>
                      <a:pt x="115864" y="29234"/>
                      <a:pt x="92172" y="2106"/>
                      <a:pt x="60703" y="117"/>
                    </a:cubicBezTo>
                    <a:cubicBezTo>
                      <a:pt x="29234" y="-1873"/>
                      <a:pt x="2106" y="21819"/>
                      <a:pt x="117" y="53288"/>
                    </a:cubicBezTo>
                    <a:cubicBezTo>
                      <a:pt x="-1873" y="84757"/>
                      <a:pt x="21819" y="111885"/>
                      <a:pt x="53288" y="113874"/>
                    </a:cubicBezTo>
                    <a:cubicBezTo>
                      <a:pt x="84757" y="115864"/>
                      <a:pt x="111704" y="92172"/>
                      <a:pt x="113874" y="6070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2" name="Google Shape;1582;p53"/>
              <p:cNvSpPr/>
              <p:nvPr/>
            </p:nvSpPr>
            <p:spPr>
              <a:xfrm>
                <a:off x="9660613" y="2523736"/>
                <a:ext cx="36625" cy="36626"/>
              </a:xfrm>
              <a:custGeom>
                <a:avLst/>
                <a:gdLst/>
                <a:ahLst/>
                <a:cxnLst/>
                <a:rect l="l" t="t" r="r" b="b"/>
                <a:pathLst>
                  <a:path w="36625" h="36626" extrusionOk="0">
                    <a:moveTo>
                      <a:pt x="36579" y="19579"/>
                    </a:moveTo>
                    <a:cubicBezTo>
                      <a:pt x="37303" y="9451"/>
                      <a:pt x="29526" y="770"/>
                      <a:pt x="19579" y="47"/>
                    </a:cubicBezTo>
                    <a:cubicBezTo>
                      <a:pt x="9451" y="-677"/>
                      <a:pt x="770" y="7100"/>
                      <a:pt x="47" y="17047"/>
                    </a:cubicBezTo>
                    <a:cubicBezTo>
                      <a:pt x="-677" y="27175"/>
                      <a:pt x="7100" y="35856"/>
                      <a:pt x="17047" y="36579"/>
                    </a:cubicBezTo>
                    <a:cubicBezTo>
                      <a:pt x="27175" y="37303"/>
                      <a:pt x="35856" y="29707"/>
                      <a:pt x="36579" y="1957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3" name="Google Shape;1583;p53"/>
              <p:cNvSpPr/>
              <p:nvPr/>
            </p:nvSpPr>
            <p:spPr>
              <a:xfrm>
                <a:off x="10173488" y="2211756"/>
                <a:ext cx="51671" cy="51649"/>
              </a:xfrm>
              <a:custGeom>
                <a:avLst/>
                <a:gdLst/>
                <a:ahLst/>
                <a:cxnLst/>
                <a:rect l="l" t="t" r="r" b="b"/>
                <a:pathLst>
                  <a:path w="51671" h="51649" extrusionOk="0">
                    <a:moveTo>
                      <a:pt x="51618" y="27543"/>
                    </a:moveTo>
                    <a:cubicBezTo>
                      <a:pt x="52522" y="13256"/>
                      <a:pt x="41852" y="1139"/>
                      <a:pt x="27564" y="53"/>
                    </a:cubicBezTo>
                    <a:cubicBezTo>
                      <a:pt x="13277" y="-851"/>
                      <a:pt x="1160" y="9820"/>
                      <a:pt x="75" y="24107"/>
                    </a:cubicBezTo>
                    <a:cubicBezTo>
                      <a:pt x="-1010" y="38395"/>
                      <a:pt x="9841" y="50512"/>
                      <a:pt x="24128" y="51597"/>
                    </a:cubicBezTo>
                    <a:cubicBezTo>
                      <a:pt x="38416" y="52501"/>
                      <a:pt x="50714" y="41650"/>
                      <a:pt x="51618" y="2754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4" name="Google Shape;1584;p53"/>
              <p:cNvSpPr/>
              <p:nvPr/>
            </p:nvSpPr>
            <p:spPr>
              <a:xfrm>
                <a:off x="10668543" y="2517616"/>
                <a:ext cx="24632" cy="24632"/>
              </a:xfrm>
              <a:custGeom>
                <a:avLst/>
                <a:gdLst/>
                <a:ahLst/>
                <a:cxnLst/>
                <a:rect l="l" t="t" r="r" b="b"/>
                <a:pathLst>
                  <a:path w="24632" h="24632" extrusionOk="0">
                    <a:moveTo>
                      <a:pt x="24614" y="13040"/>
                    </a:moveTo>
                    <a:cubicBezTo>
                      <a:pt x="24976" y="6167"/>
                      <a:pt x="19912" y="380"/>
                      <a:pt x="13040" y="18"/>
                    </a:cubicBezTo>
                    <a:cubicBezTo>
                      <a:pt x="6167" y="-343"/>
                      <a:pt x="380" y="4720"/>
                      <a:pt x="18" y="11593"/>
                    </a:cubicBezTo>
                    <a:cubicBezTo>
                      <a:pt x="-344" y="18465"/>
                      <a:pt x="4720" y="24253"/>
                      <a:pt x="11593" y="24614"/>
                    </a:cubicBezTo>
                    <a:cubicBezTo>
                      <a:pt x="18465" y="24976"/>
                      <a:pt x="24253" y="19912"/>
                      <a:pt x="24614" y="1304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5" name="Google Shape;1585;p53"/>
              <p:cNvSpPr/>
              <p:nvPr/>
            </p:nvSpPr>
            <p:spPr>
              <a:xfrm>
                <a:off x="10171885" y="2209950"/>
                <a:ext cx="55080" cy="55100"/>
              </a:xfrm>
              <a:custGeom>
                <a:avLst/>
                <a:gdLst/>
                <a:ahLst/>
                <a:cxnLst/>
                <a:rect l="l" t="t" r="r" b="b"/>
                <a:pathLst>
                  <a:path w="55080" h="55100" extrusionOk="0">
                    <a:moveTo>
                      <a:pt x="55030" y="29349"/>
                    </a:moveTo>
                    <a:cubicBezTo>
                      <a:pt x="55935" y="14157"/>
                      <a:pt x="44541" y="955"/>
                      <a:pt x="29349" y="50"/>
                    </a:cubicBezTo>
                    <a:cubicBezTo>
                      <a:pt x="14157" y="-854"/>
                      <a:pt x="955" y="10540"/>
                      <a:pt x="50" y="25732"/>
                    </a:cubicBezTo>
                    <a:cubicBezTo>
                      <a:pt x="-854" y="40923"/>
                      <a:pt x="10540" y="54126"/>
                      <a:pt x="25732" y="55030"/>
                    </a:cubicBezTo>
                    <a:cubicBezTo>
                      <a:pt x="40924" y="56115"/>
                      <a:pt x="54126" y="44540"/>
                      <a:pt x="55030" y="2934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6" name="Google Shape;1586;p53"/>
              <p:cNvSpPr/>
              <p:nvPr/>
            </p:nvSpPr>
            <p:spPr>
              <a:xfrm>
                <a:off x="10490202" y="1518014"/>
                <a:ext cx="25575" cy="25555"/>
              </a:xfrm>
              <a:custGeom>
                <a:avLst/>
                <a:gdLst/>
                <a:ahLst/>
                <a:cxnLst/>
                <a:rect l="l" t="t" r="r" b="b"/>
                <a:pathLst>
                  <a:path w="25575" h="25555" extrusionOk="0">
                    <a:moveTo>
                      <a:pt x="25538" y="13601"/>
                    </a:moveTo>
                    <a:cubicBezTo>
                      <a:pt x="26081" y="6548"/>
                      <a:pt x="20655" y="399"/>
                      <a:pt x="13601" y="37"/>
                    </a:cubicBezTo>
                    <a:cubicBezTo>
                      <a:pt x="6548" y="-505"/>
                      <a:pt x="399" y="4920"/>
                      <a:pt x="37" y="11974"/>
                    </a:cubicBezTo>
                    <a:cubicBezTo>
                      <a:pt x="-505" y="19027"/>
                      <a:pt x="4921" y="25176"/>
                      <a:pt x="11974" y="25538"/>
                    </a:cubicBezTo>
                    <a:cubicBezTo>
                      <a:pt x="19027" y="25900"/>
                      <a:pt x="25176" y="20655"/>
                      <a:pt x="25538" y="1360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7" name="Google Shape;1587;p53"/>
              <p:cNvSpPr/>
              <p:nvPr/>
            </p:nvSpPr>
            <p:spPr>
              <a:xfrm>
                <a:off x="10270975" y="1424481"/>
                <a:ext cx="56563" cy="56543"/>
              </a:xfrm>
              <a:custGeom>
                <a:avLst/>
                <a:gdLst/>
                <a:ahLst/>
                <a:cxnLst/>
                <a:rect l="l" t="t" r="r" b="b"/>
                <a:pathLst>
                  <a:path w="56563" h="56543" extrusionOk="0">
                    <a:moveTo>
                      <a:pt x="56495" y="30090"/>
                    </a:moveTo>
                    <a:cubicBezTo>
                      <a:pt x="57580" y="14537"/>
                      <a:pt x="45644" y="1154"/>
                      <a:pt x="30090" y="69"/>
                    </a:cubicBezTo>
                    <a:cubicBezTo>
                      <a:pt x="14537" y="-1017"/>
                      <a:pt x="1154" y="10920"/>
                      <a:pt x="69" y="26473"/>
                    </a:cubicBezTo>
                    <a:cubicBezTo>
                      <a:pt x="-1017" y="42027"/>
                      <a:pt x="10920" y="55410"/>
                      <a:pt x="26473" y="56495"/>
                    </a:cubicBezTo>
                    <a:cubicBezTo>
                      <a:pt x="42027" y="57399"/>
                      <a:pt x="55410" y="45644"/>
                      <a:pt x="56495" y="30090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8" name="Google Shape;1588;p53"/>
              <p:cNvSpPr/>
              <p:nvPr/>
            </p:nvSpPr>
            <p:spPr>
              <a:xfrm>
                <a:off x="10184020" y="2222266"/>
                <a:ext cx="30629" cy="30628"/>
              </a:xfrm>
              <a:custGeom>
                <a:avLst/>
                <a:gdLst/>
                <a:ahLst/>
                <a:cxnLst/>
                <a:rect l="l" t="t" r="r" b="b"/>
                <a:pathLst>
                  <a:path w="30629" h="30628" extrusionOk="0">
                    <a:moveTo>
                      <a:pt x="30597" y="16309"/>
                    </a:moveTo>
                    <a:cubicBezTo>
                      <a:pt x="31139" y="7809"/>
                      <a:pt x="24809" y="575"/>
                      <a:pt x="16309" y="32"/>
                    </a:cubicBezTo>
                    <a:cubicBezTo>
                      <a:pt x="7809" y="-510"/>
                      <a:pt x="575" y="5820"/>
                      <a:pt x="32" y="14320"/>
                    </a:cubicBezTo>
                    <a:cubicBezTo>
                      <a:pt x="-510" y="22820"/>
                      <a:pt x="5820" y="30054"/>
                      <a:pt x="14320" y="30597"/>
                    </a:cubicBezTo>
                    <a:cubicBezTo>
                      <a:pt x="22820" y="31139"/>
                      <a:pt x="30054" y="24629"/>
                      <a:pt x="30597" y="16309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89" name="Google Shape;1589;p53"/>
              <p:cNvSpPr/>
              <p:nvPr/>
            </p:nvSpPr>
            <p:spPr>
              <a:xfrm>
                <a:off x="10671252" y="2520144"/>
                <a:ext cx="19395" cy="19396"/>
              </a:xfrm>
              <a:custGeom>
                <a:avLst/>
                <a:gdLst/>
                <a:ahLst/>
                <a:cxnLst/>
                <a:rect l="l" t="t" r="r" b="b"/>
                <a:pathLst>
                  <a:path w="19395" h="19396" extrusionOk="0">
                    <a:moveTo>
                      <a:pt x="19373" y="10331"/>
                    </a:moveTo>
                    <a:cubicBezTo>
                      <a:pt x="19735" y="4905"/>
                      <a:pt x="15575" y="384"/>
                      <a:pt x="10331" y="22"/>
                    </a:cubicBezTo>
                    <a:cubicBezTo>
                      <a:pt x="4905" y="-340"/>
                      <a:pt x="384" y="3820"/>
                      <a:pt x="22" y="9065"/>
                    </a:cubicBezTo>
                    <a:cubicBezTo>
                      <a:pt x="-340" y="14490"/>
                      <a:pt x="3820" y="19012"/>
                      <a:pt x="9065" y="19373"/>
                    </a:cubicBezTo>
                    <a:cubicBezTo>
                      <a:pt x="14490" y="19735"/>
                      <a:pt x="19012" y="15756"/>
                      <a:pt x="19373" y="10331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1590" name="Google Shape;1590;p53"/>
              <p:cNvSpPr/>
              <p:nvPr/>
            </p:nvSpPr>
            <p:spPr>
              <a:xfrm>
                <a:off x="10460115" y="1487928"/>
                <a:ext cx="85748" cy="85748"/>
              </a:xfrm>
              <a:custGeom>
                <a:avLst/>
                <a:gdLst/>
                <a:ahLst/>
                <a:cxnLst/>
                <a:rect l="l" t="t" r="r" b="b"/>
                <a:pathLst>
                  <a:path w="85748" h="85748" extrusionOk="0">
                    <a:moveTo>
                      <a:pt x="85646" y="45677"/>
                    </a:moveTo>
                    <a:cubicBezTo>
                      <a:pt x="87274" y="21985"/>
                      <a:pt x="69188" y="1549"/>
                      <a:pt x="45677" y="102"/>
                    </a:cubicBezTo>
                    <a:cubicBezTo>
                      <a:pt x="21985" y="-1526"/>
                      <a:pt x="1549" y="16560"/>
                      <a:pt x="102" y="40071"/>
                    </a:cubicBezTo>
                    <a:cubicBezTo>
                      <a:pt x="-1526" y="63763"/>
                      <a:pt x="16560" y="84199"/>
                      <a:pt x="40071" y="85646"/>
                    </a:cubicBezTo>
                    <a:cubicBezTo>
                      <a:pt x="63763" y="87274"/>
                      <a:pt x="84199" y="69369"/>
                      <a:pt x="85646" y="45677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  <p:sp>
          <p:nvSpPr>
            <p:cNvPr id="1591" name="Google Shape;1591;p53"/>
            <p:cNvSpPr/>
            <p:nvPr/>
          </p:nvSpPr>
          <p:spPr>
            <a:xfrm>
              <a:off x="11849143" y="4661265"/>
              <a:ext cx="26838" cy="26819"/>
            </a:xfrm>
            <a:custGeom>
              <a:avLst/>
              <a:gdLst/>
              <a:ahLst/>
              <a:cxnLst/>
              <a:rect l="l" t="t" r="r" b="b"/>
              <a:pathLst>
                <a:path w="26838" h="26819" extrusionOk="0">
                  <a:moveTo>
                    <a:pt x="26803" y="14324"/>
                  </a:moveTo>
                  <a:cubicBezTo>
                    <a:pt x="27345" y="6909"/>
                    <a:pt x="21739" y="579"/>
                    <a:pt x="14324" y="36"/>
                  </a:cubicBezTo>
                  <a:cubicBezTo>
                    <a:pt x="6909" y="-506"/>
                    <a:pt x="579" y="5100"/>
                    <a:pt x="36" y="12515"/>
                  </a:cubicBezTo>
                  <a:cubicBezTo>
                    <a:pt x="-506" y="19930"/>
                    <a:pt x="5100" y="26260"/>
                    <a:pt x="12515" y="26803"/>
                  </a:cubicBezTo>
                  <a:cubicBezTo>
                    <a:pt x="19930" y="27164"/>
                    <a:pt x="26260" y="21558"/>
                    <a:pt x="26803" y="1432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2" name="Google Shape;1592;p53"/>
            <p:cNvSpPr/>
            <p:nvPr/>
          </p:nvSpPr>
          <p:spPr>
            <a:xfrm>
              <a:off x="11526217" y="4214634"/>
              <a:ext cx="134830" cy="134830"/>
            </a:xfrm>
            <a:custGeom>
              <a:avLst/>
              <a:gdLst/>
              <a:ahLst/>
              <a:cxnLst/>
              <a:rect l="l" t="t" r="r" b="b"/>
              <a:pathLst>
                <a:path w="134830" h="134830" extrusionOk="0">
                  <a:moveTo>
                    <a:pt x="134693" y="71756"/>
                  </a:moveTo>
                  <a:cubicBezTo>
                    <a:pt x="137044" y="34681"/>
                    <a:pt x="109012" y="2489"/>
                    <a:pt x="71756" y="138"/>
                  </a:cubicBezTo>
                  <a:cubicBezTo>
                    <a:pt x="34500" y="-2213"/>
                    <a:pt x="2489" y="25819"/>
                    <a:pt x="138" y="63075"/>
                  </a:cubicBezTo>
                  <a:cubicBezTo>
                    <a:pt x="-2213" y="100331"/>
                    <a:pt x="25819" y="132342"/>
                    <a:pt x="63075" y="134693"/>
                  </a:cubicBezTo>
                  <a:cubicBezTo>
                    <a:pt x="100150" y="137045"/>
                    <a:pt x="132161" y="108831"/>
                    <a:pt x="134693" y="717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3" name="Google Shape;1593;p53"/>
            <p:cNvSpPr/>
            <p:nvPr/>
          </p:nvSpPr>
          <p:spPr>
            <a:xfrm rot="-4438743">
              <a:off x="11306284" y="4970044"/>
              <a:ext cx="41959" cy="41959"/>
            </a:xfrm>
            <a:custGeom>
              <a:avLst/>
              <a:gdLst/>
              <a:ahLst/>
              <a:cxnLst/>
              <a:rect l="l" t="t" r="r" b="b"/>
              <a:pathLst>
                <a:path w="41959" h="41959" extrusionOk="0">
                  <a:moveTo>
                    <a:pt x="41960" y="20980"/>
                  </a:moveTo>
                  <a:cubicBezTo>
                    <a:pt x="41960" y="32567"/>
                    <a:pt x="32567" y="41960"/>
                    <a:pt x="20980" y="41960"/>
                  </a:cubicBezTo>
                  <a:cubicBezTo>
                    <a:pt x="9393" y="41960"/>
                    <a:pt x="0" y="32567"/>
                    <a:pt x="0" y="20980"/>
                  </a:cubicBezTo>
                  <a:cubicBezTo>
                    <a:pt x="0" y="9393"/>
                    <a:pt x="9393" y="0"/>
                    <a:pt x="20980" y="0"/>
                  </a:cubicBezTo>
                  <a:cubicBezTo>
                    <a:pt x="32567" y="0"/>
                    <a:pt x="41960" y="9393"/>
                    <a:pt x="41960" y="20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4" name="Google Shape;1594;p53"/>
            <p:cNvSpPr/>
            <p:nvPr/>
          </p:nvSpPr>
          <p:spPr>
            <a:xfrm>
              <a:off x="11843708" y="4656011"/>
              <a:ext cx="37528" cy="37509"/>
            </a:xfrm>
            <a:custGeom>
              <a:avLst/>
              <a:gdLst/>
              <a:ahLst/>
              <a:cxnLst/>
              <a:rect l="l" t="t" r="r" b="b"/>
              <a:pathLst>
                <a:path w="37528" h="37509" extrusionOk="0">
                  <a:moveTo>
                    <a:pt x="37483" y="19940"/>
                  </a:moveTo>
                  <a:cubicBezTo>
                    <a:pt x="38206" y="9631"/>
                    <a:pt x="30248" y="769"/>
                    <a:pt x="19940" y="46"/>
                  </a:cubicBezTo>
                  <a:cubicBezTo>
                    <a:pt x="9631" y="-678"/>
                    <a:pt x="769" y="7280"/>
                    <a:pt x="46" y="17589"/>
                  </a:cubicBezTo>
                  <a:cubicBezTo>
                    <a:pt x="-678" y="27897"/>
                    <a:pt x="7280" y="36759"/>
                    <a:pt x="17589" y="37482"/>
                  </a:cubicBezTo>
                  <a:cubicBezTo>
                    <a:pt x="27897" y="38025"/>
                    <a:pt x="36940" y="30248"/>
                    <a:pt x="37483" y="1994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5" name="Google Shape;1595;p53"/>
            <p:cNvSpPr/>
            <p:nvPr/>
          </p:nvSpPr>
          <p:spPr>
            <a:xfrm>
              <a:off x="11805336" y="5117158"/>
              <a:ext cx="69421" cy="69421"/>
            </a:xfrm>
            <a:custGeom>
              <a:avLst/>
              <a:gdLst/>
              <a:ahLst/>
              <a:cxnLst/>
              <a:rect l="l" t="t" r="r" b="b"/>
              <a:pathLst>
                <a:path w="69421" h="69421" extrusionOk="0">
                  <a:moveTo>
                    <a:pt x="69344" y="36971"/>
                  </a:moveTo>
                  <a:cubicBezTo>
                    <a:pt x="70610" y="17801"/>
                    <a:pt x="56142" y="1343"/>
                    <a:pt x="36971" y="77"/>
                  </a:cubicBezTo>
                  <a:cubicBezTo>
                    <a:pt x="17801" y="-1189"/>
                    <a:pt x="1343" y="13279"/>
                    <a:pt x="77" y="32450"/>
                  </a:cubicBezTo>
                  <a:cubicBezTo>
                    <a:pt x="-1189" y="51620"/>
                    <a:pt x="13279" y="68078"/>
                    <a:pt x="32450" y="69344"/>
                  </a:cubicBezTo>
                  <a:cubicBezTo>
                    <a:pt x="51621" y="70610"/>
                    <a:pt x="68078" y="56142"/>
                    <a:pt x="69344" y="3697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6" name="Google Shape;1596;p53"/>
            <p:cNvSpPr/>
            <p:nvPr/>
          </p:nvSpPr>
          <p:spPr>
            <a:xfrm>
              <a:off x="11278471" y="4942599"/>
              <a:ext cx="96981" cy="96981"/>
            </a:xfrm>
            <a:custGeom>
              <a:avLst/>
              <a:gdLst/>
              <a:ahLst/>
              <a:cxnLst/>
              <a:rect l="l" t="t" r="r" b="b"/>
              <a:pathLst>
                <a:path w="96981" h="96981" extrusionOk="0">
                  <a:moveTo>
                    <a:pt x="96870" y="51656"/>
                  </a:moveTo>
                  <a:cubicBezTo>
                    <a:pt x="98678" y="24890"/>
                    <a:pt x="78422" y="1921"/>
                    <a:pt x="51656" y="112"/>
                  </a:cubicBezTo>
                  <a:cubicBezTo>
                    <a:pt x="24890" y="-1696"/>
                    <a:pt x="1921" y="18559"/>
                    <a:pt x="112" y="45326"/>
                  </a:cubicBezTo>
                  <a:cubicBezTo>
                    <a:pt x="-1696" y="72093"/>
                    <a:pt x="18559" y="95061"/>
                    <a:pt x="45326" y="96869"/>
                  </a:cubicBezTo>
                  <a:cubicBezTo>
                    <a:pt x="72093" y="98678"/>
                    <a:pt x="95242" y="78422"/>
                    <a:pt x="96870" y="5165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7" name="Google Shape;1597;p53"/>
            <p:cNvSpPr/>
            <p:nvPr/>
          </p:nvSpPr>
          <p:spPr>
            <a:xfrm>
              <a:off x="11852233" y="4664355"/>
              <a:ext cx="20840" cy="20824"/>
            </a:xfrm>
            <a:custGeom>
              <a:avLst/>
              <a:gdLst/>
              <a:ahLst/>
              <a:cxnLst/>
              <a:rect l="l" t="t" r="r" b="b"/>
              <a:pathLst>
                <a:path w="20840" h="20824" extrusionOk="0">
                  <a:moveTo>
                    <a:pt x="20819" y="11053"/>
                  </a:moveTo>
                  <a:cubicBezTo>
                    <a:pt x="21181" y="5266"/>
                    <a:pt x="16841" y="383"/>
                    <a:pt x="11053" y="21"/>
                  </a:cubicBezTo>
                  <a:cubicBezTo>
                    <a:pt x="5266" y="-340"/>
                    <a:pt x="383" y="4000"/>
                    <a:pt x="21" y="9787"/>
                  </a:cubicBezTo>
                  <a:cubicBezTo>
                    <a:pt x="-340" y="15575"/>
                    <a:pt x="4000" y="20458"/>
                    <a:pt x="9787" y="20819"/>
                  </a:cubicBezTo>
                  <a:cubicBezTo>
                    <a:pt x="15394" y="21000"/>
                    <a:pt x="20277" y="16660"/>
                    <a:pt x="20819" y="1105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8" name="Google Shape;1598;p53"/>
            <p:cNvSpPr/>
            <p:nvPr/>
          </p:nvSpPr>
          <p:spPr>
            <a:xfrm>
              <a:off x="12085698" y="4487280"/>
              <a:ext cx="44569" cy="44569"/>
            </a:xfrm>
            <a:custGeom>
              <a:avLst/>
              <a:gdLst/>
              <a:ahLst/>
              <a:cxnLst/>
              <a:rect l="l" t="t" r="r" b="b"/>
              <a:pathLst>
                <a:path w="44569" h="44569" extrusionOk="0">
                  <a:moveTo>
                    <a:pt x="44530" y="23732"/>
                  </a:moveTo>
                  <a:cubicBezTo>
                    <a:pt x="45253" y="11433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3136" y="45253"/>
                    <a:pt x="43626" y="36030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99" name="Google Shape;1599;p53"/>
            <p:cNvSpPr/>
            <p:nvPr/>
          </p:nvSpPr>
          <p:spPr>
            <a:xfrm>
              <a:off x="11572431" y="4260848"/>
              <a:ext cx="42221" cy="42221"/>
            </a:xfrm>
            <a:custGeom>
              <a:avLst/>
              <a:gdLst/>
              <a:ahLst/>
              <a:cxnLst/>
              <a:rect l="l" t="t" r="r" b="b"/>
              <a:pathLst>
                <a:path w="42221" h="42221" extrusionOk="0">
                  <a:moveTo>
                    <a:pt x="42180" y="22467"/>
                  </a:moveTo>
                  <a:cubicBezTo>
                    <a:pt x="42904" y="10893"/>
                    <a:pt x="34042" y="765"/>
                    <a:pt x="22467" y="41"/>
                  </a:cubicBezTo>
                  <a:cubicBezTo>
                    <a:pt x="10893" y="-682"/>
                    <a:pt x="765" y="8180"/>
                    <a:pt x="41" y="19754"/>
                  </a:cubicBezTo>
                  <a:cubicBezTo>
                    <a:pt x="-682" y="31329"/>
                    <a:pt x="8180" y="41457"/>
                    <a:pt x="19755" y="42180"/>
                  </a:cubicBezTo>
                  <a:cubicBezTo>
                    <a:pt x="31329" y="42904"/>
                    <a:pt x="41457" y="34042"/>
                    <a:pt x="42180" y="2246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0" name="Google Shape;1600;p53"/>
            <p:cNvSpPr/>
            <p:nvPr/>
          </p:nvSpPr>
          <p:spPr>
            <a:xfrm>
              <a:off x="11857668" y="4669971"/>
              <a:ext cx="9608" cy="9596"/>
            </a:xfrm>
            <a:custGeom>
              <a:avLst/>
              <a:gdLst/>
              <a:ahLst/>
              <a:cxnLst/>
              <a:rect l="l" t="t" r="r" b="b"/>
              <a:pathLst>
                <a:path w="9608" h="9596" extrusionOk="0">
                  <a:moveTo>
                    <a:pt x="9597" y="5075"/>
                  </a:moveTo>
                  <a:cubicBezTo>
                    <a:pt x="9777" y="2363"/>
                    <a:pt x="7788" y="192"/>
                    <a:pt x="5075" y="11"/>
                  </a:cubicBezTo>
                  <a:cubicBezTo>
                    <a:pt x="2363" y="-169"/>
                    <a:pt x="192" y="1820"/>
                    <a:pt x="11" y="4533"/>
                  </a:cubicBezTo>
                  <a:cubicBezTo>
                    <a:pt x="-169" y="7246"/>
                    <a:pt x="1820" y="9416"/>
                    <a:pt x="4533" y="9597"/>
                  </a:cubicBezTo>
                  <a:cubicBezTo>
                    <a:pt x="7245" y="9597"/>
                    <a:pt x="9597" y="7608"/>
                    <a:pt x="9597" y="507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1" name="Google Shape;1601;p53"/>
            <p:cNvSpPr/>
            <p:nvPr/>
          </p:nvSpPr>
          <p:spPr>
            <a:xfrm>
              <a:off x="12007752" y="5131305"/>
              <a:ext cx="25936" cy="25916"/>
            </a:xfrm>
            <a:custGeom>
              <a:avLst/>
              <a:gdLst/>
              <a:ahLst/>
              <a:cxnLst/>
              <a:rect l="l" t="t" r="r" b="b"/>
              <a:pathLst>
                <a:path w="25936" h="25916" extrusionOk="0">
                  <a:moveTo>
                    <a:pt x="25899" y="13782"/>
                  </a:moveTo>
                  <a:cubicBezTo>
                    <a:pt x="26442" y="6729"/>
                    <a:pt x="21017" y="580"/>
                    <a:pt x="13782" y="37"/>
                  </a:cubicBezTo>
                  <a:cubicBezTo>
                    <a:pt x="6548" y="-505"/>
                    <a:pt x="580" y="4920"/>
                    <a:pt x="37" y="12155"/>
                  </a:cubicBezTo>
                  <a:cubicBezTo>
                    <a:pt x="-505" y="19389"/>
                    <a:pt x="4921" y="25357"/>
                    <a:pt x="12155" y="25899"/>
                  </a:cubicBezTo>
                  <a:cubicBezTo>
                    <a:pt x="19208" y="26261"/>
                    <a:pt x="25357" y="20836"/>
                    <a:pt x="25899" y="1378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2" name="Google Shape;1602;p53"/>
            <p:cNvSpPr/>
            <p:nvPr/>
          </p:nvSpPr>
          <p:spPr>
            <a:xfrm>
              <a:off x="11807341" y="5119164"/>
              <a:ext cx="65229" cy="65249"/>
            </a:xfrm>
            <a:custGeom>
              <a:avLst/>
              <a:gdLst/>
              <a:ahLst/>
              <a:cxnLst/>
              <a:rect l="l" t="t" r="r" b="b"/>
              <a:pathLst>
                <a:path w="65229" h="65249" extrusionOk="0">
                  <a:moveTo>
                    <a:pt x="65169" y="34785"/>
                  </a:moveTo>
                  <a:cubicBezTo>
                    <a:pt x="66254" y="16880"/>
                    <a:pt x="52690" y="1327"/>
                    <a:pt x="34785" y="61"/>
                  </a:cubicBezTo>
                  <a:cubicBezTo>
                    <a:pt x="16880" y="-1025"/>
                    <a:pt x="1327" y="12540"/>
                    <a:pt x="61" y="30444"/>
                  </a:cubicBezTo>
                  <a:cubicBezTo>
                    <a:pt x="-1024" y="48349"/>
                    <a:pt x="12540" y="63902"/>
                    <a:pt x="30444" y="65168"/>
                  </a:cubicBezTo>
                  <a:cubicBezTo>
                    <a:pt x="48349" y="66434"/>
                    <a:pt x="64083" y="52689"/>
                    <a:pt x="65169" y="3478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3" name="Google Shape;1603;p53"/>
            <p:cNvSpPr/>
            <p:nvPr/>
          </p:nvSpPr>
          <p:spPr>
            <a:xfrm>
              <a:off x="11852413" y="4664354"/>
              <a:ext cx="20299" cy="20323"/>
            </a:xfrm>
            <a:custGeom>
              <a:avLst/>
              <a:gdLst/>
              <a:ahLst/>
              <a:cxnLst/>
              <a:rect l="l" t="t" r="r" b="b"/>
              <a:pathLst>
                <a:path w="20299" h="20323" extrusionOk="0">
                  <a:moveTo>
                    <a:pt x="20278" y="10873"/>
                  </a:moveTo>
                  <a:cubicBezTo>
                    <a:pt x="20639" y="5267"/>
                    <a:pt x="16479" y="384"/>
                    <a:pt x="10873" y="22"/>
                  </a:cubicBezTo>
                  <a:cubicBezTo>
                    <a:pt x="5267" y="-340"/>
                    <a:pt x="383" y="3820"/>
                    <a:pt x="22" y="9426"/>
                  </a:cubicBezTo>
                  <a:cubicBezTo>
                    <a:pt x="-340" y="15033"/>
                    <a:pt x="3820" y="19916"/>
                    <a:pt x="9426" y="20278"/>
                  </a:cubicBezTo>
                  <a:cubicBezTo>
                    <a:pt x="15033" y="20820"/>
                    <a:pt x="19916" y="16480"/>
                    <a:pt x="20278" y="10873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4" name="Google Shape;1604;p53"/>
            <p:cNvSpPr/>
            <p:nvPr/>
          </p:nvSpPr>
          <p:spPr>
            <a:xfrm>
              <a:off x="12459172" y="5168026"/>
              <a:ext cx="33337" cy="33358"/>
            </a:xfrm>
            <a:custGeom>
              <a:avLst/>
              <a:gdLst/>
              <a:ahLst/>
              <a:cxnLst/>
              <a:rect l="l" t="t" r="r" b="b"/>
              <a:pathLst>
                <a:path w="33337" h="33358" extrusionOk="0">
                  <a:moveTo>
                    <a:pt x="33307" y="17754"/>
                  </a:moveTo>
                  <a:cubicBezTo>
                    <a:pt x="33850" y="8530"/>
                    <a:pt x="26978" y="573"/>
                    <a:pt x="17754" y="30"/>
                  </a:cubicBezTo>
                  <a:cubicBezTo>
                    <a:pt x="8530" y="-513"/>
                    <a:pt x="573" y="6360"/>
                    <a:pt x="30" y="15584"/>
                  </a:cubicBezTo>
                  <a:cubicBezTo>
                    <a:pt x="-513" y="24807"/>
                    <a:pt x="6360" y="32765"/>
                    <a:pt x="15584" y="33307"/>
                  </a:cubicBezTo>
                  <a:cubicBezTo>
                    <a:pt x="24807" y="34031"/>
                    <a:pt x="32765" y="26977"/>
                    <a:pt x="33307" y="1775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5" name="Google Shape;1605;p53"/>
            <p:cNvSpPr/>
            <p:nvPr/>
          </p:nvSpPr>
          <p:spPr>
            <a:xfrm>
              <a:off x="12011203" y="5134756"/>
              <a:ext cx="19035" cy="19035"/>
            </a:xfrm>
            <a:custGeom>
              <a:avLst/>
              <a:gdLst/>
              <a:ahLst/>
              <a:cxnLst/>
              <a:rect l="l" t="t" r="r" b="b"/>
              <a:pathLst>
                <a:path w="19035" h="19035" extrusionOk="0">
                  <a:moveTo>
                    <a:pt x="19012" y="10151"/>
                  </a:moveTo>
                  <a:cubicBezTo>
                    <a:pt x="19374" y="4906"/>
                    <a:pt x="15395" y="384"/>
                    <a:pt x="10151" y="23"/>
                  </a:cubicBezTo>
                  <a:cubicBezTo>
                    <a:pt x="4906" y="-339"/>
                    <a:pt x="384" y="3640"/>
                    <a:pt x="23" y="8885"/>
                  </a:cubicBezTo>
                  <a:cubicBezTo>
                    <a:pt x="-339" y="14129"/>
                    <a:pt x="3640" y="18651"/>
                    <a:pt x="8885" y="19012"/>
                  </a:cubicBezTo>
                  <a:cubicBezTo>
                    <a:pt x="14129" y="19374"/>
                    <a:pt x="18651" y="15395"/>
                    <a:pt x="19012" y="1015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6" name="Google Shape;1606;p53"/>
            <p:cNvSpPr/>
            <p:nvPr/>
          </p:nvSpPr>
          <p:spPr>
            <a:xfrm>
              <a:off x="11820521" y="4632643"/>
              <a:ext cx="84083" cy="84083"/>
            </a:xfrm>
            <a:custGeom>
              <a:avLst/>
              <a:gdLst/>
              <a:ahLst/>
              <a:cxnLst/>
              <a:rect l="l" t="t" r="r" b="b"/>
              <a:pathLst>
                <a:path w="84083" h="84083" extrusionOk="0">
                  <a:moveTo>
                    <a:pt x="84000" y="44755"/>
                  </a:moveTo>
                  <a:cubicBezTo>
                    <a:pt x="85447" y="21605"/>
                    <a:pt x="67904" y="1530"/>
                    <a:pt x="44755" y="83"/>
                  </a:cubicBezTo>
                  <a:cubicBezTo>
                    <a:pt x="21605" y="-1363"/>
                    <a:pt x="1530" y="16179"/>
                    <a:pt x="83" y="39329"/>
                  </a:cubicBezTo>
                  <a:cubicBezTo>
                    <a:pt x="-1363" y="62478"/>
                    <a:pt x="16179" y="82553"/>
                    <a:pt x="39329" y="84000"/>
                  </a:cubicBezTo>
                  <a:cubicBezTo>
                    <a:pt x="62478" y="85447"/>
                    <a:pt x="82553" y="67904"/>
                    <a:pt x="84000" y="447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7" name="Google Shape;1607;p53"/>
            <p:cNvSpPr/>
            <p:nvPr/>
          </p:nvSpPr>
          <p:spPr>
            <a:xfrm>
              <a:off x="12466594" y="5175448"/>
              <a:ext cx="18492" cy="18492"/>
            </a:xfrm>
            <a:custGeom>
              <a:avLst/>
              <a:gdLst/>
              <a:ahLst/>
              <a:cxnLst/>
              <a:rect l="l" t="t" r="r" b="b"/>
              <a:pathLst>
                <a:path w="18492" h="18492" extrusionOk="0">
                  <a:moveTo>
                    <a:pt x="18470" y="9789"/>
                  </a:moveTo>
                  <a:cubicBezTo>
                    <a:pt x="18832" y="4725"/>
                    <a:pt x="14853" y="204"/>
                    <a:pt x="9789" y="23"/>
                  </a:cubicBezTo>
                  <a:cubicBezTo>
                    <a:pt x="4725" y="-339"/>
                    <a:pt x="384" y="3640"/>
                    <a:pt x="23" y="8704"/>
                  </a:cubicBezTo>
                  <a:cubicBezTo>
                    <a:pt x="-339" y="13768"/>
                    <a:pt x="3640" y="18289"/>
                    <a:pt x="8704" y="18470"/>
                  </a:cubicBezTo>
                  <a:cubicBezTo>
                    <a:pt x="13768" y="18832"/>
                    <a:pt x="18108" y="14853"/>
                    <a:pt x="18470" y="978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8" name="Google Shape;1608;p53"/>
            <p:cNvSpPr/>
            <p:nvPr/>
          </p:nvSpPr>
          <p:spPr>
            <a:xfrm>
              <a:off x="12090772" y="4492535"/>
              <a:ext cx="34059" cy="34059"/>
            </a:xfrm>
            <a:custGeom>
              <a:avLst/>
              <a:gdLst/>
              <a:ahLst/>
              <a:cxnLst/>
              <a:rect l="l" t="t" r="r" b="b"/>
              <a:pathLst>
                <a:path w="34059" h="34059" extrusionOk="0">
                  <a:moveTo>
                    <a:pt x="34030" y="18115"/>
                  </a:moveTo>
                  <a:cubicBezTo>
                    <a:pt x="34573" y="8711"/>
                    <a:pt x="27519" y="753"/>
                    <a:pt x="18115" y="29"/>
                  </a:cubicBezTo>
                  <a:cubicBezTo>
                    <a:pt x="8711" y="-513"/>
                    <a:pt x="753" y="6540"/>
                    <a:pt x="29" y="15945"/>
                  </a:cubicBezTo>
                  <a:cubicBezTo>
                    <a:pt x="-513" y="25349"/>
                    <a:pt x="6540" y="33306"/>
                    <a:pt x="15945" y="34030"/>
                  </a:cubicBezTo>
                  <a:cubicBezTo>
                    <a:pt x="25349" y="34573"/>
                    <a:pt x="33488" y="27519"/>
                    <a:pt x="34030" y="1811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09" name="Google Shape;1609;p53"/>
            <p:cNvSpPr/>
            <p:nvPr/>
          </p:nvSpPr>
          <p:spPr>
            <a:xfrm>
              <a:off x="8783315" y="5508224"/>
              <a:ext cx="23729" cy="23750"/>
            </a:xfrm>
            <a:custGeom>
              <a:avLst/>
              <a:gdLst/>
              <a:ahLst/>
              <a:cxnLst/>
              <a:rect l="l" t="t" r="r" b="b"/>
              <a:pathLst>
                <a:path w="23729" h="23750" extrusionOk="0">
                  <a:moveTo>
                    <a:pt x="23711" y="12679"/>
                  </a:moveTo>
                  <a:cubicBezTo>
                    <a:pt x="24073" y="6168"/>
                    <a:pt x="19189" y="381"/>
                    <a:pt x="12679" y="19"/>
                  </a:cubicBezTo>
                  <a:cubicBezTo>
                    <a:pt x="6168" y="-343"/>
                    <a:pt x="381" y="4540"/>
                    <a:pt x="19" y="11051"/>
                  </a:cubicBezTo>
                  <a:cubicBezTo>
                    <a:pt x="-343" y="17562"/>
                    <a:pt x="4540" y="23349"/>
                    <a:pt x="11051" y="23711"/>
                  </a:cubicBezTo>
                  <a:cubicBezTo>
                    <a:pt x="17562" y="24253"/>
                    <a:pt x="23349" y="19189"/>
                    <a:pt x="23711" y="1267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0" name="Google Shape;1610;p53"/>
            <p:cNvSpPr/>
            <p:nvPr/>
          </p:nvSpPr>
          <p:spPr>
            <a:xfrm>
              <a:off x="8172218" y="5359210"/>
              <a:ext cx="13038" cy="13038"/>
            </a:xfrm>
            <a:custGeom>
              <a:avLst/>
              <a:gdLst/>
              <a:ahLst/>
              <a:cxnLst/>
              <a:rect l="l" t="t" r="r" b="b"/>
              <a:pathLst>
                <a:path w="13038" h="13038" extrusionOk="0">
                  <a:moveTo>
                    <a:pt x="13030" y="6881"/>
                  </a:moveTo>
                  <a:cubicBezTo>
                    <a:pt x="13211" y="3264"/>
                    <a:pt x="10498" y="190"/>
                    <a:pt x="6881" y="9"/>
                  </a:cubicBezTo>
                  <a:cubicBezTo>
                    <a:pt x="3264" y="-172"/>
                    <a:pt x="189" y="2540"/>
                    <a:pt x="9" y="6158"/>
                  </a:cubicBezTo>
                  <a:cubicBezTo>
                    <a:pt x="-172" y="9775"/>
                    <a:pt x="2540" y="12849"/>
                    <a:pt x="6158" y="13030"/>
                  </a:cubicBezTo>
                  <a:cubicBezTo>
                    <a:pt x="9775" y="13211"/>
                    <a:pt x="12849" y="10498"/>
                    <a:pt x="13030" y="688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1" name="Google Shape;1611;p53"/>
            <p:cNvSpPr/>
            <p:nvPr/>
          </p:nvSpPr>
          <p:spPr>
            <a:xfrm>
              <a:off x="8058236" y="5820526"/>
              <a:ext cx="52372" cy="52393"/>
            </a:xfrm>
            <a:custGeom>
              <a:avLst/>
              <a:gdLst/>
              <a:ahLst/>
              <a:cxnLst/>
              <a:rect l="l" t="t" r="r" b="b"/>
              <a:pathLst>
                <a:path w="52372" h="52393" extrusionOk="0">
                  <a:moveTo>
                    <a:pt x="52320" y="27904"/>
                  </a:moveTo>
                  <a:cubicBezTo>
                    <a:pt x="53224" y="13436"/>
                    <a:pt x="42373" y="957"/>
                    <a:pt x="27904" y="53"/>
                  </a:cubicBezTo>
                  <a:cubicBezTo>
                    <a:pt x="13436" y="-852"/>
                    <a:pt x="957" y="10000"/>
                    <a:pt x="53" y="24468"/>
                  </a:cubicBezTo>
                  <a:cubicBezTo>
                    <a:pt x="-852" y="38936"/>
                    <a:pt x="10000" y="51415"/>
                    <a:pt x="24468" y="52320"/>
                  </a:cubicBezTo>
                  <a:cubicBezTo>
                    <a:pt x="38936" y="53405"/>
                    <a:pt x="51415" y="42373"/>
                    <a:pt x="52320" y="2790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2" name="Google Shape;1612;p53"/>
            <p:cNvSpPr/>
            <p:nvPr/>
          </p:nvSpPr>
          <p:spPr>
            <a:xfrm>
              <a:off x="8778422" y="5503330"/>
              <a:ext cx="33697" cy="33719"/>
            </a:xfrm>
            <a:custGeom>
              <a:avLst/>
              <a:gdLst/>
              <a:ahLst/>
              <a:cxnLst/>
              <a:rect l="l" t="t" r="r" b="b"/>
              <a:pathLst>
                <a:path w="33697" h="33719" extrusionOk="0">
                  <a:moveTo>
                    <a:pt x="33668" y="17934"/>
                  </a:moveTo>
                  <a:cubicBezTo>
                    <a:pt x="34211" y="8529"/>
                    <a:pt x="27157" y="572"/>
                    <a:pt x="17934" y="29"/>
                  </a:cubicBezTo>
                  <a:cubicBezTo>
                    <a:pt x="8529" y="-513"/>
                    <a:pt x="572" y="6540"/>
                    <a:pt x="29" y="15764"/>
                  </a:cubicBezTo>
                  <a:cubicBezTo>
                    <a:pt x="-513" y="25168"/>
                    <a:pt x="6540" y="33126"/>
                    <a:pt x="15764" y="33668"/>
                  </a:cubicBezTo>
                  <a:cubicBezTo>
                    <a:pt x="24987" y="34392"/>
                    <a:pt x="32945" y="27339"/>
                    <a:pt x="33668" y="17934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3" name="Google Shape;1613;p53"/>
            <p:cNvSpPr/>
            <p:nvPr/>
          </p:nvSpPr>
          <p:spPr>
            <a:xfrm>
              <a:off x="8519277" y="6020955"/>
              <a:ext cx="10870" cy="10897"/>
            </a:xfrm>
            <a:custGeom>
              <a:avLst/>
              <a:gdLst/>
              <a:ahLst/>
              <a:cxnLst/>
              <a:rect l="l" t="t" r="r" b="b"/>
              <a:pathLst>
                <a:path w="10870" h="10897" extrusionOk="0">
                  <a:moveTo>
                    <a:pt x="10861" y="5797"/>
                  </a:moveTo>
                  <a:cubicBezTo>
                    <a:pt x="11042" y="2723"/>
                    <a:pt x="8691" y="190"/>
                    <a:pt x="5797" y="10"/>
                  </a:cubicBezTo>
                  <a:cubicBezTo>
                    <a:pt x="2723" y="-171"/>
                    <a:pt x="191" y="2180"/>
                    <a:pt x="10" y="5074"/>
                  </a:cubicBezTo>
                  <a:cubicBezTo>
                    <a:pt x="-171" y="8148"/>
                    <a:pt x="2180" y="10680"/>
                    <a:pt x="5074" y="10861"/>
                  </a:cubicBezTo>
                  <a:cubicBezTo>
                    <a:pt x="8148" y="11223"/>
                    <a:pt x="10680" y="8871"/>
                    <a:pt x="10861" y="579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4" name="Google Shape;1614;p53"/>
            <p:cNvSpPr/>
            <p:nvPr/>
          </p:nvSpPr>
          <p:spPr>
            <a:xfrm>
              <a:off x="8063672" y="5825962"/>
              <a:ext cx="41499" cy="41522"/>
            </a:xfrm>
            <a:custGeom>
              <a:avLst/>
              <a:gdLst/>
              <a:ahLst/>
              <a:cxnLst/>
              <a:rect l="l" t="t" r="r" b="b"/>
              <a:pathLst>
                <a:path w="41499" h="41522" extrusionOk="0">
                  <a:moveTo>
                    <a:pt x="41458" y="22106"/>
                  </a:moveTo>
                  <a:cubicBezTo>
                    <a:pt x="42181" y="10712"/>
                    <a:pt x="33500" y="765"/>
                    <a:pt x="22106" y="42"/>
                  </a:cubicBezTo>
                  <a:cubicBezTo>
                    <a:pt x="10713" y="-681"/>
                    <a:pt x="766" y="8000"/>
                    <a:pt x="42" y="19393"/>
                  </a:cubicBezTo>
                  <a:cubicBezTo>
                    <a:pt x="-681" y="30787"/>
                    <a:pt x="8000" y="40734"/>
                    <a:pt x="19394" y="41458"/>
                  </a:cubicBezTo>
                  <a:cubicBezTo>
                    <a:pt x="30787" y="42362"/>
                    <a:pt x="40734" y="33681"/>
                    <a:pt x="41458" y="2210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5" name="Google Shape;1615;p53"/>
            <p:cNvSpPr/>
            <p:nvPr/>
          </p:nvSpPr>
          <p:spPr>
            <a:xfrm>
              <a:off x="8772986" y="5497894"/>
              <a:ext cx="44569" cy="44569"/>
            </a:xfrm>
            <a:custGeom>
              <a:avLst/>
              <a:gdLst/>
              <a:ahLst/>
              <a:cxnLst/>
              <a:rect l="l" t="t" r="r" b="b"/>
              <a:pathLst>
                <a:path w="44569" h="44569" extrusionOk="0">
                  <a:moveTo>
                    <a:pt x="44530" y="23732"/>
                  </a:moveTo>
                  <a:cubicBezTo>
                    <a:pt x="45253" y="11434"/>
                    <a:pt x="36030" y="763"/>
                    <a:pt x="23732" y="40"/>
                  </a:cubicBezTo>
                  <a:cubicBezTo>
                    <a:pt x="11434" y="-684"/>
                    <a:pt x="763" y="8540"/>
                    <a:pt x="40" y="20838"/>
                  </a:cubicBezTo>
                  <a:cubicBezTo>
                    <a:pt x="-684" y="33136"/>
                    <a:pt x="8540" y="43807"/>
                    <a:pt x="20838" y="44530"/>
                  </a:cubicBezTo>
                  <a:cubicBezTo>
                    <a:pt x="33136" y="45253"/>
                    <a:pt x="43626" y="36030"/>
                    <a:pt x="44530" y="2373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6" name="Google Shape;1616;p53"/>
            <p:cNvSpPr/>
            <p:nvPr/>
          </p:nvSpPr>
          <p:spPr>
            <a:xfrm>
              <a:off x="8471278" y="5144462"/>
              <a:ext cx="84985" cy="85007"/>
            </a:xfrm>
            <a:custGeom>
              <a:avLst/>
              <a:gdLst/>
              <a:ahLst/>
              <a:cxnLst/>
              <a:rect l="l" t="t" r="r" b="b"/>
              <a:pathLst>
                <a:path w="84985" h="85007" extrusionOk="0">
                  <a:moveTo>
                    <a:pt x="84903" y="45296"/>
                  </a:moveTo>
                  <a:cubicBezTo>
                    <a:pt x="86350" y="21785"/>
                    <a:pt x="68626" y="1710"/>
                    <a:pt x="45296" y="83"/>
                  </a:cubicBezTo>
                  <a:cubicBezTo>
                    <a:pt x="21785" y="-1364"/>
                    <a:pt x="1529" y="16359"/>
                    <a:pt x="83" y="39690"/>
                  </a:cubicBezTo>
                  <a:cubicBezTo>
                    <a:pt x="-1364" y="63201"/>
                    <a:pt x="16360" y="83276"/>
                    <a:pt x="39690" y="84903"/>
                  </a:cubicBezTo>
                  <a:cubicBezTo>
                    <a:pt x="63020" y="86531"/>
                    <a:pt x="83276" y="68807"/>
                    <a:pt x="84903" y="4529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7" name="Google Shape;1617;p53"/>
            <p:cNvSpPr/>
            <p:nvPr/>
          </p:nvSpPr>
          <p:spPr>
            <a:xfrm>
              <a:off x="8159702" y="5346694"/>
              <a:ext cx="38070" cy="38051"/>
            </a:xfrm>
            <a:custGeom>
              <a:avLst/>
              <a:gdLst/>
              <a:ahLst/>
              <a:cxnLst/>
              <a:rect l="l" t="t" r="r" b="b"/>
              <a:pathLst>
                <a:path w="38070" h="38051" extrusionOk="0">
                  <a:moveTo>
                    <a:pt x="38025" y="20301"/>
                  </a:moveTo>
                  <a:cubicBezTo>
                    <a:pt x="38749" y="9812"/>
                    <a:pt x="30791" y="769"/>
                    <a:pt x="20301" y="46"/>
                  </a:cubicBezTo>
                  <a:cubicBezTo>
                    <a:pt x="9812" y="-678"/>
                    <a:pt x="769" y="7280"/>
                    <a:pt x="46" y="17769"/>
                  </a:cubicBezTo>
                  <a:cubicBezTo>
                    <a:pt x="-678" y="28259"/>
                    <a:pt x="7280" y="37302"/>
                    <a:pt x="17769" y="38025"/>
                  </a:cubicBezTo>
                  <a:cubicBezTo>
                    <a:pt x="28259" y="38567"/>
                    <a:pt x="37302" y="30610"/>
                    <a:pt x="38025" y="2030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8" name="Google Shape;1618;p53"/>
            <p:cNvSpPr/>
            <p:nvPr/>
          </p:nvSpPr>
          <p:spPr>
            <a:xfrm>
              <a:off x="8769716" y="5494805"/>
              <a:ext cx="50747" cy="50747"/>
            </a:xfrm>
            <a:custGeom>
              <a:avLst/>
              <a:gdLst/>
              <a:ahLst/>
              <a:cxnLst/>
              <a:rect l="l" t="t" r="r" b="b"/>
              <a:pathLst>
                <a:path w="50747" h="50747" extrusionOk="0">
                  <a:moveTo>
                    <a:pt x="50694" y="27002"/>
                  </a:moveTo>
                  <a:cubicBezTo>
                    <a:pt x="51598" y="13076"/>
                    <a:pt x="41108" y="959"/>
                    <a:pt x="27002" y="54"/>
                  </a:cubicBezTo>
                  <a:cubicBezTo>
                    <a:pt x="13076" y="-850"/>
                    <a:pt x="959" y="9640"/>
                    <a:pt x="54" y="23746"/>
                  </a:cubicBezTo>
                  <a:cubicBezTo>
                    <a:pt x="-850" y="37672"/>
                    <a:pt x="9640" y="49789"/>
                    <a:pt x="23746" y="50694"/>
                  </a:cubicBezTo>
                  <a:cubicBezTo>
                    <a:pt x="37853" y="51598"/>
                    <a:pt x="49789" y="40928"/>
                    <a:pt x="50694" y="2700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19" name="Google Shape;1619;p53"/>
            <p:cNvSpPr/>
            <p:nvPr/>
          </p:nvSpPr>
          <p:spPr>
            <a:xfrm>
              <a:off x="8708577" y="5244131"/>
              <a:ext cx="61980" cy="61979"/>
            </a:xfrm>
            <a:custGeom>
              <a:avLst/>
              <a:gdLst/>
              <a:ahLst/>
              <a:cxnLst/>
              <a:rect l="l" t="t" r="r" b="b"/>
              <a:pathLst>
                <a:path w="61980" h="61979" extrusionOk="0">
                  <a:moveTo>
                    <a:pt x="61916" y="32980"/>
                  </a:moveTo>
                  <a:cubicBezTo>
                    <a:pt x="63001" y="15979"/>
                    <a:pt x="50161" y="1149"/>
                    <a:pt x="32980" y="64"/>
                  </a:cubicBezTo>
                  <a:cubicBezTo>
                    <a:pt x="15979" y="-1021"/>
                    <a:pt x="1149" y="11820"/>
                    <a:pt x="64" y="29001"/>
                  </a:cubicBezTo>
                  <a:cubicBezTo>
                    <a:pt x="-1021" y="46001"/>
                    <a:pt x="11820" y="60831"/>
                    <a:pt x="29001" y="61916"/>
                  </a:cubicBezTo>
                  <a:cubicBezTo>
                    <a:pt x="46182" y="63002"/>
                    <a:pt x="60831" y="49980"/>
                    <a:pt x="61916" y="3298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0" name="Google Shape;1620;p53"/>
            <p:cNvSpPr/>
            <p:nvPr/>
          </p:nvSpPr>
          <p:spPr>
            <a:xfrm>
              <a:off x="8486863" y="5160228"/>
              <a:ext cx="53815" cy="53815"/>
            </a:xfrm>
            <a:custGeom>
              <a:avLst/>
              <a:gdLst/>
              <a:ahLst/>
              <a:cxnLst/>
              <a:rect l="l" t="t" r="r" b="b"/>
              <a:pathLst>
                <a:path w="53815" h="53815" extrusionOk="0">
                  <a:moveTo>
                    <a:pt x="53765" y="28626"/>
                  </a:moveTo>
                  <a:cubicBezTo>
                    <a:pt x="54669" y="13796"/>
                    <a:pt x="43456" y="955"/>
                    <a:pt x="28626" y="51"/>
                  </a:cubicBezTo>
                  <a:cubicBezTo>
                    <a:pt x="13796" y="-853"/>
                    <a:pt x="955" y="10360"/>
                    <a:pt x="51" y="25190"/>
                  </a:cubicBezTo>
                  <a:cubicBezTo>
                    <a:pt x="-853" y="40020"/>
                    <a:pt x="10360" y="52861"/>
                    <a:pt x="25190" y="53765"/>
                  </a:cubicBezTo>
                  <a:cubicBezTo>
                    <a:pt x="39839" y="54669"/>
                    <a:pt x="52680" y="43456"/>
                    <a:pt x="53765" y="28626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1" name="Google Shape;1621;p53"/>
            <p:cNvSpPr/>
            <p:nvPr/>
          </p:nvSpPr>
          <p:spPr>
            <a:xfrm>
              <a:off x="8754853" y="5479762"/>
              <a:ext cx="80653" cy="80674"/>
            </a:xfrm>
            <a:custGeom>
              <a:avLst/>
              <a:gdLst/>
              <a:ahLst/>
              <a:cxnLst/>
              <a:rect l="l" t="t" r="r" b="b"/>
              <a:pathLst>
                <a:path w="80653" h="80674" extrusionOk="0">
                  <a:moveTo>
                    <a:pt x="80567" y="42949"/>
                  </a:moveTo>
                  <a:cubicBezTo>
                    <a:pt x="82014" y="20704"/>
                    <a:pt x="65194" y="1534"/>
                    <a:pt x="42949" y="87"/>
                  </a:cubicBezTo>
                  <a:cubicBezTo>
                    <a:pt x="20704" y="-1360"/>
                    <a:pt x="1534" y="15459"/>
                    <a:pt x="87" y="37704"/>
                  </a:cubicBezTo>
                  <a:cubicBezTo>
                    <a:pt x="-1360" y="59950"/>
                    <a:pt x="15459" y="79120"/>
                    <a:pt x="37705" y="80567"/>
                  </a:cubicBezTo>
                  <a:cubicBezTo>
                    <a:pt x="59950" y="82195"/>
                    <a:pt x="79120" y="65194"/>
                    <a:pt x="80567" y="4294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2" name="Google Shape;1622;p53"/>
            <p:cNvSpPr/>
            <p:nvPr/>
          </p:nvSpPr>
          <p:spPr>
            <a:xfrm>
              <a:off x="9537450" y="5420119"/>
              <a:ext cx="36447" cy="36426"/>
            </a:xfrm>
            <a:custGeom>
              <a:avLst/>
              <a:gdLst/>
              <a:ahLst/>
              <a:cxnLst/>
              <a:rect l="l" t="t" r="r" b="b"/>
              <a:pathLst>
                <a:path w="36447" h="36426" extrusionOk="0">
                  <a:moveTo>
                    <a:pt x="36399" y="19399"/>
                  </a:moveTo>
                  <a:cubicBezTo>
                    <a:pt x="37123" y="9271"/>
                    <a:pt x="29527" y="590"/>
                    <a:pt x="19399" y="48"/>
                  </a:cubicBezTo>
                  <a:cubicBezTo>
                    <a:pt x="9271" y="-676"/>
                    <a:pt x="590" y="6920"/>
                    <a:pt x="48" y="17048"/>
                  </a:cubicBezTo>
                  <a:cubicBezTo>
                    <a:pt x="-676" y="27176"/>
                    <a:pt x="6920" y="35857"/>
                    <a:pt x="17048" y="36399"/>
                  </a:cubicBezTo>
                  <a:cubicBezTo>
                    <a:pt x="27176" y="36942"/>
                    <a:pt x="35857" y="29346"/>
                    <a:pt x="36399" y="19399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3" name="Google Shape;1623;p53"/>
            <p:cNvSpPr/>
            <p:nvPr/>
          </p:nvSpPr>
          <p:spPr>
            <a:xfrm>
              <a:off x="8487003" y="5988682"/>
              <a:ext cx="75599" cy="75578"/>
            </a:xfrm>
            <a:custGeom>
              <a:avLst/>
              <a:gdLst/>
              <a:ahLst/>
              <a:cxnLst/>
              <a:rect l="l" t="t" r="r" b="b"/>
              <a:pathLst>
                <a:path w="75599" h="75578" extrusionOk="0">
                  <a:moveTo>
                    <a:pt x="75508" y="40241"/>
                  </a:moveTo>
                  <a:cubicBezTo>
                    <a:pt x="76954" y="19443"/>
                    <a:pt x="61039" y="1358"/>
                    <a:pt x="40241" y="91"/>
                  </a:cubicBezTo>
                  <a:cubicBezTo>
                    <a:pt x="19443" y="-1356"/>
                    <a:pt x="1357" y="14560"/>
                    <a:pt x="91" y="35358"/>
                  </a:cubicBezTo>
                  <a:cubicBezTo>
                    <a:pt x="-1356" y="56156"/>
                    <a:pt x="14560" y="74242"/>
                    <a:pt x="35358" y="75507"/>
                  </a:cubicBezTo>
                  <a:cubicBezTo>
                    <a:pt x="56156" y="76773"/>
                    <a:pt x="74061" y="61039"/>
                    <a:pt x="75508" y="4024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4" name="Google Shape;1624;p53"/>
            <p:cNvSpPr/>
            <p:nvPr/>
          </p:nvSpPr>
          <p:spPr>
            <a:xfrm>
              <a:off x="8760650" y="5485559"/>
              <a:ext cx="69059" cy="69060"/>
            </a:xfrm>
            <a:custGeom>
              <a:avLst/>
              <a:gdLst/>
              <a:ahLst/>
              <a:cxnLst/>
              <a:rect l="l" t="t" r="r" b="b"/>
              <a:pathLst>
                <a:path w="69059" h="69060" extrusionOk="0">
                  <a:moveTo>
                    <a:pt x="68983" y="36791"/>
                  </a:moveTo>
                  <a:cubicBezTo>
                    <a:pt x="70249" y="17801"/>
                    <a:pt x="55780" y="1343"/>
                    <a:pt x="36791" y="77"/>
                  </a:cubicBezTo>
                  <a:cubicBezTo>
                    <a:pt x="17801" y="-1189"/>
                    <a:pt x="1343" y="13279"/>
                    <a:pt x="77" y="32269"/>
                  </a:cubicBezTo>
                  <a:cubicBezTo>
                    <a:pt x="-1189" y="51259"/>
                    <a:pt x="13279" y="67717"/>
                    <a:pt x="32269" y="68983"/>
                  </a:cubicBezTo>
                  <a:cubicBezTo>
                    <a:pt x="51259" y="70249"/>
                    <a:pt x="67717" y="55961"/>
                    <a:pt x="68983" y="36791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5" name="Google Shape;1625;p53"/>
            <p:cNvSpPr/>
            <p:nvPr/>
          </p:nvSpPr>
          <p:spPr>
            <a:xfrm>
              <a:off x="9513722" y="5396210"/>
              <a:ext cx="84083" cy="84083"/>
            </a:xfrm>
            <a:custGeom>
              <a:avLst/>
              <a:gdLst/>
              <a:ahLst/>
              <a:cxnLst/>
              <a:rect l="l" t="t" r="r" b="b"/>
              <a:pathLst>
                <a:path w="84083" h="84083" extrusionOk="0">
                  <a:moveTo>
                    <a:pt x="84000" y="44755"/>
                  </a:moveTo>
                  <a:cubicBezTo>
                    <a:pt x="85447" y="21605"/>
                    <a:pt x="67904" y="1530"/>
                    <a:pt x="44755" y="83"/>
                  </a:cubicBezTo>
                  <a:cubicBezTo>
                    <a:pt x="21605" y="-1363"/>
                    <a:pt x="1530" y="16179"/>
                    <a:pt x="83" y="39329"/>
                  </a:cubicBezTo>
                  <a:cubicBezTo>
                    <a:pt x="-1363" y="62478"/>
                    <a:pt x="16179" y="82553"/>
                    <a:pt x="39329" y="84000"/>
                  </a:cubicBezTo>
                  <a:cubicBezTo>
                    <a:pt x="62478" y="85447"/>
                    <a:pt x="82372" y="67904"/>
                    <a:pt x="84000" y="44755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6" name="Google Shape;1626;p53"/>
            <p:cNvSpPr/>
            <p:nvPr/>
          </p:nvSpPr>
          <p:spPr>
            <a:xfrm>
              <a:off x="8730321" y="5265694"/>
              <a:ext cx="18673" cy="18674"/>
            </a:xfrm>
            <a:custGeom>
              <a:avLst/>
              <a:gdLst/>
              <a:ahLst/>
              <a:cxnLst/>
              <a:rect l="l" t="t" r="r" b="b"/>
              <a:pathLst>
                <a:path w="18673" h="18674" extrusionOk="0">
                  <a:moveTo>
                    <a:pt x="18651" y="9970"/>
                  </a:moveTo>
                  <a:cubicBezTo>
                    <a:pt x="19012" y="4906"/>
                    <a:pt x="15034" y="385"/>
                    <a:pt x="9970" y="23"/>
                  </a:cubicBezTo>
                  <a:cubicBezTo>
                    <a:pt x="4906" y="-339"/>
                    <a:pt x="385" y="3640"/>
                    <a:pt x="23" y="8704"/>
                  </a:cubicBezTo>
                  <a:cubicBezTo>
                    <a:pt x="-339" y="13768"/>
                    <a:pt x="3640" y="18289"/>
                    <a:pt x="8704" y="18651"/>
                  </a:cubicBezTo>
                  <a:cubicBezTo>
                    <a:pt x="13949" y="19013"/>
                    <a:pt x="18289" y="15215"/>
                    <a:pt x="18651" y="997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27" name="Google Shape;1627;p53"/>
            <p:cNvSpPr/>
            <p:nvPr/>
          </p:nvSpPr>
          <p:spPr>
            <a:xfrm>
              <a:off x="12640218" y="6116256"/>
              <a:ext cx="22826" cy="22826"/>
            </a:xfrm>
            <a:custGeom>
              <a:avLst/>
              <a:gdLst/>
              <a:ahLst/>
              <a:cxnLst/>
              <a:rect l="l" t="t" r="r" b="b"/>
              <a:pathLst>
                <a:path w="22826" h="22826" extrusionOk="0">
                  <a:moveTo>
                    <a:pt x="22807" y="12137"/>
                  </a:moveTo>
                  <a:cubicBezTo>
                    <a:pt x="23169" y="5807"/>
                    <a:pt x="18466" y="382"/>
                    <a:pt x="12136" y="20"/>
                  </a:cubicBezTo>
                  <a:cubicBezTo>
                    <a:pt x="5807" y="-342"/>
                    <a:pt x="381" y="4360"/>
                    <a:pt x="20" y="10690"/>
                  </a:cubicBezTo>
                  <a:cubicBezTo>
                    <a:pt x="-342" y="17020"/>
                    <a:pt x="4360" y="22445"/>
                    <a:pt x="10690" y="22807"/>
                  </a:cubicBezTo>
                  <a:cubicBezTo>
                    <a:pt x="17020" y="23169"/>
                    <a:pt x="22445" y="18467"/>
                    <a:pt x="22807" y="12137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grpSp>
        <p:nvGrpSpPr>
          <p:cNvPr id="1628" name="Google Shape;1628;p53"/>
          <p:cNvGrpSpPr/>
          <p:nvPr/>
        </p:nvGrpSpPr>
        <p:grpSpPr>
          <a:xfrm>
            <a:off x="10313095" y="170029"/>
            <a:ext cx="1681551" cy="1081913"/>
            <a:chOff x="9887447" y="146051"/>
            <a:chExt cx="1681551" cy="1081913"/>
          </a:xfrm>
        </p:grpSpPr>
        <p:sp>
          <p:nvSpPr>
            <p:cNvPr id="1629" name="Google Shape;1629;p53"/>
            <p:cNvSpPr txBox="1"/>
            <p:nvPr/>
          </p:nvSpPr>
          <p:spPr>
            <a:xfrm>
              <a:off x="9887447" y="1074076"/>
              <a:ext cx="1681551" cy="1538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200"/>
                <a:buFont typeface="Trebuchet MS"/>
                <a:buNone/>
              </a:pPr>
              <a:r>
                <a:rPr lang="en-US" sz="1000">
                  <a:solidFill>
                    <a:schemeClr val="accent2"/>
                  </a:solidFill>
                  <a:latin typeface="Trebuchet MS"/>
                  <a:ea typeface="Trebuchet MS"/>
                  <a:cs typeface="Trebuchet MS"/>
                  <a:sym typeface="Trebuchet MS"/>
                </a:rPr>
                <a:t>CERTIFICATE NO: DIPP114636</a:t>
              </a:r>
              <a:endParaRPr/>
            </a:p>
          </p:txBody>
        </p:sp>
        <p:pic>
          <p:nvPicPr>
            <p:cNvPr id="1630" name="Google Shape;1630;p53" descr="Startup India – About, Seed Fund Scheme, Benefits, Eligibility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10004219" y="710732"/>
              <a:ext cx="1448006" cy="32014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31" name="Google Shape;1631;p53" descr="10 logo designs of Government of India setups or companies - Best Logo and  Packaging Design Ideas | LogoPeople India Blog"/>
            <p:cNvPicPr preferRelativeResize="0"/>
            <p:nvPr/>
          </p:nvPicPr>
          <p:blipFill rotWithShape="1">
            <a:blip r:embed="rId4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63557" y="146051"/>
              <a:ext cx="329330" cy="52463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" name="Google Shape;1089;p29">
            <a:extLst>
              <a:ext uri="{FF2B5EF4-FFF2-40B4-BE49-F238E27FC236}">
                <a16:creationId xmlns:a16="http://schemas.microsoft.com/office/drawing/2014/main" id="{5228EF70-F365-CFF5-57DC-A42BCCF47376}"/>
              </a:ext>
            </a:extLst>
          </p:cNvPr>
          <p:cNvSpPr/>
          <p:nvPr userDrawn="1"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CE285E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4" name="Google Shape;1087;p29">
            <a:extLst>
              <a:ext uri="{FF2B5EF4-FFF2-40B4-BE49-F238E27FC236}">
                <a16:creationId xmlns:a16="http://schemas.microsoft.com/office/drawing/2014/main" id="{C989A65A-F7F9-3DEC-A6A9-FAD58F2CB77F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">
  <p:cSld name="5_Title Slide">
    <p:spTree>
      <p:nvGrpSpPr>
        <p:cNvPr id="1" name="Shape 16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3" name="Google Shape;1633;p54"/>
          <p:cNvPicPr preferRelativeResize="0"/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33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34" name="Google Shape;1634;p5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233" y="6049166"/>
            <a:ext cx="2201552" cy="663378"/>
          </a:xfrm>
          <a:prstGeom prst="rect">
            <a:avLst/>
          </a:prstGeom>
          <a:noFill/>
          <a:ln>
            <a:noFill/>
          </a:ln>
        </p:spPr>
      </p:pic>
      <p:sp>
        <p:nvSpPr>
          <p:cNvPr id="1635" name="Google Shape;1635;p54"/>
          <p:cNvSpPr/>
          <p:nvPr/>
        </p:nvSpPr>
        <p:spPr>
          <a:xfrm>
            <a:off x="2442255" y="4277360"/>
            <a:ext cx="9749745" cy="1658882"/>
          </a:xfrm>
          <a:prstGeom prst="rect">
            <a:avLst/>
          </a:prstGeom>
          <a:solidFill>
            <a:srgbClr val="303540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36" name="Google Shape;1636;p54"/>
          <p:cNvSpPr txBox="1">
            <a:spLocks noGrp="1"/>
          </p:cNvSpPr>
          <p:nvPr>
            <p:ph type="ctrTitle"/>
          </p:nvPr>
        </p:nvSpPr>
        <p:spPr>
          <a:xfrm>
            <a:off x="2617693" y="4561840"/>
            <a:ext cx="9403977" cy="717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Trebuchet MS"/>
              <a:buNone/>
              <a:defRPr sz="4000" b="1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7" name="Google Shape;1637;p54"/>
          <p:cNvSpPr txBox="1">
            <a:spLocks noGrp="1"/>
          </p:cNvSpPr>
          <p:nvPr>
            <p:ph type="subTitle" idx="1"/>
          </p:nvPr>
        </p:nvSpPr>
        <p:spPr>
          <a:xfrm>
            <a:off x="2617695" y="5303485"/>
            <a:ext cx="9403976" cy="3355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000">
                <a:solidFill>
                  <a:schemeClr val="lt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38" name="Google Shape;1638;p54"/>
          <p:cNvSpPr/>
          <p:nvPr/>
        </p:nvSpPr>
        <p:spPr>
          <a:xfrm>
            <a:off x="12100556" y="5230777"/>
            <a:ext cx="91440" cy="704447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10C65A38-FDB4-7368-73B5-DC0F48BCEFEA}"/>
              </a:ext>
            </a:extLst>
          </p:cNvPr>
          <p:cNvSpPr/>
          <p:nvPr userDrawn="1"/>
        </p:nvSpPr>
        <p:spPr>
          <a:xfrm>
            <a:off x="5684829" y="6561573"/>
            <a:ext cx="82234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800" b="0" i="0" u="none" strike="noStrike" cap="none">
                <a:solidFill>
                  <a:schemeClr val="bg2"/>
                </a:solidFill>
                <a:latin typeface="Trebuchet MS"/>
                <a:ea typeface="Trebuchet MS"/>
                <a:cs typeface="Trebuchet MS"/>
                <a:sym typeface="Trebuchet MS"/>
              </a:rPr>
              <a:t>YOUR AI PARTNER</a:t>
            </a:r>
            <a:endParaRPr lang="en-US" sz="1400" b="0">
              <a:solidFill>
                <a:schemeClr val="bg2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bg>
      <p:bgPr>
        <a:solidFill>
          <a:schemeClr val="lt1"/>
        </a:solidFill>
        <a:effectLst/>
      </p:bgPr>
    </p:bg>
    <p:spTree>
      <p:nvGrpSpPr>
        <p:cNvPr id="1" name="Shape 1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2" name="Google Shape;1712;p59"/>
          <p:cNvGrpSpPr/>
          <p:nvPr/>
        </p:nvGrpSpPr>
        <p:grpSpPr>
          <a:xfrm>
            <a:off x="6653919" y="0"/>
            <a:ext cx="5538081" cy="4536415"/>
            <a:chOff x="6653919" y="0"/>
            <a:chExt cx="5538081" cy="4536415"/>
          </a:xfrm>
        </p:grpSpPr>
        <p:pic>
          <p:nvPicPr>
            <p:cNvPr id="1713" name="Google Shape;1713;p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7203310" y="0"/>
              <a:ext cx="4988690" cy="453641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14" name="Google Shape;1714;p59"/>
            <p:cNvSpPr/>
            <p:nvPr/>
          </p:nvSpPr>
          <p:spPr>
            <a:xfrm>
              <a:off x="6653919" y="0"/>
              <a:ext cx="5538081" cy="4463263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1715" name="Google Shape;1715;p59"/>
          <p:cNvSpPr txBox="1">
            <a:spLocks noGrp="1"/>
          </p:cNvSpPr>
          <p:nvPr>
            <p:ph type="body" idx="1"/>
          </p:nvPr>
        </p:nvSpPr>
        <p:spPr>
          <a:xfrm>
            <a:off x="618089" y="1154545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6" name="Google Shape;1716;p59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17" name="Google Shape;1717;p5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18" name="Google Shape;1718;p59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20" name="Google Shape;1720;p59"/>
          <p:cNvCxnSpPr/>
          <p:nvPr/>
        </p:nvCxnSpPr>
        <p:spPr>
          <a:xfrm>
            <a:off x="6090020" y="1180618"/>
            <a:ext cx="0" cy="5069711"/>
          </a:xfrm>
          <a:prstGeom prst="straightConnector1">
            <a:avLst/>
          </a:prstGeom>
          <a:noFill/>
          <a:ln w="9525" cap="flat" cmpd="sng">
            <a:solidFill>
              <a:srgbClr val="CE285E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21" name="Google Shape;1721;p59"/>
          <p:cNvSpPr txBox="1">
            <a:spLocks noGrp="1"/>
          </p:cNvSpPr>
          <p:nvPr>
            <p:ph type="body" idx="2"/>
          </p:nvPr>
        </p:nvSpPr>
        <p:spPr>
          <a:xfrm>
            <a:off x="6185769" y="1180618"/>
            <a:ext cx="5376311" cy="508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6576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E285E"/>
              </a:buClr>
              <a:buSzPts val="2160"/>
              <a:buChar char="•"/>
              <a:defRPr sz="1800">
                <a:solidFill>
                  <a:srgbClr val="6B768E"/>
                </a:solidFill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600"/>
              <a:buChar char="―"/>
              <a:defRPr sz="1600">
                <a:solidFill>
                  <a:srgbClr val="6B768E"/>
                </a:solidFill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400"/>
              <a:buChar char="•"/>
              <a:defRPr sz="1400">
                <a:solidFill>
                  <a:srgbClr val="6B768E"/>
                </a:solidFill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CE285E"/>
              </a:buClr>
              <a:buSzPts val="1200"/>
              <a:buChar char="•"/>
              <a:defRPr sz="1200">
                <a:solidFill>
                  <a:srgbClr val="6B768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2" name="Google Shape;1722;p59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B35F21F1-25CD-8EE0-5D4B-5C61031D39D2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Content">
  <p:cSld name="9_Title and Content">
    <p:bg>
      <p:bgPr>
        <a:solidFill>
          <a:schemeClr val="lt1"/>
        </a:solidFill>
        <a:effectLst/>
      </p:bgPr>
    </p:bg>
    <p:spTree>
      <p:nvGrpSpPr>
        <p:cNvPr id="1" name="Shape 17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5" name="Google Shape;1755;p63"/>
          <p:cNvSpPr/>
          <p:nvPr/>
        </p:nvSpPr>
        <p:spPr>
          <a:xfrm>
            <a:off x="0" y="1680522"/>
            <a:ext cx="12192000" cy="2688336"/>
          </a:xfrm>
          <a:prstGeom prst="rect">
            <a:avLst/>
          </a:prstGeom>
          <a:solidFill>
            <a:srgbClr val="CE28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1756" name="Google Shape;1756;p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1700784"/>
            <a:ext cx="12191999" cy="2651760"/>
          </a:xfrm>
          <a:prstGeom prst="rect">
            <a:avLst/>
          </a:prstGeom>
          <a:noFill/>
          <a:ln>
            <a:noFill/>
          </a:ln>
        </p:spPr>
      </p:pic>
      <p:sp>
        <p:nvSpPr>
          <p:cNvPr id="1757" name="Google Shape;1757;p63"/>
          <p:cNvSpPr txBox="1">
            <a:spLocks noGrp="1"/>
          </p:cNvSpPr>
          <p:nvPr>
            <p:ph type="title"/>
          </p:nvPr>
        </p:nvSpPr>
        <p:spPr>
          <a:xfrm>
            <a:off x="1098383" y="371675"/>
            <a:ext cx="10487066" cy="618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58" name="Google Shape;1758;p6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2140" y="433542"/>
            <a:ext cx="486242" cy="480858"/>
          </a:xfrm>
          <a:prstGeom prst="rect">
            <a:avLst/>
          </a:prstGeom>
          <a:noFill/>
          <a:ln>
            <a:noFill/>
          </a:ln>
        </p:spPr>
      </p:pic>
      <p:sp>
        <p:nvSpPr>
          <p:cNvPr id="1759" name="Google Shape;1759;p63"/>
          <p:cNvSpPr txBox="1">
            <a:spLocks noGrp="1"/>
          </p:cNvSpPr>
          <p:nvPr>
            <p:ph type="sldNum" idx="12"/>
          </p:nvPr>
        </p:nvSpPr>
        <p:spPr>
          <a:xfrm>
            <a:off x="11219479" y="6492240"/>
            <a:ext cx="623200" cy="231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rgbClr val="8A95AB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61" name="Google Shape;1761;p63"/>
          <p:cNvSpPr/>
          <p:nvPr/>
        </p:nvSpPr>
        <p:spPr>
          <a:xfrm>
            <a:off x="612140" y="6492240"/>
            <a:ext cx="94769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rgbClr val="CE285E"/>
                </a:solidFill>
                <a:latin typeface="Trebuchet MS"/>
                <a:ea typeface="Trebuchet MS"/>
                <a:cs typeface="Trebuchet MS"/>
                <a:sym typeface="Trebuchet MS"/>
              </a:rPr>
              <a:t>dSights </a:t>
            </a:r>
            <a:r>
              <a:rPr lang="en-US" sz="1000" b="1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2023</a:t>
            </a:r>
            <a:endParaRPr/>
          </a:p>
        </p:txBody>
      </p:sp>
      <p:sp>
        <p:nvSpPr>
          <p:cNvPr id="2" name="Google Shape;1087;p29">
            <a:extLst>
              <a:ext uri="{FF2B5EF4-FFF2-40B4-BE49-F238E27FC236}">
                <a16:creationId xmlns:a16="http://schemas.microsoft.com/office/drawing/2014/main" id="{F7DD113E-34BC-3034-B519-9F978B83810A}"/>
              </a:ext>
            </a:extLst>
          </p:cNvPr>
          <p:cNvSpPr/>
          <p:nvPr userDrawn="1"/>
        </p:nvSpPr>
        <p:spPr>
          <a:xfrm>
            <a:off x="5149776" y="6507293"/>
            <a:ext cx="189244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1000"/>
              <a:buFont typeface="Trebuchet MS"/>
              <a:buNone/>
            </a:pPr>
            <a:r>
              <a:rPr lang="en-US" sz="10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rPr>
              <a:t>Your Data Science Partner</a:t>
            </a:r>
            <a:endParaRPr sz="18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slideLayout" Target="../slideLayouts/slideLayout47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slideLayout" Target="../slideLayouts/slideLayout46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29" Type="http://schemas.openxmlformats.org/officeDocument/2006/relationships/slideLayout" Target="../slideLayouts/slideLayout50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slideLayout" Target="../slideLayouts/slideLayout45.xml"/><Relationship Id="rId32" Type="http://schemas.openxmlformats.org/officeDocument/2006/relationships/oleObject" Target="../embeddings/oleObject4.bin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slideLayout" Target="../slideLayouts/slideLayout44.xml"/><Relationship Id="rId28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31" Type="http://schemas.openxmlformats.org/officeDocument/2006/relationships/tags" Target="../tags/tag5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Relationship Id="rId27" Type="http://schemas.openxmlformats.org/officeDocument/2006/relationships/slideLayout" Target="../slideLayouts/slideLayout48.xml"/><Relationship Id="rId30" Type="http://schemas.openxmlformats.org/officeDocument/2006/relationships/theme" Target="../theme/theme2.xml"/><Relationship Id="rId8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693A109-622A-B4EA-BDF6-C097C46688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875731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47" imgH="348" progId="TCLayout.ActiveDocument.1">
                  <p:embed/>
                </p:oleObj>
              </mc:Choice>
              <mc:Fallback>
                <p:oleObj name="think-cell Slide" r:id="rId2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693A109-622A-B4EA-BDF6-C097C4668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Trebuchet MS"/>
              <a:buNone/>
              <a:defRPr sz="4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4196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3360"/>
              <a:buFont typeface="Trebuchet MS"/>
              <a:buChar char="•"/>
              <a:defRPr sz="2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rebuchet MS"/>
              <a:buChar char="―"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2" name="Google Shape;12;p2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3" name="Google Shape;13;p2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4" name="Google Shape;14;p2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5" r:id="rId1"/>
    <p:sldLayoutId id="2147483683" r:id="rId2"/>
    <p:sldLayoutId id="2147483685" r:id="rId3"/>
    <p:sldLayoutId id="2147483682" r:id="rId4"/>
    <p:sldLayoutId id="2147483684" r:id="rId5"/>
    <p:sldLayoutId id="2147483654" r:id="rId6"/>
    <p:sldLayoutId id="2147483655" r:id="rId7"/>
    <p:sldLayoutId id="2147483660" r:id="rId8"/>
    <p:sldLayoutId id="2147483664" r:id="rId9"/>
    <p:sldLayoutId id="2147483665" r:id="rId10"/>
    <p:sldLayoutId id="2147483666" r:id="rId11"/>
    <p:sldLayoutId id="2147483667" r:id="rId12"/>
    <p:sldLayoutId id="2147483669" r:id="rId13"/>
    <p:sldLayoutId id="2147483670" r:id="rId14"/>
    <p:sldLayoutId id="2147483671" r:id="rId15"/>
    <p:sldLayoutId id="2147483672" r:id="rId16"/>
    <p:sldLayoutId id="2147483679" r:id="rId17"/>
    <p:sldLayoutId id="2147483680" r:id="rId18"/>
    <p:sldLayoutId id="2147483681" r:id="rId19"/>
    <p:sldLayoutId id="2147483686" r:id="rId20"/>
    <p:sldLayoutId id="2147483688" r:id="rId2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693A109-622A-B4EA-BDF6-C097C46688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875731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47" imgH="348" progId="TCLayout.ActiveDocument.1">
                  <p:embed/>
                </p:oleObj>
              </mc:Choice>
              <mc:Fallback>
                <p:oleObj name="think-cell Slide" r:id="rId32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693A109-622A-B4EA-BDF6-C097C4668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Trebuchet MS"/>
              <a:buNone/>
              <a:defRPr sz="4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4196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3360"/>
              <a:buFont typeface="Trebuchet MS"/>
              <a:buChar char="•"/>
              <a:defRPr sz="2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rebuchet MS"/>
              <a:buChar char="―"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2" name="Google Shape;12;p2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3" name="Google Shape;13;p2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4" name="Google Shape;14;p2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C8D90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1176938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  <p:sldLayoutId id="2147483711" r:id="rId22"/>
    <p:sldLayoutId id="2147483712" r:id="rId23"/>
    <p:sldLayoutId id="2147483713" r:id="rId24"/>
    <p:sldLayoutId id="2147483714" r:id="rId25"/>
    <p:sldLayoutId id="2147483715" r:id="rId26"/>
    <p:sldLayoutId id="2147483716" r:id="rId27"/>
    <p:sldLayoutId id="2147483717" r:id="rId28"/>
    <p:sldLayoutId id="2147483718" r:id="rId2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38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41.png"/><Relationship Id="rId12" Type="http://schemas.openxmlformats.org/officeDocument/2006/relationships/image" Target="../media/image46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40.svg"/><Relationship Id="rId11" Type="http://schemas.openxmlformats.org/officeDocument/2006/relationships/image" Target="../media/image45.png"/><Relationship Id="rId5" Type="http://schemas.openxmlformats.org/officeDocument/2006/relationships/image" Target="../media/image39.png"/><Relationship Id="rId10" Type="http://schemas.openxmlformats.org/officeDocument/2006/relationships/image" Target="../media/image44.svg"/><Relationship Id="rId4" Type="http://schemas.openxmlformats.org/officeDocument/2006/relationships/image" Target="../media/image38.emf"/><Relationship Id="rId9" Type="http://schemas.openxmlformats.org/officeDocument/2006/relationships/image" Target="../media/image4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ds-stratgic-work/Nixtla-For-Demand-Forecasting.git" TargetMode="Externa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1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8" name="Google Shape;3158;p1"/>
          <p:cNvSpPr txBox="1">
            <a:spLocks noGrp="1"/>
          </p:cNvSpPr>
          <p:nvPr>
            <p:ph type="ctrTitle"/>
          </p:nvPr>
        </p:nvSpPr>
        <p:spPr>
          <a:xfrm>
            <a:off x="489771" y="2375691"/>
            <a:ext cx="8003989" cy="738664"/>
          </a:xfrm>
        </p:spPr>
        <p:txBody>
          <a:bodyPr/>
          <a:lstStyle/>
          <a:p>
            <a:pPr lvl="0"/>
            <a:r>
              <a:rPr lang="en-US" sz="4800" dirty="0"/>
              <a:t>Introduction to Nixtla Verse</a:t>
            </a:r>
          </a:p>
        </p:txBody>
      </p:sp>
    </p:spTree>
    <p:extLst>
      <p:ext uri="{BB962C8B-B14F-4D97-AF65-F5344CB8AC3E}">
        <p14:creationId xmlns:p14="http://schemas.microsoft.com/office/powerpoint/2010/main" val="42187626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7" name="Google Shape;9497;p5"/>
          <p:cNvSpPr txBox="1">
            <a:spLocks noGrp="1"/>
          </p:cNvSpPr>
          <p:nvPr>
            <p:ph type="title"/>
          </p:nvPr>
        </p:nvSpPr>
        <p:spPr>
          <a:xfrm>
            <a:off x="355601" y="367504"/>
            <a:ext cx="4157405" cy="492443"/>
          </a:xfrm>
        </p:spPr>
        <p:txBody>
          <a:bodyPr/>
          <a:lstStyle/>
          <a:p>
            <a:pPr lvl="0"/>
            <a:r>
              <a:rPr lang="en-IN" dirty="0"/>
              <a:t>Agenda</a:t>
            </a:r>
          </a:p>
        </p:txBody>
      </p:sp>
      <p:grpSp>
        <p:nvGrpSpPr>
          <p:cNvPr id="9537" name="Group 9536">
            <a:extLst>
              <a:ext uri="{FF2B5EF4-FFF2-40B4-BE49-F238E27FC236}">
                <a16:creationId xmlns:a16="http://schemas.microsoft.com/office/drawing/2014/main" id="{617646E6-E2AC-113E-0CF6-8CBEDA305D0D}"/>
              </a:ext>
            </a:extLst>
          </p:cNvPr>
          <p:cNvGrpSpPr/>
          <p:nvPr/>
        </p:nvGrpSpPr>
        <p:grpSpPr>
          <a:xfrm>
            <a:off x="476251" y="1466040"/>
            <a:ext cx="863600" cy="863600"/>
            <a:chOff x="476251" y="1248344"/>
            <a:chExt cx="863600" cy="863600"/>
          </a:xfrm>
        </p:grpSpPr>
        <p:sp>
          <p:nvSpPr>
            <p:cNvPr id="9518" name="Oval 9517">
              <a:extLst>
                <a:ext uri="{FF2B5EF4-FFF2-40B4-BE49-F238E27FC236}">
                  <a16:creationId xmlns:a16="http://schemas.microsoft.com/office/drawing/2014/main" id="{91D6BCA3-CDC7-75A7-C59B-B61AF81857A1}"/>
                </a:ext>
              </a:extLst>
            </p:cNvPr>
            <p:cNvSpPr/>
            <p:nvPr/>
          </p:nvSpPr>
          <p:spPr>
            <a:xfrm>
              <a:off x="476251" y="1248344"/>
              <a:ext cx="863600" cy="863600"/>
            </a:xfrm>
            <a:prstGeom prst="ellipse">
              <a:avLst/>
            </a:prstGeom>
            <a:gradFill>
              <a:gsLst>
                <a:gs pos="0">
                  <a:schemeClr val="accent1">
                    <a:lumMod val="5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9474" name="Google Shape;9522;p5">
              <a:extLst>
                <a:ext uri="{FF2B5EF4-FFF2-40B4-BE49-F238E27FC236}">
                  <a16:creationId xmlns:a16="http://schemas.microsoft.com/office/drawing/2014/main" id="{9C843208-53EF-79DA-4983-E05AE643742B}"/>
                </a:ext>
              </a:extLst>
            </p:cNvPr>
            <p:cNvGrpSpPr/>
            <p:nvPr/>
          </p:nvGrpSpPr>
          <p:grpSpPr>
            <a:xfrm>
              <a:off x="686222" y="1431334"/>
              <a:ext cx="443659" cy="497620"/>
              <a:chOff x="33861373" y="9493843"/>
              <a:chExt cx="2567635" cy="2879928"/>
            </a:xfrm>
          </p:grpSpPr>
          <p:sp>
            <p:nvSpPr>
              <p:cNvPr id="9475" name="Google Shape;9523;p5">
                <a:extLst>
                  <a:ext uri="{FF2B5EF4-FFF2-40B4-BE49-F238E27FC236}">
                    <a16:creationId xmlns:a16="http://schemas.microsoft.com/office/drawing/2014/main" id="{32AC4274-D7E7-71C7-C3BF-D7D4B39C1D05}"/>
                  </a:ext>
                </a:extLst>
              </p:cNvPr>
              <p:cNvSpPr/>
              <p:nvPr/>
            </p:nvSpPr>
            <p:spPr>
              <a:xfrm>
                <a:off x="34793255" y="10136372"/>
                <a:ext cx="328948" cy="648444"/>
              </a:xfrm>
              <a:custGeom>
                <a:avLst/>
                <a:gdLst/>
                <a:ahLst/>
                <a:cxnLst/>
                <a:rect l="l" t="t" r="r" b="b"/>
                <a:pathLst>
                  <a:path w="328948" h="648444" extrusionOk="0">
                    <a:moveTo>
                      <a:pt x="164703" y="136815"/>
                    </a:moveTo>
                    <a:cubicBezTo>
                      <a:pt x="212849" y="136815"/>
                      <a:pt x="252005" y="170563"/>
                      <a:pt x="252005" y="211956"/>
                    </a:cubicBezTo>
                    <a:cubicBezTo>
                      <a:pt x="252005" y="233108"/>
                      <a:pt x="269096" y="250199"/>
                      <a:pt x="290248" y="250199"/>
                    </a:cubicBezTo>
                    <a:cubicBezTo>
                      <a:pt x="311400" y="250199"/>
                      <a:pt x="328492" y="233107"/>
                      <a:pt x="328492" y="211956"/>
                    </a:cubicBezTo>
                    <a:cubicBezTo>
                      <a:pt x="328492" y="140400"/>
                      <a:pt x="274480" y="80549"/>
                      <a:pt x="202489" y="64803"/>
                    </a:cubicBezTo>
                    <a:lnTo>
                      <a:pt x="202489" y="38244"/>
                    </a:lnTo>
                    <a:cubicBezTo>
                      <a:pt x="202489" y="17091"/>
                      <a:pt x="185398" y="0"/>
                      <a:pt x="164246" y="0"/>
                    </a:cubicBezTo>
                    <a:cubicBezTo>
                      <a:pt x="143094" y="0"/>
                      <a:pt x="126002" y="17092"/>
                      <a:pt x="126002" y="38244"/>
                    </a:cubicBezTo>
                    <a:lnTo>
                      <a:pt x="126002" y="64803"/>
                    </a:lnTo>
                    <a:cubicBezTo>
                      <a:pt x="54012" y="81004"/>
                      <a:pt x="0" y="140400"/>
                      <a:pt x="0" y="211956"/>
                    </a:cubicBezTo>
                    <a:cubicBezTo>
                      <a:pt x="0" y="295651"/>
                      <a:pt x="73794" y="364062"/>
                      <a:pt x="164246" y="364062"/>
                    </a:cubicBezTo>
                    <a:cubicBezTo>
                      <a:pt x="212393" y="364062"/>
                      <a:pt x="251549" y="397810"/>
                      <a:pt x="251549" y="439203"/>
                    </a:cubicBezTo>
                    <a:cubicBezTo>
                      <a:pt x="251549" y="480596"/>
                      <a:pt x="212393" y="514344"/>
                      <a:pt x="164246" y="514344"/>
                    </a:cubicBezTo>
                    <a:cubicBezTo>
                      <a:pt x="116100" y="514344"/>
                      <a:pt x="76944" y="480596"/>
                      <a:pt x="76944" y="439203"/>
                    </a:cubicBezTo>
                    <a:cubicBezTo>
                      <a:pt x="76944" y="418051"/>
                      <a:pt x="59852" y="400960"/>
                      <a:pt x="38701" y="400960"/>
                    </a:cubicBezTo>
                    <a:cubicBezTo>
                      <a:pt x="17548" y="400960"/>
                      <a:pt x="457" y="418051"/>
                      <a:pt x="457" y="439203"/>
                    </a:cubicBezTo>
                    <a:cubicBezTo>
                      <a:pt x="457" y="510759"/>
                      <a:pt x="54469" y="570610"/>
                      <a:pt x="126459" y="586356"/>
                    </a:cubicBezTo>
                    <a:lnTo>
                      <a:pt x="126459" y="610201"/>
                    </a:lnTo>
                    <a:cubicBezTo>
                      <a:pt x="126459" y="631354"/>
                      <a:pt x="143551" y="648445"/>
                      <a:pt x="164703" y="648445"/>
                    </a:cubicBezTo>
                    <a:cubicBezTo>
                      <a:pt x="185855" y="648445"/>
                      <a:pt x="202947" y="631353"/>
                      <a:pt x="202947" y="610201"/>
                    </a:cubicBezTo>
                    <a:lnTo>
                      <a:pt x="202947" y="586356"/>
                    </a:lnTo>
                    <a:cubicBezTo>
                      <a:pt x="274937" y="570155"/>
                      <a:pt x="328949" y="510759"/>
                      <a:pt x="328949" y="439203"/>
                    </a:cubicBezTo>
                    <a:cubicBezTo>
                      <a:pt x="328949" y="355507"/>
                      <a:pt x="255155" y="287097"/>
                      <a:pt x="164703" y="287097"/>
                    </a:cubicBezTo>
                    <a:cubicBezTo>
                      <a:pt x="116556" y="287097"/>
                      <a:pt x="77400" y="253348"/>
                      <a:pt x="77400" y="211956"/>
                    </a:cubicBezTo>
                    <a:cubicBezTo>
                      <a:pt x="77400" y="170563"/>
                      <a:pt x="116556" y="136815"/>
                      <a:pt x="164703" y="136815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6" name="Google Shape;9524;p5">
                <a:extLst>
                  <a:ext uri="{FF2B5EF4-FFF2-40B4-BE49-F238E27FC236}">
                    <a16:creationId xmlns:a16="http://schemas.microsoft.com/office/drawing/2014/main" id="{09459DAD-6BCF-1FBE-575F-5D5AC67644E6}"/>
                  </a:ext>
                </a:extLst>
              </p:cNvPr>
              <p:cNvSpPr/>
              <p:nvPr/>
            </p:nvSpPr>
            <p:spPr>
              <a:xfrm>
                <a:off x="35418528" y="11353176"/>
                <a:ext cx="784419" cy="665560"/>
              </a:xfrm>
              <a:custGeom>
                <a:avLst/>
                <a:gdLst/>
                <a:ahLst/>
                <a:cxnLst/>
                <a:rect l="l" t="t" r="r" b="b"/>
                <a:pathLst>
                  <a:path w="784419" h="665560" extrusionOk="0">
                    <a:moveTo>
                      <a:pt x="771078" y="530546"/>
                    </a:moveTo>
                    <a:lnTo>
                      <a:pt x="467327" y="41848"/>
                    </a:lnTo>
                    <a:cubicBezTo>
                      <a:pt x="451126" y="15745"/>
                      <a:pt x="422785" y="0"/>
                      <a:pt x="392186" y="0"/>
                    </a:cubicBezTo>
                    <a:cubicBezTo>
                      <a:pt x="361587" y="0"/>
                      <a:pt x="333247" y="15745"/>
                      <a:pt x="317045" y="41848"/>
                    </a:cubicBezTo>
                    <a:lnTo>
                      <a:pt x="13293" y="530546"/>
                    </a:lnTo>
                    <a:cubicBezTo>
                      <a:pt x="-3799" y="557996"/>
                      <a:pt x="-4254" y="592200"/>
                      <a:pt x="11035" y="620107"/>
                    </a:cubicBezTo>
                    <a:cubicBezTo>
                      <a:pt x="26345" y="648013"/>
                      <a:pt x="56033" y="665561"/>
                      <a:pt x="88435" y="665561"/>
                    </a:cubicBezTo>
                    <a:lnTo>
                      <a:pt x="695960" y="665561"/>
                    </a:lnTo>
                    <a:cubicBezTo>
                      <a:pt x="727905" y="665561"/>
                      <a:pt x="757614" y="648013"/>
                      <a:pt x="773360" y="620107"/>
                    </a:cubicBezTo>
                    <a:cubicBezTo>
                      <a:pt x="789106" y="592202"/>
                      <a:pt x="787758" y="557562"/>
                      <a:pt x="771102" y="530546"/>
                    </a:cubicBezTo>
                    <a:close/>
                    <a:moveTo>
                      <a:pt x="706274" y="582753"/>
                    </a:moveTo>
                    <a:cubicBezTo>
                      <a:pt x="704927" y="585011"/>
                      <a:pt x="702234" y="588596"/>
                      <a:pt x="695915" y="588596"/>
                    </a:cubicBezTo>
                    <a:lnTo>
                      <a:pt x="88391" y="588596"/>
                    </a:lnTo>
                    <a:cubicBezTo>
                      <a:pt x="82549" y="588596"/>
                      <a:pt x="79400" y="584991"/>
                      <a:pt x="78033" y="582753"/>
                    </a:cubicBezTo>
                    <a:cubicBezTo>
                      <a:pt x="76686" y="580495"/>
                      <a:pt x="75340" y="576000"/>
                      <a:pt x="78489" y="570613"/>
                    </a:cubicBezTo>
                    <a:lnTo>
                      <a:pt x="382240" y="81915"/>
                    </a:lnTo>
                    <a:cubicBezTo>
                      <a:pt x="385389" y="76964"/>
                      <a:pt x="389885" y="76508"/>
                      <a:pt x="392143" y="76508"/>
                    </a:cubicBezTo>
                    <a:cubicBezTo>
                      <a:pt x="394401" y="76508"/>
                      <a:pt x="399353" y="77399"/>
                      <a:pt x="402046" y="81915"/>
                    </a:cubicBezTo>
                    <a:lnTo>
                      <a:pt x="705797" y="570613"/>
                    </a:lnTo>
                    <a:cubicBezTo>
                      <a:pt x="708946" y="575999"/>
                      <a:pt x="707600" y="580516"/>
                      <a:pt x="706253" y="58275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7" name="Google Shape;9525;p5">
                <a:extLst>
                  <a:ext uri="{FF2B5EF4-FFF2-40B4-BE49-F238E27FC236}">
                    <a16:creationId xmlns:a16="http://schemas.microsoft.com/office/drawing/2014/main" id="{DABBA84D-A681-1C78-0A84-66FB4B82EF81}"/>
                  </a:ext>
                </a:extLst>
              </p:cNvPr>
              <p:cNvSpPr/>
              <p:nvPr/>
            </p:nvSpPr>
            <p:spPr>
              <a:xfrm>
                <a:off x="33861373" y="9493843"/>
                <a:ext cx="2193292" cy="2846262"/>
              </a:xfrm>
              <a:custGeom>
                <a:avLst/>
                <a:gdLst/>
                <a:ahLst/>
                <a:cxnLst/>
                <a:rect l="l" t="t" r="r" b="b"/>
                <a:pathLst>
                  <a:path w="2193292" h="2846262" extrusionOk="0">
                    <a:moveTo>
                      <a:pt x="1492178" y="2769721"/>
                    </a:moveTo>
                    <a:lnTo>
                      <a:pt x="290654" y="2769721"/>
                    </a:lnTo>
                    <a:cubicBezTo>
                      <a:pt x="172755" y="2769721"/>
                      <a:pt x="76893" y="2673865"/>
                      <a:pt x="76893" y="2555961"/>
                    </a:cubicBezTo>
                    <a:lnTo>
                      <a:pt x="76914" y="290699"/>
                    </a:lnTo>
                    <a:cubicBezTo>
                      <a:pt x="76914" y="172801"/>
                      <a:pt x="172771" y="76939"/>
                      <a:pt x="290674" y="76939"/>
                    </a:cubicBezTo>
                    <a:lnTo>
                      <a:pt x="1902589" y="76939"/>
                    </a:lnTo>
                    <a:cubicBezTo>
                      <a:pt x="2020943" y="76939"/>
                      <a:pt x="2116784" y="172796"/>
                      <a:pt x="2116784" y="290699"/>
                    </a:cubicBezTo>
                    <a:lnTo>
                      <a:pt x="2116784" y="1544835"/>
                    </a:lnTo>
                    <a:cubicBezTo>
                      <a:pt x="2116784" y="1565987"/>
                      <a:pt x="2133876" y="1583078"/>
                      <a:pt x="2155028" y="1583078"/>
                    </a:cubicBezTo>
                    <a:cubicBezTo>
                      <a:pt x="2176180" y="1583078"/>
                      <a:pt x="2193271" y="1565987"/>
                      <a:pt x="2193271" y="1544835"/>
                    </a:cubicBezTo>
                    <a:lnTo>
                      <a:pt x="2193292" y="290699"/>
                    </a:lnTo>
                    <a:cubicBezTo>
                      <a:pt x="2193292" y="130494"/>
                      <a:pt x="2062798" y="0"/>
                      <a:pt x="1902137" y="0"/>
                    </a:cubicBezTo>
                    <a:lnTo>
                      <a:pt x="290699" y="0"/>
                    </a:lnTo>
                    <a:cubicBezTo>
                      <a:pt x="130516" y="0"/>
                      <a:pt x="0" y="130494"/>
                      <a:pt x="0" y="290699"/>
                    </a:cubicBezTo>
                    <a:lnTo>
                      <a:pt x="0" y="2556014"/>
                    </a:lnTo>
                    <a:cubicBezTo>
                      <a:pt x="0" y="2716219"/>
                      <a:pt x="130494" y="2846262"/>
                      <a:pt x="290249" y="2846262"/>
                    </a:cubicBezTo>
                    <a:lnTo>
                      <a:pt x="1491773" y="2846262"/>
                    </a:lnTo>
                    <a:cubicBezTo>
                      <a:pt x="1512925" y="2846262"/>
                      <a:pt x="1530016" y="2829171"/>
                      <a:pt x="1530016" y="2808019"/>
                    </a:cubicBezTo>
                    <a:cubicBezTo>
                      <a:pt x="1530472" y="2786867"/>
                      <a:pt x="1513381" y="2769755"/>
                      <a:pt x="1492228" y="2769755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9" name="Google Shape;9526;p5">
                <a:extLst>
                  <a:ext uri="{FF2B5EF4-FFF2-40B4-BE49-F238E27FC236}">
                    <a16:creationId xmlns:a16="http://schemas.microsoft.com/office/drawing/2014/main" id="{BFF55220-9944-48AD-EC46-5C5C88DE0073}"/>
                  </a:ext>
                </a:extLst>
              </p:cNvPr>
              <p:cNvSpPr/>
              <p:nvPr/>
            </p:nvSpPr>
            <p:spPr>
              <a:xfrm>
                <a:off x="34242474" y="9745375"/>
                <a:ext cx="1431009" cy="1430977"/>
              </a:xfrm>
              <a:custGeom>
                <a:avLst/>
                <a:gdLst/>
                <a:ahLst/>
                <a:cxnLst/>
                <a:rect l="l" t="t" r="r" b="b"/>
                <a:pathLst>
                  <a:path w="1431009" h="1430977" extrusionOk="0">
                    <a:moveTo>
                      <a:pt x="1430988" y="715929"/>
                    </a:moveTo>
                    <a:cubicBezTo>
                      <a:pt x="1430988" y="320834"/>
                      <a:pt x="1110143" y="0"/>
                      <a:pt x="715961" y="0"/>
                    </a:cubicBezTo>
                    <a:lnTo>
                      <a:pt x="715505" y="0"/>
                    </a:lnTo>
                    <a:cubicBezTo>
                      <a:pt x="320845" y="456"/>
                      <a:pt x="0" y="321757"/>
                      <a:pt x="0" y="715929"/>
                    </a:cubicBezTo>
                    <a:cubicBezTo>
                      <a:pt x="0" y="906736"/>
                      <a:pt x="74250" y="1086288"/>
                      <a:pt x="209698" y="1221280"/>
                    </a:cubicBezTo>
                    <a:cubicBezTo>
                      <a:pt x="345146" y="1356272"/>
                      <a:pt x="524704" y="1430978"/>
                      <a:pt x="715940" y="1430978"/>
                    </a:cubicBezTo>
                    <a:cubicBezTo>
                      <a:pt x="906746" y="1430978"/>
                      <a:pt x="1086299" y="1356728"/>
                      <a:pt x="1221291" y="1221280"/>
                    </a:cubicBezTo>
                    <a:cubicBezTo>
                      <a:pt x="1356304" y="1085832"/>
                      <a:pt x="1431010" y="906730"/>
                      <a:pt x="1431010" y="715929"/>
                    </a:cubicBezTo>
                    <a:close/>
                    <a:moveTo>
                      <a:pt x="715961" y="1130828"/>
                    </a:moveTo>
                    <a:cubicBezTo>
                      <a:pt x="604814" y="1130828"/>
                      <a:pt x="500418" y="1087633"/>
                      <a:pt x="422111" y="1008888"/>
                    </a:cubicBezTo>
                    <a:cubicBezTo>
                      <a:pt x="343820" y="930597"/>
                      <a:pt x="300171" y="826641"/>
                      <a:pt x="300171" y="715929"/>
                    </a:cubicBezTo>
                    <a:cubicBezTo>
                      <a:pt x="300171" y="486878"/>
                      <a:pt x="486480" y="300575"/>
                      <a:pt x="715526" y="300140"/>
                    </a:cubicBezTo>
                    <a:lnTo>
                      <a:pt x="715982" y="300140"/>
                    </a:lnTo>
                    <a:cubicBezTo>
                      <a:pt x="944576" y="300140"/>
                      <a:pt x="1130880" y="486449"/>
                      <a:pt x="1130880" y="715929"/>
                    </a:cubicBezTo>
                    <a:cubicBezTo>
                      <a:pt x="1130880" y="826620"/>
                      <a:pt x="1087685" y="930581"/>
                      <a:pt x="1009375" y="1008888"/>
                    </a:cubicBezTo>
                    <a:cubicBezTo>
                      <a:pt x="930606" y="1087614"/>
                      <a:pt x="826651" y="1130828"/>
                      <a:pt x="715960" y="1130828"/>
                    </a:cubicBezTo>
                    <a:close/>
                    <a:moveTo>
                      <a:pt x="1354511" y="715929"/>
                    </a:moveTo>
                    <a:cubicBezTo>
                      <a:pt x="1354511" y="873419"/>
                      <a:pt x="1297810" y="1022375"/>
                      <a:pt x="1193871" y="1139388"/>
                    </a:cubicBezTo>
                    <a:lnTo>
                      <a:pt x="1089475" y="1034992"/>
                    </a:lnTo>
                    <a:cubicBezTo>
                      <a:pt x="1165985" y="945887"/>
                      <a:pt x="1207374" y="833849"/>
                      <a:pt x="1207374" y="715950"/>
                    </a:cubicBezTo>
                    <a:cubicBezTo>
                      <a:pt x="1207374" y="457194"/>
                      <a:pt x="1007577" y="244802"/>
                      <a:pt x="753775" y="224999"/>
                    </a:cubicBezTo>
                    <a:lnTo>
                      <a:pt x="753754" y="77825"/>
                    </a:lnTo>
                    <a:cubicBezTo>
                      <a:pt x="1088564" y="97174"/>
                      <a:pt x="1354490" y="376172"/>
                      <a:pt x="1354490" y="715950"/>
                    </a:cubicBezTo>
                    <a:close/>
                    <a:moveTo>
                      <a:pt x="677244" y="77803"/>
                    </a:moveTo>
                    <a:lnTo>
                      <a:pt x="677244" y="225412"/>
                    </a:lnTo>
                    <a:cubicBezTo>
                      <a:pt x="423893" y="245218"/>
                      <a:pt x="223646" y="458064"/>
                      <a:pt x="223646" y="716364"/>
                    </a:cubicBezTo>
                    <a:cubicBezTo>
                      <a:pt x="223646" y="834719"/>
                      <a:pt x="265494" y="946322"/>
                      <a:pt x="341544" y="1035406"/>
                    </a:cubicBezTo>
                    <a:lnTo>
                      <a:pt x="237149" y="1139801"/>
                    </a:lnTo>
                    <a:cubicBezTo>
                      <a:pt x="133188" y="1022794"/>
                      <a:pt x="76053" y="873854"/>
                      <a:pt x="76053" y="716343"/>
                    </a:cubicBezTo>
                    <a:cubicBezTo>
                      <a:pt x="76488" y="376601"/>
                      <a:pt x="342435" y="98052"/>
                      <a:pt x="677266" y="77793"/>
                    </a:cubicBezTo>
                    <a:close/>
                    <a:moveTo>
                      <a:pt x="715944" y="1354426"/>
                    </a:moveTo>
                    <a:cubicBezTo>
                      <a:pt x="557998" y="1354426"/>
                      <a:pt x="408586" y="1297726"/>
                      <a:pt x="291595" y="1193330"/>
                    </a:cubicBezTo>
                    <a:lnTo>
                      <a:pt x="395990" y="1088935"/>
                    </a:lnTo>
                    <a:cubicBezTo>
                      <a:pt x="485096" y="1165444"/>
                      <a:pt x="597590" y="1207289"/>
                      <a:pt x="715944" y="1207289"/>
                    </a:cubicBezTo>
                    <a:cubicBezTo>
                      <a:pt x="834299" y="1207289"/>
                      <a:pt x="946337" y="1165441"/>
                      <a:pt x="1034986" y="1089391"/>
                    </a:cubicBezTo>
                    <a:lnTo>
                      <a:pt x="1139402" y="1193808"/>
                    </a:lnTo>
                    <a:cubicBezTo>
                      <a:pt x="1022395" y="1297726"/>
                      <a:pt x="873439" y="1354426"/>
                      <a:pt x="715944" y="135442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0" name="Google Shape;9527;p5">
                <a:extLst>
                  <a:ext uri="{FF2B5EF4-FFF2-40B4-BE49-F238E27FC236}">
                    <a16:creationId xmlns:a16="http://schemas.microsoft.com/office/drawing/2014/main" id="{08748F4E-4948-5A79-7D20-4BA3FAF7465F}"/>
                  </a:ext>
                </a:extLst>
              </p:cNvPr>
              <p:cNvSpPr/>
              <p:nvPr/>
            </p:nvSpPr>
            <p:spPr>
              <a:xfrm>
                <a:off x="35192428" y="11137191"/>
                <a:ext cx="1236580" cy="1236580"/>
              </a:xfrm>
              <a:custGeom>
                <a:avLst/>
                <a:gdLst/>
                <a:ahLst/>
                <a:cxnLst/>
                <a:rect l="l" t="t" r="r" b="b"/>
                <a:pathLst>
                  <a:path w="1236580" h="1236580" extrusionOk="0">
                    <a:moveTo>
                      <a:pt x="618290" y="0"/>
                    </a:moveTo>
                    <a:cubicBezTo>
                      <a:pt x="277186" y="0"/>
                      <a:pt x="0" y="277196"/>
                      <a:pt x="0" y="618290"/>
                    </a:cubicBezTo>
                    <a:cubicBezTo>
                      <a:pt x="0" y="959384"/>
                      <a:pt x="277196" y="1236581"/>
                      <a:pt x="618290" y="1236581"/>
                    </a:cubicBezTo>
                    <a:cubicBezTo>
                      <a:pt x="959395" y="1236581"/>
                      <a:pt x="1236581" y="959384"/>
                      <a:pt x="1236581" y="618290"/>
                    </a:cubicBezTo>
                    <a:cubicBezTo>
                      <a:pt x="1236581" y="277196"/>
                      <a:pt x="958928" y="0"/>
                      <a:pt x="618290" y="0"/>
                    </a:cubicBezTo>
                    <a:close/>
                    <a:moveTo>
                      <a:pt x="618290" y="1160103"/>
                    </a:moveTo>
                    <a:cubicBezTo>
                      <a:pt x="319487" y="1160103"/>
                      <a:pt x="76477" y="917115"/>
                      <a:pt x="76477" y="618290"/>
                    </a:cubicBezTo>
                    <a:cubicBezTo>
                      <a:pt x="76477" y="319466"/>
                      <a:pt x="319466" y="76477"/>
                      <a:pt x="618290" y="76477"/>
                    </a:cubicBezTo>
                    <a:cubicBezTo>
                      <a:pt x="917094" y="76477"/>
                      <a:pt x="1160103" y="319466"/>
                      <a:pt x="1160103" y="618290"/>
                    </a:cubicBezTo>
                    <a:cubicBezTo>
                      <a:pt x="1159648" y="917094"/>
                      <a:pt x="917115" y="1160103"/>
                      <a:pt x="618290" y="116010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1" name="Google Shape;9528;p5">
                <a:extLst>
                  <a:ext uri="{FF2B5EF4-FFF2-40B4-BE49-F238E27FC236}">
                    <a16:creationId xmlns:a16="http://schemas.microsoft.com/office/drawing/2014/main" id="{C98A3B54-ECB5-E9C9-DE54-BA40FAB89053}"/>
                  </a:ext>
                </a:extLst>
              </p:cNvPr>
              <p:cNvSpPr/>
              <p:nvPr/>
            </p:nvSpPr>
            <p:spPr>
              <a:xfrm>
                <a:off x="35772475" y="11553921"/>
                <a:ext cx="76486" cy="215085"/>
              </a:xfrm>
              <a:custGeom>
                <a:avLst/>
                <a:gdLst/>
                <a:ahLst/>
                <a:cxnLst/>
                <a:rect l="l" t="t" r="r" b="b"/>
                <a:pathLst>
                  <a:path w="76486" h="215085" extrusionOk="0">
                    <a:moveTo>
                      <a:pt x="38243" y="215085"/>
                    </a:moveTo>
                    <a:cubicBezTo>
                      <a:pt x="59396" y="215085"/>
                      <a:pt x="76487" y="197993"/>
                      <a:pt x="76487" y="176842"/>
                    </a:cubicBezTo>
                    <a:lnTo>
                      <a:pt x="76487" y="38244"/>
                    </a:lnTo>
                    <a:cubicBezTo>
                      <a:pt x="76487" y="17091"/>
                      <a:pt x="59395" y="0"/>
                      <a:pt x="38243" y="0"/>
                    </a:cubicBezTo>
                    <a:cubicBezTo>
                      <a:pt x="17091" y="0"/>
                      <a:pt x="0" y="17092"/>
                      <a:pt x="0" y="38244"/>
                    </a:cubicBezTo>
                    <a:lnTo>
                      <a:pt x="0" y="176842"/>
                    </a:lnTo>
                    <a:cubicBezTo>
                      <a:pt x="-21" y="197973"/>
                      <a:pt x="17092" y="215085"/>
                      <a:pt x="38243" y="215085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2" name="Google Shape;9529;p5">
                <a:extLst>
                  <a:ext uri="{FF2B5EF4-FFF2-40B4-BE49-F238E27FC236}">
                    <a16:creationId xmlns:a16="http://schemas.microsoft.com/office/drawing/2014/main" id="{37EC2827-75B7-BC41-52BF-AB4695092326}"/>
                  </a:ext>
                </a:extLst>
              </p:cNvPr>
              <p:cNvSpPr/>
              <p:nvPr/>
            </p:nvSpPr>
            <p:spPr>
              <a:xfrm>
                <a:off x="35772502" y="11803134"/>
                <a:ext cx="76486" cy="76579"/>
              </a:xfrm>
              <a:custGeom>
                <a:avLst/>
                <a:gdLst/>
                <a:ahLst/>
                <a:cxnLst/>
                <a:rect l="l" t="t" r="r" b="b"/>
                <a:pathLst>
                  <a:path w="76486" h="76579" extrusionOk="0">
                    <a:moveTo>
                      <a:pt x="52642" y="2785"/>
                    </a:moveTo>
                    <a:cubicBezTo>
                      <a:pt x="38699" y="-3057"/>
                      <a:pt x="21587" y="527"/>
                      <a:pt x="11249" y="11341"/>
                    </a:cubicBezTo>
                    <a:cubicBezTo>
                      <a:pt x="4040" y="18986"/>
                      <a:pt x="0" y="28433"/>
                      <a:pt x="0" y="38335"/>
                    </a:cubicBezTo>
                    <a:cubicBezTo>
                      <a:pt x="0" y="43742"/>
                      <a:pt x="1347" y="48238"/>
                      <a:pt x="3149" y="53190"/>
                    </a:cubicBezTo>
                    <a:cubicBezTo>
                      <a:pt x="5407" y="57685"/>
                      <a:pt x="8100" y="61746"/>
                      <a:pt x="11249" y="65330"/>
                    </a:cubicBezTo>
                    <a:cubicBezTo>
                      <a:pt x="18459" y="72540"/>
                      <a:pt x="28341" y="76579"/>
                      <a:pt x="38243" y="76579"/>
                    </a:cubicBezTo>
                    <a:cubicBezTo>
                      <a:pt x="43195" y="76579"/>
                      <a:pt x="48146" y="75233"/>
                      <a:pt x="52641" y="73430"/>
                    </a:cubicBezTo>
                    <a:cubicBezTo>
                      <a:pt x="57593" y="71172"/>
                      <a:pt x="61632" y="68479"/>
                      <a:pt x="65237" y="65330"/>
                    </a:cubicBezTo>
                    <a:cubicBezTo>
                      <a:pt x="72447" y="58121"/>
                      <a:pt x="76487" y="48238"/>
                      <a:pt x="76487" y="38336"/>
                    </a:cubicBezTo>
                    <a:cubicBezTo>
                      <a:pt x="76487" y="28434"/>
                      <a:pt x="71991" y="18530"/>
                      <a:pt x="65237" y="11342"/>
                    </a:cubicBezTo>
                    <a:cubicBezTo>
                      <a:pt x="61632" y="7737"/>
                      <a:pt x="57593" y="5023"/>
                      <a:pt x="52641" y="278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3" name="Google Shape;9530;p5">
                <a:extLst>
                  <a:ext uri="{FF2B5EF4-FFF2-40B4-BE49-F238E27FC236}">
                    <a16:creationId xmlns:a16="http://schemas.microsoft.com/office/drawing/2014/main" id="{2A775AB8-39B9-20EF-4105-BB40F31C4BAA}"/>
                  </a:ext>
                </a:extLst>
              </p:cNvPr>
              <p:cNvSpPr/>
              <p:nvPr/>
            </p:nvSpPr>
            <p:spPr>
              <a:xfrm>
                <a:off x="34075067" y="11500327"/>
                <a:ext cx="981435" cy="76486"/>
              </a:xfrm>
              <a:custGeom>
                <a:avLst/>
                <a:gdLst/>
                <a:ahLst/>
                <a:cxnLst/>
                <a:rect l="l" t="t" r="r" b="b"/>
                <a:pathLst>
                  <a:path w="981435" h="76486" extrusionOk="0">
                    <a:moveTo>
                      <a:pt x="943192" y="0"/>
                    </a:moveTo>
                    <a:lnTo>
                      <a:pt x="38244" y="0"/>
                    </a:lnTo>
                    <a:cubicBezTo>
                      <a:pt x="17091" y="0"/>
                      <a:pt x="0" y="17092"/>
                      <a:pt x="0" y="38244"/>
                    </a:cubicBezTo>
                    <a:cubicBezTo>
                      <a:pt x="0" y="59396"/>
                      <a:pt x="17092" y="76487"/>
                      <a:pt x="38244" y="76487"/>
                    </a:cubicBezTo>
                    <a:lnTo>
                      <a:pt x="943192" y="76487"/>
                    </a:lnTo>
                    <a:cubicBezTo>
                      <a:pt x="964344" y="76487"/>
                      <a:pt x="981436" y="59395"/>
                      <a:pt x="981436" y="38244"/>
                    </a:cubicBezTo>
                    <a:cubicBezTo>
                      <a:pt x="981456" y="17091"/>
                      <a:pt x="964364" y="0"/>
                      <a:pt x="94321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84" name="Google Shape;9531;p5">
                <a:extLst>
                  <a:ext uri="{FF2B5EF4-FFF2-40B4-BE49-F238E27FC236}">
                    <a16:creationId xmlns:a16="http://schemas.microsoft.com/office/drawing/2014/main" id="{CC3DC796-A6CB-9B5A-F7B7-068A54534224}"/>
                  </a:ext>
                </a:extLst>
              </p:cNvPr>
              <p:cNvSpPr/>
              <p:nvPr/>
            </p:nvSpPr>
            <p:spPr>
              <a:xfrm>
                <a:off x="34075115" y="11674969"/>
                <a:ext cx="981456" cy="76486"/>
              </a:xfrm>
              <a:custGeom>
                <a:avLst/>
                <a:gdLst/>
                <a:ahLst/>
                <a:cxnLst/>
                <a:rect l="l" t="t" r="r" b="b"/>
                <a:pathLst>
                  <a:path w="981456" h="76486" extrusionOk="0">
                    <a:moveTo>
                      <a:pt x="981435" y="38243"/>
                    </a:moveTo>
                    <a:cubicBezTo>
                      <a:pt x="981435" y="17091"/>
                      <a:pt x="964344" y="0"/>
                      <a:pt x="943192" y="0"/>
                    </a:cubicBezTo>
                    <a:lnTo>
                      <a:pt x="38243" y="0"/>
                    </a:lnTo>
                    <a:cubicBezTo>
                      <a:pt x="17091" y="0"/>
                      <a:pt x="0" y="17092"/>
                      <a:pt x="0" y="38243"/>
                    </a:cubicBezTo>
                    <a:cubicBezTo>
                      <a:pt x="0" y="59395"/>
                      <a:pt x="17092" y="76487"/>
                      <a:pt x="38243" y="76487"/>
                    </a:cubicBezTo>
                    <a:lnTo>
                      <a:pt x="943192" y="76487"/>
                    </a:lnTo>
                    <a:cubicBezTo>
                      <a:pt x="964365" y="76487"/>
                      <a:pt x="981456" y="59395"/>
                      <a:pt x="981456" y="3824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92" name="Google Shape;9532;p5">
                <a:extLst>
                  <a:ext uri="{FF2B5EF4-FFF2-40B4-BE49-F238E27FC236}">
                    <a16:creationId xmlns:a16="http://schemas.microsoft.com/office/drawing/2014/main" id="{F8516BFB-2ACB-439E-DFD1-2501E03C642D}"/>
                  </a:ext>
                </a:extLst>
              </p:cNvPr>
              <p:cNvSpPr/>
              <p:nvPr/>
            </p:nvSpPr>
            <p:spPr>
              <a:xfrm>
                <a:off x="34075072" y="11849567"/>
                <a:ext cx="529194" cy="76486"/>
              </a:xfrm>
              <a:custGeom>
                <a:avLst/>
                <a:gdLst/>
                <a:ahLst/>
                <a:cxnLst/>
                <a:rect l="l" t="t" r="r" b="b"/>
                <a:pathLst>
                  <a:path w="529194" h="76486" extrusionOk="0">
                    <a:moveTo>
                      <a:pt x="490951" y="0"/>
                    </a:moveTo>
                    <a:lnTo>
                      <a:pt x="38243" y="0"/>
                    </a:lnTo>
                    <a:cubicBezTo>
                      <a:pt x="17091" y="0"/>
                      <a:pt x="0" y="17092"/>
                      <a:pt x="0" y="38243"/>
                    </a:cubicBezTo>
                    <a:cubicBezTo>
                      <a:pt x="0" y="59396"/>
                      <a:pt x="17092" y="76487"/>
                      <a:pt x="38243" y="76487"/>
                    </a:cubicBezTo>
                    <a:lnTo>
                      <a:pt x="490951" y="76487"/>
                    </a:lnTo>
                    <a:cubicBezTo>
                      <a:pt x="512103" y="76487"/>
                      <a:pt x="529195" y="59395"/>
                      <a:pt x="529195" y="38243"/>
                    </a:cubicBezTo>
                    <a:cubicBezTo>
                      <a:pt x="529195" y="17091"/>
                      <a:pt x="512103" y="0"/>
                      <a:pt x="490951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93" name="Google Shape;9533;p5">
                <a:extLst>
                  <a:ext uri="{FF2B5EF4-FFF2-40B4-BE49-F238E27FC236}">
                    <a16:creationId xmlns:a16="http://schemas.microsoft.com/office/drawing/2014/main" id="{D799D206-6E61-E253-5A83-774A37049B02}"/>
                  </a:ext>
                </a:extLst>
              </p:cNvPr>
              <p:cNvSpPr/>
              <p:nvPr/>
            </p:nvSpPr>
            <p:spPr>
              <a:xfrm>
                <a:off x="34075072" y="12024161"/>
                <a:ext cx="529194" cy="76487"/>
              </a:xfrm>
              <a:custGeom>
                <a:avLst/>
                <a:gdLst/>
                <a:ahLst/>
                <a:cxnLst/>
                <a:rect l="l" t="t" r="r" b="b"/>
                <a:pathLst>
                  <a:path w="529194" h="76487" extrusionOk="0">
                    <a:moveTo>
                      <a:pt x="490951" y="0"/>
                    </a:moveTo>
                    <a:lnTo>
                      <a:pt x="38243" y="0"/>
                    </a:lnTo>
                    <a:cubicBezTo>
                      <a:pt x="17091" y="0"/>
                      <a:pt x="0" y="17092"/>
                      <a:pt x="0" y="38244"/>
                    </a:cubicBezTo>
                    <a:cubicBezTo>
                      <a:pt x="0" y="59395"/>
                      <a:pt x="17092" y="76487"/>
                      <a:pt x="38243" y="76487"/>
                    </a:cubicBezTo>
                    <a:lnTo>
                      <a:pt x="490951" y="76487"/>
                    </a:lnTo>
                    <a:cubicBezTo>
                      <a:pt x="512103" y="76487"/>
                      <a:pt x="529195" y="59395"/>
                      <a:pt x="529195" y="38244"/>
                    </a:cubicBezTo>
                    <a:cubicBezTo>
                      <a:pt x="529195" y="17568"/>
                      <a:pt x="512103" y="0"/>
                      <a:pt x="490951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</p:grpSp>
      <p:grpSp>
        <p:nvGrpSpPr>
          <p:cNvPr id="9534" name="Group 9533">
            <a:extLst>
              <a:ext uri="{FF2B5EF4-FFF2-40B4-BE49-F238E27FC236}">
                <a16:creationId xmlns:a16="http://schemas.microsoft.com/office/drawing/2014/main" id="{486BA24B-4DFE-D6F8-9FCF-F0E9DF3661BA}"/>
              </a:ext>
            </a:extLst>
          </p:cNvPr>
          <p:cNvGrpSpPr/>
          <p:nvPr/>
        </p:nvGrpSpPr>
        <p:grpSpPr>
          <a:xfrm>
            <a:off x="476251" y="2633762"/>
            <a:ext cx="863600" cy="863600"/>
            <a:chOff x="476251" y="2524425"/>
            <a:chExt cx="863600" cy="863600"/>
          </a:xfrm>
        </p:grpSpPr>
        <p:sp>
          <p:nvSpPr>
            <p:cNvPr id="9519" name="Oval 9518">
              <a:extLst>
                <a:ext uri="{FF2B5EF4-FFF2-40B4-BE49-F238E27FC236}">
                  <a16:creationId xmlns:a16="http://schemas.microsoft.com/office/drawing/2014/main" id="{1925265A-636F-2187-ACC6-C69EC986EFF4}"/>
                </a:ext>
              </a:extLst>
            </p:cNvPr>
            <p:cNvSpPr/>
            <p:nvPr/>
          </p:nvSpPr>
          <p:spPr>
            <a:xfrm>
              <a:off x="476251" y="2524425"/>
              <a:ext cx="863600" cy="863600"/>
            </a:xfrm>
            <a:prstGeom prst="ellipse">
              <a:avLst/>
            </a:prstGeom>
            <a:gradFill>
              <a:gsLst>
                <a:gs pos="0">
                  <a:schemeClr val="accent1">
                    <a:lumMod val="5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25" name="Google Shape;9506;p5">
              <a:extLst>
                <a:ext uri="{FF2B5EF4-FFF2-40B4-BE49-F238E27FC236}">
                  <a16:creationId xmlns:a16="http://schemas.microsoft.com/office/drawing/2014/main" id="{86A2F749-9E95-5857-97BC-C18C0366A7FB}"/>
                </a:ext>
              </a:extLst>
            </p:cNvPr>
            <p:cNvGrpSpPr/>
            <p:nvPr/>
          </p:nvGrpSpPr>
          <p:grpSpPr>
            <a:xfrm>
              <a:off x="688205" y="2736381"/>
              <a:ext cx="439693" cy="439689"/>
              <a:chOff x="-15387813" y="9448801"/>
              <a:chExt cx="2970002" cy="2970001"/>
            </a:xfrm>
          </p:grpSpPr>
          <p:sp>
            <p:nvSpPr>
              <p:cNvPr id="26" name="Google Shape;9507;p5">
                <a:extLst>
                  <a:ext uri="{FF2B5EF4-FFF2-40B4-BE49-F238E27FC236}">
                    <a16:creationId xmlns:a16="http://schemas.microsoft.com/office/drawing/2014/main" id="{590861A2-344F-72FB-2B15-A272136B20D3}"/>
                  </a:ext>
                </a:extLst>
              </p:cNvPr>
              <p:cNvSpPr/>
              <p:nvPr/>
            </p:nvSpPr>
            <p:spPr>
              <a:xfrm>
                <a:off x="-13345926" y="10648520"/>
                <a:ext cx="928115" cy="1770250"/>
              </a:xfrm>
              <a:custGeom>
                <a:avLst/>
                <a:gdLst/>
                <a:ahLst/>
                <a:cxnLst/>
                <a:rect l="l" t="t" r="r" b="b"/>
                <a:pathLst>
                  <a:path w="928115" h="1770250" extrusionOk="0">
                    <a:moveTo>
                      <a:pt x="758520" y="0"/>
                    </a:moveTo>
                    <a:cubicBezTo>
                      <a:pt x="738424" y="26207"/>
                      <a:pt x="714931" y="49659"/>
                      <a:pt x="688662" y="69694"/>
                    </a:cubicBezTo>
                    <a:cubicBezTo>
                      <a:pt x="731856" y="86827"/>
                      <a:pt x="768941" y="116535"/>
                      <a:pt x="795083" y="154965"/>
                    </a:cubicBezTo>
                    <a:cubicBezTo>
                      <a:pt x="821228" y="193395"/>
                      <a:pt x="835253" y="238767"/>
                      <a:pt x="835315" y="285253"/>
                    </a:cubicBezTo>
                    <a:lnTo>
                      <a:pt x="835315" y="981346"/>
                    </a:lnTo>
                    <a:cubicBezTo>
                      <a:pt x="835294" y="1006973"/>
                      <a:pt x="814536" y="1027732"/>
                      <a:pt x="788909" y="1027753"/>
                    </a:cubicBezTo>
                    <a:lnTo>
                      <a:pt x="696096" y="1027753"/>
                    </a:lnTo>
                    <a:lnTo>
                      <a:pt x="696096" y="656503"/>
                    </a:lnTo>
                    <a:cubicBezTo>
                      <a:pt x="696096" y="630876"/>
                      <a:pt x="675317" y="610096"/>
                      <a:pt x="649690" y="610096"/>
                    </a:cubicBezTo>
                    <a:cubicBezTo>
                      <a:pt x="624063" y="610096"/>
                      <a:pt x="603284" y="630876"/>
                      <a:pt x="603284" y="656503"/>
                    </a:cubicBezTo>
                    <a:lnTo>
                      <a:pt x="603284" y="1027753"/>
                    </a:lnTo>
                    <a:lnTo>
                      <a:pt x="324846" y="1027753"/>
                    </a:lnTo>
                    <a:lnTo>
                      <a:pt x="324846" y="656503"/>
                    </a:lnTo>
                    <a:cubicBezTo>
                      <a:pt x="324846" y="630876"/>
                      <a:pt x="304067" y="610096"/>
                      <a:pt x="278440" y="610096"/>
                    </a:cubicBezTo>
                    <a:cubicBezTo>
                      <a:pt x="252813" y="610096"/>
                      <a:pt x="232034" y="630876"/>
                      <a:pt x="232034" y="656503"/>
                    </a:cubicBezTo>
                    <a:lnTo>
                      <a:pt x="232034" y="1027753"/>
                    </a:lnTo>
                    <a:lnTo>
                      <a:pt x="139222" y="1027753"/>
                    </a:lnTo>
                    <a:cubicBezTo>
                      <a:pt x="113595" y="1027732"/>
                      <a:pt x="92836" y="1006973"/>
                      <a:pt x="92815" y="981346"/>
                    </a:cubicBezTo>
                    <a:lnTo>
                      <a:pt x="92815" y="285253"/>
                    </a:lnTo>
                    <a:cubicBezTo>
                      <a:pt x="92877" y="238764"/>
                      <a:pt x="106903" y="193395"/>
                      <a:pt x="133047" y="154965"/>
                    </a:cubicBezTo>
                    <a:cubicBezTo>
                      <a:pt x="159193" y="116535"/>
                      <a:pt x="196277" y="86825"/>
                      <a:pt x="239469" y="69715"/>
                    </a:cubicBezTo>
                    <a:cubicBezTo>
                      <a:pt x="213200" y="49662"/>
                      <a:pt x="189707" y="26210"/>
                      <a:pt x="169610" y="0"/>
                    </a:cubicBezTo>
                    <a:cubicBezTo>
                      <a:pt x="118315" y="27926"/>
                      <a:pt x="75514" y="69153"/>
                      <a:pt x="45661" y="119352"/>
                    </a:cubicBezTo>
                    <a:cubicBezTo>
                      <a:pt x="15807" y="169550"/>
                      <a:pt x="41" y="226855"/>
                      <a:pt x="0" y="285253"/>
                    </a:cubicBezTo>
                    <a:lnTo>
                      <a:pt x="0" y="981346"/>
                    </a:lnTo>
                    <a:cubicBezTo>
                      <a:pt x="41" y="1010102"/>
                      <a:pt x="8991" y="1038153"/>
                      <a:pt x="25606" y="1061626"/>
                    </a:cubicBezTo>
                    <a:cubicBezTo>
                      <a:pt x="42221" y="1085100"/>
                      <a:pt x="65694" y="1102853"/>
                      <a:pt x="92813" y="1112445"/>
                    </a:cubicBezTo>
                    <a:lnTo>
                      <a:pt x="92813" y="1607831"/>
                    </a:lnTo>
                    <a:cubicBezTo>
                      <a:pt x="92813" y="1665857"/>
                      <a:pt x="123764" y="1719476"/>
                      <a:pt x="174021" y="1748497"/>
                    </a:cubicBezTo>
                    <a:cubicBezTo>
                      <a:pt x="224281" y="1777502"/>
                      <a:pt x="286181" y="1777502"/>
                      <a:pt x="336443" y="1748497"/>
                    </a:cubicBezTo>
                    <a:cubicBezTo>
                      <a:pt x="386703" y="1719472"/>
                      <a:pt x="417651" y="1665857"/>
                      <a:pt x="417651" y="1607831"/>
                    </a:cubicBezTo>
                    <a:lnTo>
                      <a:pt x="417651" y="1120565"/>
                    </a:lnTo>
                    <a:lnTo>
                      <a:pt x="510464" y="1120565"/>
                    </a:lnTo>
                    <a:lnTo>
                      <a:pt x="510464" y="1607831"/>
                    </a:lnTo>
                    <a:cubicBezTo>
                      <a:pt x="510464" y="1665857"/>
                      <a:pt x="541415" y="1719476"/>
                      <a:pt x="591672" y="1748497"/>
                    </a:cubicBezTo>
                    <a:cubicBezTo>
                      <a:pt x="641932" y="1777502"/>
                      <a:pt x="703832" y="1777502"/>
                      <a:pt x="754094" y="1748497"/>
                    </a:cubicBezTo>
                    <a:cubicBezTo>
                      <a:pt x="804354" y="1719472"/>
                      <a:pt x="835302" y="1665857"/>
                      <a:pt x="835302" y="1607831"/>
                    </a:cubicBezTo>
                    <a:lnTo>
                      <a:pt x="835302" y="1112445"/>
                    </a:lnTo>
                    <a:cubicBezTo>
                      <a:pt x="862421" y="1102853"/>
                      <a:pt x="885894" y="1085099"/>
                      <a:pt x="902509" y="1061626"/>
                    </a:cubicBezTo>
                    <a:cubicBezTo>
                      <a:pt x="919125" y="1038154"/>
                      <a:pt x="928074" y="1010103"/>
                      <a:pt x="928116" y="981346"/>
                    </a:cubicBezTo>
                    <a:lnTo>
                      <a:pt x="928116" y="285253"/>
                    </a:lnTo>
                    <a:cubicBezTo>
                      <a:pt x="928074" y="226850"/>
                      <a:pt x="912308" y="169550"/>
                      <a:pt x="882455" y="119352"/>
                    </a:cubicBezTo>
                    <a:cubicBezTo>
                      <a:pt x="852602" y="69153"/>
                      <a:pt x="809801" y="27929"/>
                      <a:pt x="758505" y="0"/>
                    </a:cubicBezTo>
                    <a:close/>
                    <a:moveTo>
                      <a:pt x="324847" y="1607831"/>
                    </a:moveTo>
                    <a:cubicBezTo>
                      <a:pt x="324847" y="1646282"/>
                      <a:pt x="293689" y="1677440"/>
                      <a:pt x="255238" y="1677440"/>
                    </a:cubicBezTo>
                    <a:cubicBezTo>
                      <a:pt x="216787" y="1677440"/>
                      <a:pt x="185628" y="1646282"/>
                      <a:pt x="185628" y="1607831"/>
                    </a:cubicBezTo>
                    <a:lnTo>
                      <a:pt x="185628" y="1120565"/>
                    </a:lnTo>
                    <a:lnTo>
                      <a:pt x="324847" y="1120565"/>
                    </a:lnTo>
                    <a:close/>
                    <a:moveTo>
                      <a:pt x="742503" y="1607831"/>
                    </a:moveTo>
                    <a:cubicBezTo>
                      <a:pt x="742503" y="1646282"/>
                      <a:pt x="711345" y="1677440"/>
                      <a:pt x="672894" y="1677440"/>
                    </a:cubicBezTo>
                    <a:cubicBezTo>
                      <a:pt x="634443" y="1677440"/>
                      <a:pt x="603285" y="1646282"/>
                      <a:pt x="603285" y="1607831"/>
                    </a:cubicBezTo>
                    <a:lnTo>
                      <a:pt x="603285" y="1120565"/>
                    </a:lnTo>
                    <a:lnTo>
                      <a:pt x="742503" y="1120565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7" name="Google Shape;9508;p5">
                <a:extLst>
                  <a:ext uri="{FF2B5EF4-FFF2-40B4-BE49-F238E27FC236}">
                    <a16:creationId xmlns:a16="http://schemas.microsoft.com/office/drawing/2014/main" id="{1CF69C4A-AB23-969C-7483-22B6C0314671}"/>
                  </a:ext>
                </a:extLst>
              </p:cNvPr>
              <p:cNvSpPr/>
              <p:nvPr/>
            </p:nvSpPr>
            <p:spPr>
              <a:xfrm>
                <a:off x="-13160298" y="10144893"/>
                <a:ext cx="556875" cy="556875"/>
              </a:xfrm>
              <a:custGeom>
                <a:avLst/>
                <a:gdLst/>
                <a:ahLst/>
                <a:cxnLst/>
                <a:rect l="l" t="t" r="r" b="b"/>
                <a:pathLst>
                  <a:path w="556875" h="556875" extrusionOk="0">
                    <a:moveTo>
                      <a:pt x="278438" y="556875"/>
                    </a:moveTo>
                    <a:cubicBezTo>
                      <a:pt x="352295" y="556875"/>
                      <a:pt x="423103" y="527540"/>
                      <a:pt x="475333" y="475333"/>
                    </a:cubicBezTo>
                    <a:cubicBezTo>
                      <a:pt x="527540" y="423105"/>
                      <a:pt x="556875" y="352295"/>
                      <a:pt x="556875" y="278438"/>
                    </a:cubicBezTo>
                    <a:cubicBezTo>
                      <a:pt x="556875" y="204580"/>
                      <a:pt x="527540" y="133772"/>
                      <a:pt x="475333" y="81542"/>
                    </a:cubicBezTo>
                    <a:cubicBezTo>
                      <a:pt x="423105" y="29335"/>
                      <a:pt x="352295" y="0"/>
                      <a:pt x="278438" y="0"/>
                    </a:cubicBezTo>
                    <a:cubicBezTo>
                      <a:pt x="204580" y="0"/>
                      <a:pt x="133772" y="29335"/>
                      <a:pt x="81542" y="81542"/>
                    </a:cubicBezTo>
                    <a:cubicBezTo>
                      <a:pt x="29335" y="133770"/>
                      <a:pt x="0" y="204580"/>
                      <a:pt x="0" y="278438"/>
                    </a:cubicBezTo>
                    <a:cubicBezTo>
                      <a:pt x="83" y="352253"/>
                      <a:pt x="29439" y="423023"/>
                      <a:pt x="81648" y="475227"/>
                    </a:cubicBezTo>
                    <a:cubicBezTo>
                      <a:pt x="133858" y="527430"/>
                      <a:pt x="204628" y="556790"/>
                      <a:pt x="278438" y="556875"/>
                    </a:cubicBezTo>
                    <a:close/>
                    <a:moveTo>
                      <a:pt x="278438" y="92813"/>
                    </a:moveTo>
                    <a:cubicBezTo>
                      <a:pt x="327661" y="92813"/>
                      <a:pt x="374878" y="112369"/>
                      <a:pt x="409701" y="147174"/>
                    </a:cubicBezTo>
                    <a:cubicBezTo>
                      <a:pt x="444506" y="182000"/>
                      <a:pt x="464063" y="229215"/>
                      <a:pt x="464063" y="278438"/>
                    </a:cubicBezTo>
                    <a:cubicBezTo>
                      <a:pt x="464063" y="327660"/>
                      <a:pt x="444506" y="374878"/>
                      <a:pt x="409701" y="409701"/>
                    </a:cubicBezTo>
                    <a:cubicBezTo>
                      <a:pt x="374876" y="444506"/>
                      <a:pt x="327660" y="464063"/>
                      <a:pt x="278438" y="464063"/>
                    </a:cubicBezTo>
                    <a:cubicBezTo>
                      <a:pt x="229215" y="464063"/>
                      <a:pt x="181997" y="444506"/>
                      <a:pt x="147174" y="409701"/>
                    </a:cubicBezTo>
                    <a:cubicBezTo>
                      <a:pt x="112369" y="374876"/>
                      <a:pt x="92813" y="327660"/>
                      <a:pt x="92813" y="278438"/>
                    </a:cubicBezTo>
                    <a:cubicBezTo>
                      <a:pt x="92875" y="229214"/>
                      <a:pt x="112452" y="182040"/>
                      <a:pt x="147238" y="147238"/>
                    </a:cubicBezTo>
                    <a:cubicBezTo>
                      <a:pt x="182043" y="112454"/>
                      <a:pt x="229215" y="92876"/>
                      <a:pt x="278438" y="9281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8" name="Google Shape;9509;p5">
                <a:extLst>
                  <a:ext uri="{FF2B5EF4-FFF2-40B4-BE49-F238E27FC236}">
                    <a16:creationId xmlns:a16="http://schemas.microsoft.com/office/drawing/2014/main" id="{403B4F97-A31E-96B5-BB9B-66CE02387B82}"/>
                  </a:ext>
                </a:extLst>
              </p:cNvPr>
              <p:cNvSpPr/>
              <p:nvPr/>
            </p:nvSpPr>
            <p:spPr>
              <a:xfrm>
                <a:off x="-14181236" y="10144892"/>
                <a:ext cx="556570" cy="556884"/>
              </a:xfrm>
              <a:custGeom>
                <a:avLst/>
                <a:gdLst/>
                <a:ahLst/>
                <a:cxnLst/>
                <a:rect l="l" t="t" r="r" b="b"/>
                <a:pathLst>
                  <a:path w="556570" h="556884" extrusionOk="0">
                    <a:moveTo>
                      <a:pt x="1" y="278439"/>
                    </a:moveTo>
                    <a:cubicBezTo>
                      <a:pt x="22" y="349894"/>
                      <a:pt x="27617" y="418591"/>
                      <a:pt x="77046" y="470173"/>
                    </a:cubicBezTo>
                    <a:lnTo>
                      <a:pt x="77046" y="470194"/>
                    </a:lnTo>
                    <a:cubicBezTo>
                      <a:pt x="95961" y="490062"/>
                      <a:pt x="117673" y="507050"/>
                      <a:pt x="141516" y="520599"/>
                    </a:cubicBezTo>
                    <a:lnTo>
                      <a:pt x="142345" y="521096"/>
                    </a:lnTo>
                    <a:cubicBezTo>
                      <a:pt x="149741" y="525260"/>
                      <a:pt x="157344" y="529051"/>
                      <a:pt x="165134" y="532532"/>
                    </a:cubicBezTo>
                    <a:cubicBezTo>
                      <a:pt x="165921" y="532884"/>
                      <a:pt x="166646" y="533298"/>
                      <a:pt x="167434" y="533650"/>
                    </a:cubicBezTo>
                    <a:cubicBezTo>
                      <a:pt x="174685" y="536820"/>
                      <a:pt x="182122" y="539575"/>
                      <a:pt x="189663" y="542124"/>
                    </a:cubicBezTo>
                    <a:cubicBezTo>
                      <a:pt x="191051" y="542600"/>
                      <a:pt x="192398" y="543201"/>
                      <a:pt x="193806" y="543636"/>
                    </a:cubicBezTo>
                    <a:cubicBezTo>
                      <a:pt x="200850" y="545894"/>
                      <a:pt x="208060" y="547697"/>
                      <a:pt x="215311" y="549395"/>
                    </a:cubicBezTo>
                    <a:cubicBezTo>
                      <a:pt x="217300" y="549851"/>
                      <a:pt x="219206" y="550493"/>
                      <a:pt x="221215" y="550908"/>
                    </a:cubicBezTo>
                    <a:cubicBezTo>
                      <a:pt x="228259" y="552379"/>
                      <a:pt x="235489" y="553394"/>
                      <a:pt x="242720" y="554326"/>
                    </a:cubicBezTo>
                    <a:cubicBezTo>
                      <a:pt x="244999" y="554616"/>
                      <a:pt x="247194" y="555113"/>
                      <a:pt x="249494" y="555362"/>
                    </a:cubicBezTo>
                    <a:cubicBezTo>
                      <a:pt x="268740" y="557392"/>
                      <a:pt x="288131" y="557392"/>
                      <a:pt x="307377" y="555362"/>
                    </a:cubicBezTo>
                    <a:cubicBezTo>
                      <a:pt x="309677" y="555113"/>
                      <a:pt x="311873" y="554616"/>
                      <a:pt x="314151" y="554326"/>
                    </a:cubicBezTo>
                    <a:cubicBezTo>
                      <a:pt x="321382" y="553394"/>
                      <a:pt x="328591" y="552399"/>
                      <a:pt x="335656" y="550908"/>
                    </a:cubicBezTo>
                    <a:cubicBezTo>
                      <a:pt x="337665" y="550493"/>
                      <a:pt x="339571" y="549851"/>
                      <a:pt x="341560" y="549395"/>
                    </a:cubicBezTo>
                    <a:cubicBezTo>
                      <a:pt x="348832" y="547697"/>
                      <a:pt x="356042" y="545894"/>
                      <a:pt x="363065" y="543636"/>
                    </a:cubicBezTo>
                    <a:cubicBezTo>
                      <a:pt x="364473" y="543180"/>
                      <a:pt x="365799" y="542600"/>
                      <a:pt x="367208" y="542124"/>
                    </a:cubicBezTo>
                    <a:cubicBezTo>
                      <a:pt x="374749" y="539576"/>
                      <a:pt x="382207" y="536820"/>
                      <a:pt x="389437" y="533650"/>
                    </a:cubicBezTo>
                    <a:cubicBezTo>
                      <a:pt x="390225" y="533298"/>
                      <a:pt x="390950" y="532884"/>
                      <a:pt x="391737" y="532532"/>
                    </a:cubicBezTo>
                    <a:cubicBezTo>
                      <a:pt x="399527" y="529051"/>
                      <a:pt x="407129" y="525260"/>
                      <a:pt x="414526" y="521096"/>
                    </a:cubicBezTo>
                    <a:lnTo>
                      <a:pt x="415354" y="520599"/>
                    </a:lnTo>
                    <a:cubicBezTo>
                      <a:pt x="439200" y="507050"/>
                      <a:pt x="460911" y="490062"/>
                      <a:pt x="479825" y="470194"/>
                    </a:cubicBezTo>
                    <a:lnTo>
                      <a:pt x="479825" y="470173"/>
                    </a:lnTo>
                    <a:cubicBezTo>
                      <a:pt x="543510" y="403301"/>
                      <a:pt x="569864" y="309183"/>
                      <a:pt x="550161" y="218959"/>
                    </a:cubicBezTo>
                    <a:cubicBezTo>
                      <a:pt x="530480" y="128714"/>
                      <a:pt x="467314" y="54135"/>
                      <a:pt x="381544" y="19868"/>
                    </a:cubicBezTo>
                    <a:cubicBezTo>
                      <a:pt x="295796" y="-14398"/>
                      <a:pt x="198614" y="-3894"/>
                      <a:pt x="122168" y="47919"/>
                    </a:cubicBezTo>
                    <a:cubicBezTo>
                      <a:pt x="45722" y="99733"/>
                      <a:pt x="-42" y="186083"/>
                      <a:pt x="0" y="278439"/>
                    </a:cubicBezTo>
                    <a:close/>
                    <a:moveTo>
                      <a:pt x="278439" y="92814"/>
                    </a:moveTo>
                    <a:cubicBezTo>
                      <a:pt x="327662" y="92814"/>
                      <a:pt x="374879" y="112371"/>
                      <a:pt x="409702" y="147175"/>
                    </a:cubicBezTo>
                    <a:cubicBezTo>
                      <a:pt x="444507" y="182001"/>
                      <a:pt x="464064" y="229216"/>
                      <a:pt x="464064" y="278439"/>
                    </a:cubicBezTo>
                    <a:cubicBezTo>
                      <a:pt x="464064" y="327661"/>
                      <a:pt x="444507" y="374879"/>
                      <a:pt x="409702" y="409702"/>
                    </a:cubicBezTo>
                    <a:cubicBezTo>
                      <a:pt x="374877" y="444507"/>
                      <a:pt x="327661" y="464064"/>
                      <a:pt x="278439" y="464064"/>
                    </a:cubicBezTo>
                    <a:cubicBezTo>
                      <a:pt x="229216" y="464064"/>
                      <a:pt x="181999" y="444507"/>
                      <a:pt x="147175" y="409702"/>
                    </a:cubicBezTo>
                    <a:cubicBezTo>
                      <a:pt x="112371" y="374877"/>
                      <a:pt x="92814" y="327661"/>
                      <a:pt x="92814" y="278439"/>
                    </a:cubicBezTo>
                    <a:cubicBezTo>
                      <a:pt x="92876" y="229215"/>
                      <a:pt x="112453" y="182041"/>
                      <a:pt x="147239" y="147239"/>
                    </a:cubicBezTo>
                    <a:cubicBezTo>
                      <a:pt x="182044" y="112455"/>
                      <a:pt x="229216" y="92877"/>
                      <a:pt x="278439" y="92814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29" name="Google Shape;9510;p5">
                <a:extLst>
                  <a:ext uri="{FF2B5EF4-FFF2-40B4-BE49-F238E27FC236}">
                    <a16:creationId xmlns:a16="http://schemas.microsoft.com/office/drawing/2014/main" id="{1027A2B6-626E-470F-7A97-9D6CE970089F}"/>
                  </a:ext>
                </a:extLst>
              </p:cNvPr>
              <p:cNvSpPr/>
              <p:nvPr/>
            </p:nvSpPr>
            <p:spPr>
              <a:xfrm>
                <a:off x="-14366875" y="10648547"/>
                <a:ext cx="928130" cy="1770250"/>
              </a:xfrm>
              <a:custGeom>
                <a:avLst/>
                <a:gdLst/>
                <a:ahLst/>
                <a:cxnLst/>
                <a:rect l="l" t="t" r="r" b="b"/>
                <a:pathLst>
                  <a:path w="928130" h="1770250" extrusionOk="0">
                    <a:moveTo>
                      <a:pt x="15" y="285253"/>
                    </a:moveTo>
                    <a:lnTo>
                      <a:pt x="15" y="981346"/>
                    </a:lnTo>
                    <a:cubicBezTo>
                      <a:pt x="56" y="1010102"/>
                      <a:pt x="9006" y="1038153"/>
                      <a:pt x="25621" y="1061627"/>
                    </a:cubicBezTo>
                    <a:cubicBezTo>
                      <a:pt x="42236" y="1085100"/>
                      <a:pt x="65709" y="1102853"/>
                      <a:pt x="92828" y="1112445"/>
                    </a:cubicBezTo>
                    <a:lnTo>
                      <a:pt x="92828" y="1607831"/>
                    </a:lnTo>
                    <a:cubicBezTo>
                      <a:pt x="92828" y="1665857"/>
                      <a:pt x="123779" y="1719476"/>
                      <a:pt x="174036" y="1748497"/>
                    </a:cubicBezTo>
                    <a:cubicBezTo>
                      <a:pt x="224296" y="1777502"/>
                      <a:pt x="286196" y="1777502"/>
                      <a:pt x="336458" y="1748497"/>
                    </a:cubicBezTo>
                    <a:cubicBezTo>
                      <a:pt x="386718" y="1719473"/>
                      <a:pt x="417666" y="1665857"/>
                      <a:pt x="417666" y="1607831"/>
                    </a:cubicBezTo>
                    <a:lnTo>
                      <a:pt x="417666" y="1120565"/>
                    </a:lnTo>
                    <a:lnTo>
                      <a:pt x="510479" y="1120565"/>
                    </a:lnTo>
                    <a:lnTo>
                      <a:pt x="510479" y="1607831"/>
                    </a:lnTo>
                    <a:cubicBezTo>
                      <a:pt x="510479" y="1665857"/>
                      <a:pt x="541430" y="1719476"/>
                      <a:pt x="591687" y="1748497"/>
                    </a:cubicBezTo>
                    <a:cubicBezTo>
                      <a:pt x="641947" y="1777502"/>
                      <a:pt x="703847" y="1777502"/>
                      <a:pt x="754109" y="1748497"/>
                    </a:cubicBezTo>
                    <a:cubicBezTo>
                      <a:pt x="804369" y="1719473"/>
                      <a:pt x="835317" y="1665857"/>
                      <a:pt x="835317" y="1607831"/>
                    </a:cubicBezTo>
                    <a:lnTo>
                      <a:pt x="835317" y="1112445"/>
                    </a:lnTo>
                    <a:cubicBezTo>
                      <a:pt x="862436" y="1102853"/>
                      <a:pt x="885909" y="1085099"/>
                      <a:pt x="902524" y="1061627"/>
                    </a:cubicBezTo>
                    <a:cubicBezTo>
                      <a:pt x="919140" y="1038154"/>
                      <a:pt x="928089" y="1010103"/>
                      <a:pt x="928130" y="981346"/>
                    </a:cubicBezTo>
                    <a:lnTo>
                      <a:pt x="928130" y="285253"/>
                    </a:lnTo>
                    <a:cubicBezTo>
                      <a:pt x="928089" y="226850"/>
                      <a:pt x="912323" y="169550"/>
                      <a:pt x="882470" y="119352"/>
                    </a:cubicBezTo>
                    <a:cubicBezTo>
                      <a:pt x="852616" y="69153"/>
                      <a:pt x="809816" y="27929"/>
                      <a:pt x="758520" y="0"/>
                    </a:cubicBezTo>
                    <a:cubicBezTo>
                      <a:pt x="738424" y="26207"/>
                      <a:pt x="714931" y="49659"/>
                      <a:pt x="688661" y="69694"/>
                    </a:cubicBezTo>
                    <a:cubicBezTo>
                      <a:pt x="731856" y="86827"/>
                      <a:pt x="768941" y="116535"/>
                      <a:pt x="795083" y="154965"/>
                    </a:cubicBezTo>
                    <a:cubicBezTo>
                      <a:pt x="821228" y="193395"/>
                      <a:pt x="835253" y="238767"/>
                      <a:pt x="835315" y="285253"/>
                    </a:cubicBezTo>
                    <a:lnTo>
                      <a:pt x="835315" y="981346"/>
                    </a:lnTo>
                    <a:cubicBezTo>
                      <a:pt x="835295" y="1006973"/>
                      <a:pt x="814536" y="1027732"/>
                      <a:pt x="788909" y="1027753"/>
                    </a:cubicBezTo>
                    <a:lnTo>
                      <a:pt x="696097" y="1027753"/>
                    </a:lnTo>
                    <a:lnTo>
                      <a:pt x="696097" y="656503"/>
                    </a:lnTo>
                    <a:cubicBezTo>
                      <a:pt x="696097" y="630876"/>
                      <a:pt x="675317" y="610096"/>
                      <a:pt x="649690" y="610096"/>
                    </a:cubicBezTo>
                    <a:cubicBezTo>
                      <a:pt x="624063" y="610096"/>
                      <a:pt x="603284" y="630876"/>
                      <a:pt x="603284" y="656503"/>
                    </a:cubicBezTo>
                    <a:lnTo>
                      <a:pt x="603284" y="1027753"/>
                    </a:lnTo>
                    <a:lnTo>
                      <a:pt x="324847" y="1027753"/>
                    </a:lnTo>
                    <a:lnTo>
                      <a:pt x="324847" y="656503"/>
                    </a:lnTo>
                    <a:cubicBezTo>
                      <a:pt x="324847" y="630876"/>
                      <a:pt x="304067" y="610096"/>
                      <a:pt x="278440" y="610096"/>
                    </a:cubicBezTo>
                    <a:cubicBezTo>
                      <a:pt x="252813" y="610096"/>
                      <a:pt x="232034" y="630876"/>
                      <a:pt x="232034" y="656503"/>
                    </a:cubicBezTo>
                    <a:lnTo>
                      <a:pt x="232034" y="1027753"/>
                    </a:lnTo>
                    <a:lnTo>
                      <a:pt x="139222" y="1027753"/>
                    </a:lnTo>
                    <a:cubicBezTo>
                      <a:pt x="113595" y="1027732"/>
                      <a:pt x="92836" y="1006973"/>
                      <a:pt x="92815" y="981346"/>
                    </a:cubicBezTo>
                    <a:lnTo>
                      <a:pt x="92815" y="285253"/>
                    </a:lnTo>
                    <a:cubicBezTo>
                      <a:pt x="92877" y="238764"/>
                      <a:pt x="106903" y="193395"/>
                      <a:pt x="133047" y="154965"/>
                    </a:cubicBezTo>
                    <a:cubicBezTo>
                      <a:pt x="159193" y="116535"/>
                      <a:pt x="196277" y="86825"/>
                      <a:pt x="239469" y="69715"/>
                    </a:cubicBezTo>
                    <a:cubicBezTo>
                      <a:pt x="213200" y="49662"/>
                      <a:pt x="189707" y="26210"/>
                      <a:pt x="169610" y="0"/>
                    </a:cubicBezTo>
                    <a:cubicBezTo>
                      <a:pt x="118315" y="27927"/>
                      <a:pt x="75514" y="69153"/>
                      <a:pt x="45661" y="119352"/>
                    </a:cubicBezTo>
                    <a:cubicBezTo>
                      <a:pt x="15807" y="169550"/>
                      <a:pt x="41" y="226855"/>
                      <a:pt x="0" y="285253"/>
                    </a:cubicBezTo>
                    <a:close/>
                    <a:moveTo>
                      <a:pt x="603296" y="1120565"/>
                    </a:moveTo>
                    <a:lnTo>
                      <a:pt x="742515" y="1120565"/>
                    </a:lnTo>
                    <a:lnTo>
                      <a:pt x="742515" y="1607831"/>
                    </a:lnTo>
                    <a:cubicBezTo>
                      <a:pt x="742515" y="1646282"/>
                      <a:pt x="711356" y="1677440"/>
                      <a:pt x="672906" y="1677440"/>
                    </a:cubicBezTo>
                    <a:cubicBezTo>
                      <a:pt x="634455" y="1677440"/>
                      <a:pt x="603296" y="1646282"/>
                      <a:pt x="603296" y="1607831"/>
                    </a:cubicBezTo>
                    <a:close/>
                    <a:moveTo>
                      <a:pt x="185640" y="1120565"/>
                    </a:moveTo>
                    <a:lnTo>
                      <a:pt x="324859" y="1120565"/>
                    </a:lnTo>
                    <a:lnTo>
                      <a:pt x="324859" y="1607831"/>
                    </a:lnTo>
                    <a:cubicBezTo>
                      <a:pt x="324859" y="1646282"/>
                      <a:pt x="293700" y="1677440"/>
                      <a:pt x="255249" y="1677440"/>
                    </a:cubicBezTo>
                    <a:cubicBezTo>
                      <a:pt x="216798" y="1677440"/>
                      <a:pt x="185640" y="1646282"/>
                      <a:pt x="185640" y="160783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0" name="Google Shape;9511;p5">
                <a:extLst>
                  <a:ext uri="{FF2B5EF4-FFF2-40B4-BE49-F238E27FC236}">
                    <a16:creationId xmlns:a16="http://schemas.microsoft.com/office/drawing/2014/main" id="{EB0B203B-7715-F239-7923-CFAAB51AFC1E}"/>
                  </a:ext>
                </a:extLst>
              </p:cNvPr>
              <p:cNvSpPr/>
              <p:nvPr/>
            </p:nvSpPr>
            <p:spPr>
              <a:xfrm>
                <a:off x="-13995603" y="9448801"/>
                <a:ext cx="324838" cy="417654"/>
              </a:xfrm>
              <a:custGeom>
                <a:avLst/>
                <a:gdLst/>
                <a:ahLst/>
                <a:cxnLst/>
                <a:rect l="l" t="t" r="r" b="b"/>
                <a:pathLst>
                  <a:path w="324838" h="417654" extrusionOk="0">
                    <a:moveTo>
                      <a:pt x="139212" y="324842"/>
                    </a:moveTo>
                    <a:lnTo>
                      <a:pt x="139212" y="323910"/>
                    </a:lnTo>
                    <a:cubicBezTo>
                      <a:pt x="144412" y="323785"/>
                      <a:pt x="149612" y="323972"/>
                      <a:pt x="154771" y="324427"/>
                    </a:cubicBezTo>
                    <a:lnTo>
                      <a:pt x="159577" y="324759"/>
                    </a:lnTo>
                    <a:cubicBezTo>
                      <a:pt x="201467" y="327266"/>
                      <a:pt x="242509" y="312163"/>
                      <a:pt x="272776" y="283076"/>
                    </a:cubicBezTo>
                    <a:cubicBezTo>
                      <a:pt x="305965" y="251731"/>
                      <a:pt x="324797" y="208078"/>
                      <a:pt x="324838" y="162420"/>
                    </a:cubicBezTo>
                    <a:cubicBezTo>
                      <a:pt x="324838" y="104393"/>
                      <a:pt x="293887" y="50774"/>
                      <a:pt x="243630" y="21753"/>
                    </a:cubicBezTo>
                    <a:cubicBezTo>
                      <a:pt x="193370" y="-7251"/>
                      <a:pt x="131470" y="-7251"/>
                      <a:pt x="81208" y="21753"/>
                    </a:cubicBezTo>
                    <a:cubicBezTo>
                      <a:pt x="30948" y="50778"/>
                      <a:pt x="0" y="104393"/>
                      <a:pt x="0" y="162420"/>
                    </a:cubicBezTo>
                    <a:cubicBezTo>
                      <a:pt x="0" y="188047"/>
                      <a:pt x="20779" y="208826"/>
                      <a:pt x="46406" y="208826"/>
                    </a:cubicBezTo>
                    <a:cubicBezTo>
                      <a:pt x="72033" y="208826"/>
                      <a:pt x="92813" y="188047"/>
                      <a:pt x="92813" y="162420"/>
                    </a:cubicBezTo>
                    <a:cubicBezTo>
                      <a:pt x="92813" y="123969"/>
                      <a:pt x="123971" y="92810"/>
                      <a:pt x="162422" y="92810"/>
                    </a:cubicBezTo>
                    <a:cubicBezTo>
                      <a:pt x="200873" y="92810"/>
                      <a:pt x="232031" y="123969"/>
                      <a:pt x="232031" y="162420"/>
                    </a:cubicBezTo>
                    <a:cubicBezTo>
                      <a:pt x="232011" y="182495"/>
                      <a:pt x="223765" y="201678"/>
                      <a:pt x="209201" y="215477"/>
                    </a:cubicBezTo>
                    <a:cubicBezTo>
                      <a:pt x="197496" y="226912"/>
                      <a:pt x="181565" y="232941"/>
                      <a:pt x="165239" y="232112"/>
                    </a:cubicBezTo>
                    <a:lnTo>
                      <a:pt x="161551" y="231843"/>
                    </a:lnTo>
                    <a:lnTo>
                      <a:pt x="161531" y="231864"/>
                    </a:lnTo>
                    <a:cubicBezTo>
                      <a:pt x="130393" y="226830"/>
                      <a:pt x="98572" y="235137"/>
                      <a:pt x="73900" y="254797"/>
                    </a:cubicBezTo>
                    <a:cubicBezTo>
                      <a:pt x="55130" y="273132"/>
                      <a:pt x="45103" y="298635"/>
                      <a:pt x="46408" y="324842"/>
                    </a:cubicBezTo>
                    <a:lnTo>
                      <a:pt x="46408" y="371248"/>
                    </a:lnTo>
                    <a:cubicBezTo>
                      <a:pt x="46408" y="396875"/>
                      <a:pt x="67188" y="417654"/>
                      <a:pt x="92815" y="417654"/>
                    </a:cubicBezTo>
                    <a:cubicBezTo>
                      <a:pt x="118441" y="417654"/>
                      <a:pt x="139221" y="396875"/>
                      <a:pt x="139221" y="37124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31" name="Google Shape;9512;p5">
                <a:extLst>
                  <a:ext uri="{FF2B5EF4-FFF2-40B4-BE49-F238E27FC236}">
                    <a16:creationId xmlns:a16="http://schemas.microsoft.com/office/drawing/2014/main" id="{5721EDCD-4475-E4C8-81F9-4EA7D144B9A2}"/>
                  </a:ext>
                </a:extLst>
              </p:cNvPr>
              <p:cNvSpPr/>
              <p:nvPr/>
            </p:nvSpPr>
            <p:spPr>
              <a:xfrm>
                <a:off x="-13949204" y="9912862"/>
                <a:ext cx="92812" cy="139218"/>
              </a:xfrm>
              <a:custGeom>
                <a:avLst/>
                <a:gdLst/>
                <a:ahLst/>
                <a:cxnLst/>
                <a:rect l="l" t="t" r="r" b="b"/>
                <a:pathLst>
                  <a:path w="92812" h="139218" extrusionOk="0">
                    <a:moveTo>
                      <a:pt x="46406" y="0"/>
                    </a:moveTo>
                    <a:cubicBezTo>
                      <a:pt x="20779" y="0"/>
                      <a:pt x="0" y="20779"/>
                      <a:pt x="0" y="46406"/>
                    </a:cubicBezTo>
                    <a:lnTo>
                      <a:pt x="0" y="92813"/>
                    </a:lnTo>
                    <a:cubicBezTo>
                      <a:pt x="0" y="118439"/>
                      <a:pt x="20779" y="139219"/>
                      <a:pt x="46406" y="139219"/>
                    </a:cubicBezTo>
                    <a:cubicBezTo>
                      <a:pt x="72033" y="139219"/>
                      <a:pt x="92813" y="118439"/>
                      <a:pt x="92813" y="92813"/>
                    </a:cubicBezTo>
                    <a:lnTo>
                      <a:pt x="92813" y="46406"/>
                    </a:lnTo>
                    <a:cubicBezTo>
                      <a:pt x="92813" y="20779"/>
                      <a:pt x="72033" y="0"/>
                      <a:pt x="4640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2" name="Google Shape;9513;p5">
                <a:extLst>
                  <a:ext uri="{FF2B5EF4-FFF2-40B4-BE49-F238E27FC236}">
                    <a16:creationId xmlns:a16="http://schemas.microsoft.com/office/drawing/2014/main" id="{7D3518F0-203F-D3A8-09B7-829F949390B4}"/>
                  </a:ext>
                </a:extLst>
              </p:cNvPr>
              <p:cNvSpPr/>
              <p:nvPr/>
            </p:nvSpPr>
            <p:spPr>
              <a:xfrm>
                <a:off x="-15387813" y="10648552"/>
                <a:ext cx="928130" cy="1770250"/>
              </a:xfrm>
              <a:custGeom>
                <a:avLst/>
                <a:gdLst/>
                <a:ahLst/>
                <a:cxnLst/>
                <a:rect l="l" t="t" r="r" b="b"/>
                <a:pathLst>
                  <a:path w="928130" h="1770250" extrusionOk="0">
                    <a:moveTo>
                      <a:pt x="92828" y="1112445"/>
                    </a:moveTo>
                    <a:lnTo>
                      <a:pt x="92828" y="1607831"/>
                    </a:lnTo>
                    <a:cubicBezTo>
                      <a:pt x="92828" y="1665857"/>
                      <a:pt x="123779" y="1719476"/>
                      <a:pt x="174036" y="1748497"/>
                    </a:cubicBezTo>
                    <a:cubicBezTo>
                      <a:pt x="224296" y="1777502"/>
                      <a:pt x="286196" y="1777502"/>
                      <a:pt x="336458" y="1748497"/>
                    </a:cubicBezTo>
                    <a:cubicBezTo>
                      <a:pt x="386718" y="1719472"/>
                      <a:pt x="417666" y="1665857"/>
                      <a:pt x="417666" y="1607831"/>
                    </a:cubicBezTo>
                    <a:lnTo>
                      <a:pt x="417666" y="1120565"/>
                    </a:lnTo>
                    <a:lnTo>
                      <a:pt x="510479" y="1120565"/>
                    </a:lnTo>
                    <a:lnTo>
                      <a:pt x="510479" y="1607831"/>
                    </a:lnTo>
                    <a:cubicBezTo>
                      <a:pt x="510479" y="1665857"/>
                      <a:pt x="541430" y="1719476"/>
                      <a:pt x="591687" y="1748497"/>
                    </a:cubicBezTo>
                    <a:cubicBezTo>
                      <a:pt x="641947" y="1777502"/>
                      <a:pt x="703847" y="1777502"/>
                      <a:pt x="754109" y="1748497"/>
                    </a:cubicBezTo>
                    <a:cubicBezTo>
                      <a:pt x="804369" y="1719472"/>
                      <a:pt x="835317" y="1665857"/>
                      <a:pt x="835317" y="1607831"/>
                    </a:cubicBezTo>
                    <a:lnTo>
                      <a:pt x="835317" y="1112445"/>
                    </a:lnTo>
                    <a:cubicBezTo>
                      <a:pt x="862436" y="1102853"/>
                      <a:pt x="885909" y="1085099"/>
                      <a:pt x="902524" y="1061627"/>
                    </a:cubicBezTo>
                    <a:cubicBezTo>
                      <a:pt x="919140" y="1038154"/>
                      <a:pt x="928089" y="1010103"/>
                      <a:pt x="928130" y="981346"/>
                    </a:cubicBezTo>
                    <a:lnTo>
                      <a:pt x="928130" y="285253"/>
                    </a:lnTo>
                    <a:cubicBezTo>
                      <a:pt x="928089" y="226850"/>
                      <a:pt x="912323" y="169550"/>
                      <a:pt x="882470" y="119352"/>
                    </a:cubicBezTo>
                    <a:cubicBezTo>
                      <a:pt x="852616" y="69153"/>
                      <a:pt x="809816" y="27929"/>
                      <a:pt x="758520" y="0"/>
                    </a:cubicBezTo>
                    <a:cubicBezTo>
                      <a:pt x="738424" y="26207"/>
                      <a:pt x="714931" y="49659"/>
                      <a:pt x="688661" y="69694"/>
                    </a:cubicBezTo>
                    <a:cubicBezTo>
                      <a:pt x="731856" y="86827"/>
                      <a:pt x="768941" y="116535"/>
                      <a:pt x="795083" y="154965"/>
                    </a:cubicBezTo>
                    <a:cubicBezTo>
                      <a:pt x="821228" y="193395"/>
                      <a:pt x="835253" y="238767"/>
                      <a:pt x="835315" y="285253"/>
                    </a:cubicBezTo>
                    <a:lnTo>
                      <a:pt x="835315" y="981346"/>
                    </a:lnTo>
                    <a:cubicBezTo>
                      <a:pt x="835294" y="1006973"/>
                      <a:pt x="814536" y="1027732"/>
                      <a:pt x="788909" y="1027753"/>
                    </a:cubicBezTo>
                    <a:lnTo>
                      <a:pt x="696096" y="1027753"/>
                    </a:lnTo>
                    <a:lnTo>
                      <a:pt x="696096" y="656503"/>
                    </a:lnTo>
                    <a:cubicBezTo>
                      <a:pt x="696096" y="630876"/>
                      <a:pt x="675317" y="610096"/>
                      <a:pt x="649690" y="610096"/>
                    </a:cubicBezTo>
                    <a:cubicBezTo>
                      <a:pt x="624063" y="610096"/>
                      <a:pt x="603284" y="630876"/>
                      <a:pt x="603284" y="656503"/>
                    </a:cubicBezTo>
                    <a:lnTo>
                      <a:pt x="603284" y="1027753"/>
                    </a:lnTo>
                    <a:lnTo>
                      <a:pt x="324846" y="1027753"/>
                    </a:lnTo>
                    <a:lnTo>
                      <a:pt x="324846" y="656503"/>
                    </a:lnTo>
                    <a:cubicBezTo>
                      <a:pt x="324846" y="630876"/>
                      <a:pt x="304067" y="610096"/>
                      <a:pt x="278440" y="610096"/>
                    </a:cubicBezTo>
                    <a:cubicBezTo>
                      <a:pt x="252813" y="610096"/>
                      <a:pt x="232034" y="630876"/>
                      <a:pt x="232034" y="656503"/>
                    </a:cubicBezTo>
                    <a:lnTo>
                      <a:pt x="232034" y="1027753"/>
                    </a:lnTo>
                    <a:lnTo>
                      <a:pt x="139221" y="1027753"/>
                    </a:lnTo>
                    <a:cubicBezTo>
                      <a:pt x="113595" y="1027732"/>
                      <a:pt x="92836" y="1006973"/>
                      <a:pt x="92815" y="981346"/>
                    </a:cubicBezTo>
                    <a:lnTo>
                      <a:pt x="92815" y="285253"/>
                    </a:lnTo>
                    <a:cubicBezTo>
                      <a:pt x="92877" y="238764"/>
                      <a:pt x="106903" y="193395"/>
                      <a:pt x="133048" y="154965"/>
                    </a:cubicBezTo>
                    <a:cubicBezTo>
                      <a:pt x="159193" y="116535"/>
                      <a:pt x="196277" y="86825"/>
                      <a:pt x="239469" y="69715"/>
                    </a:cubicBezTo>
                    <a:cubicBezTo>
                      <a:pt x="213200" y="49662"/>
                      <a:pt x="189707" y="26210"/>
                      <a:pt x="169610" y="0"/>
                    </a:cubicBezTo>
                    <a:cubicBezTo>
                      <a:pt x="118315" y="27926"/>
                      <a:pt x="75514" y="69153"/>
                      <a:pt x="45661" y="119352"/>
                    </a:cubicBezTo>
                    <a:cubicBezTo>
                      <a:pt x="15807" y="169550"/>
                      <a:pt x="41" y="226855"/>
                      <a:pt x="0" y="285253"/>
                    </a:cubicBezTo>
                    <a:lnTo>
                      <a:pt x="0" y="981346"/>
                    </a:lnTo>
                    <a:cubicBezTo>
                      <a:pt x="41" y="1010102"/>
                      <a:pt x="8991" y="1038153"/>
                      <a:pt x="25606" y="1061627"/>
                    </a:cubicBezTo>
                    <a:cubicBezTo>
                      <a:pt x="42221" y="1085100"/>
                      <a:pt x="65694" y="1102853"/>
                      <a:pt x="92813" y="1112445"/>
                    </a:cubicBezTo>
                    <a:close/>
                    <a:moveTo>
                      <a:pt x="603297" y="1120566"/>
                    </a:moveTo>
                    <a:lnTo>
                      <a:pt x="742515" y="1120566"/>
                    </a:lnTo>
                    <a:lnTo>
                      <a:pt x="742515" y="1607832"/>
                    </a:lnTo>
                    <a:cubicBezTo>
                      <a:pt x="742515" y="1646283"/>
                      <a:pt x="711357" y="1677441"/>
                      <a:pt x="672906" y="1677441"/>
                    </a:cubicBezTo>
                    <a:cubicBezTo>
                      <a:pt x="634455" y="1677441"/>
                      <a:pt x="603297" y="1646283"/>
                      <a:pt x="603297" y="1607832"/>
                    </a:cubicBezTo>
                    <a:close/>
                    <a:moveTo>
                      <a:pt x="185640" y="1120566"/>
                    </a:moveTo>
                    <a:lnTo>
                      <a:pt x="324859" y="1120566"/>
                    </a:lnTo>
                    <a:lnTo>
                      <a:pt x="324859" y="1607832"/>
                    </a:lnTo>
                    <a:cubicBezTo>
                      <a:pt x="324859" y="1646283"/>
                      <a:pt x="293701" y="1677441"/>
                      <a:pt x="255250" y="1677441"/>
                    </a:cubicBezTo>
                    <a:cubicBezTo>
                      <a:pt x="216799" y="1677441"/>
                      <a:pt x="185640" y="1646283"/>
                      <a:pt x="185640" y="1607832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  <p:sp>
            <p:nvSpPr>
              <p:cNvPr id="9473" name="Google Shape;9514;p5">
                <a:extLst>
                  <a:ext uri="{FF2B5EF4-FFF2-40B4-BE49-F238E27FC236}">
                    <a16:creationId xmlns:a16="http://schemas.microsoft.com/office/drawing/2014/main" id="{15F3E91B-367E-A154-987E-4A6645803149}"/>
                  </a:ext>
                </a:extLst>
              </p:cNvPr>
              <p:cNvSpPr/>
              <p:nvPr/>
            </p:nvSpPr>
            <p:spPr>
              <a:xfrm>
                <a:off x="-15202173" y="10144893"/>
                <a:ext cx="556875" cy="556875"/>
              </a:xfrm>
              <a:custGeom>
                <a:avLst/>
                <a:gdLst/>
                <a:ahLst/>
                <a:cxnLst/>
                <a:rect l="l" t="t" r="r" b="b"/>
                <a:pathLst>
                  <a:path w="556875" h="556875" extrusionOk="0">
                    <a:moveTo>
                      <a:pt x="278438" y="556875"/>
                    </a:moveTo>
                    <a:cubicBezTo>
                      <a:pt x="352295" y="556875"/>
                      <a:pt x="423103" y="527540"/>
                      <a:pt x="475333" y="475333"/>
                    </a:cubicBezTo>
                    <a:cubicBezTo>
                      <a:pt x="527540" y="423105"/>
                      <a:pt x="556875" y="352295"/>
                      <a:pt x="556875" y="278438"/>
                    </a:cubicBezTo>
                    <a:cubicBezTo>
                      <a:pt x="556875" y="204580"/>
                      <a:pt x="527540" y="133772"/>
                      <a:pt x="475333" y="81542"/>
                    </a:cubicBezTo>
                    <a:cubicBezTo>
                      <a:pt x="423105" y="29335"/>
                      <a:pt x="352295" y="0"/>
                      <a:pt x="278438" y="0"/>
                    </a:cubicBezTo>
                    <a:cubicBezTo>
                      <a:pt x="204580" y="0"/>
                      <a:pt x="133772" y="29335"/>
                      <a:pt x="81542" y="81542"/>
                    </a:cubicBezTo>
                    <a:cubicBezTo>
                      <a:pt x="29335" y="133770"/>
                      <a:pt x="0" y="204580"/>
                      <a:pt x="0" y="278438"/>
                    </a:cubicBezTo>
                    <a:cubicBezTo>
                      <a:pt x="83" y="352253"/>
                      <a:pt x="29439" y="423023"/>
                      <a:pt x="81648" y="475227"/>
                    </a:cubicBezTo>
                    <a:cubicBezTo>
                      <a:pt x="133858" y="527430"/>
                      <a:pt x="204628" y="556790"/>
                      <a:pt x="278438" y="556875"/>
                    </a:cubicBezTo>
                    <a:close/>
                    <a:moveTo>
                      <a:pt x="278438" y="92813"/>
                    </a:moveTo>
                    <a:cubicBezTo>
                      <a:pt x="327661" y="92813"/>
                      <a:pt x="374878" y="112369"/>
                      <a:pt x="409701" y="147174"/>
                    </a:cubicBezTo>
                    <a:cubicBezTo>
                      <a:pt x="444506" y="182000"/>
                      <a:pt x="464063" y="229215"/>
                      <a:pt x="464063" y="278438"/>
                    </a:cubicBezTo>
                    <a:cubicBezTo>
                      <a:pt x="464063" y="327660"/>
                      <a:pt x="444506" y="374878"/>
                      <a:pt x="409701" y="409701"/>
                    </a:cubicBezTo>
                    <a:cubicBezTo>
                      <a:pt x="374876" y="444506"/>
                      <a:pt x="327660" y="464063"/>
                      <a:pt x="278438" y="464063"/>
                    </a:cubicBezTo>
                    <a:cubicBezTo>
                      <a:pt x="229215" y="464063"/>
                      <a:pt x="181997" y="444506"/>
                      <a:pt x="147174" y="409701"/>
                    </a:cubicBezTo>
                    <a:cubicBezTo>
                      <a:pt x="112369" y="374876"/>
                      <a:pt x="92813" y="327660"/>
                      <a:pt x="92813" y="278438"/>
                    </a:cubicBezTo>
                    <a:cubicBezTo>
                      <a:pt x="92875" y="229214"/>
                      <a:pt x="112452" y="182040"/>
                      <a:pt x="147238" y="147238"/>
                    </a:cubicBezTo>
                    <a:cubicBezTo>
                      <a:pt x="182042" y="112454"/>
                      <a:pt x="229215" y="92876"/>
                      <a:pt x="278438" y="9281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303540"/>
                  </a:solidFill>
                  <a:effectLst/>
                  <a:uLnTx/>
                  <a:uFillTx/>
                  <a:latin typeface="Trebuchet MS"/>
                  <a:ea typeface="Trebuchet MS"/>
                  <a:cs typeface="Trebuchet MS"/>
                  <a:sym typeface="Trebuchet MS"/>
                </a:endParaRPr>
              </a:p>
            </p:txBody>
          </p:sp>
        </p:grpSp>
      </p:grpSp>
      <p:grpSp>
        <p:nvGrpSpPr>
          <p:cNvPr id="9535" name="Group 9534">
            <a:extLst>
              <a:ext uri="{FF2B5EF4-FFF2-40B4-BE49-F238E27FC236}">
                <a16:creationId xmlns:a16="http://schemas.microsoft.com/office/drawing/2014/main" id="{04A49D0A-B19F-A3DB-6A1A-5A08CA7A4719}"/>
              </a:ext>
            </a:extLst>
          </p:cNvPr>
          <p:cNvGrpSpPr/>
          <p:nvPr/>
        </p:nvGrpSpPr>
        <p:grpSpPr>
          <a:xfrm>
            <a:off x="476251" y="3801484"/>
            <a:ext cx="863600" cy="863600"/>
            <a:chOff x="476251" y="3870625"/>
            <a:chExt cx="863600" cy="863600"/>
          </a:xfrm>
        </p:grpSpPr>
        <p:sp>
          <p:nvSpPr>
            <p:cNvPr id="9520" name="Oval 9519">
              <a:extLst>
                <a:ext uri="{FF2B5EF4-FFF2-40B4-BE49-F238E27FC236}">
                  <a16:creationId xmlns:a16="http://schemas.microsoft.com/office/drawing/2014/main" id="{A36123D2-8F1A-90D4-79F0-6FD5E45089E0}"/>
                </a:ext>
              </a:extLst>
            </p:cNvPr>
            <p:cNvSpPr/>
            <p:nvPr/>
          </p:nvSpPr>
          <p:spPr>
            <a:xfrm>
              <a:off x="476251" y="3870625"/>
              <a:ext cx="863600" cy="863600"/>
            </a:xfrm>
            <a:prstGeom prst="ellipse">
              <a:avLst/>
            </a:prstGeom>
            <a:gradFill>
              <a:gsLst>
                <a:gs pos="0">
                  <a:schemeClr val="accent1">
                    <a:lumMod val="5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9494" name="Graphic 2">
              <a:extLst>
                <a:ext uri="{FF2B5EF4-FFF2-40B4-BE49-F238E27FC236}">
                  <a16:creationId xmlns:a16="http://schemas.microsoft.com/office/drawing/2014/main" id="{CB14C512-DDDC-F674-AB99-ECA5F068B576}"/>
                </a:ext>
              </a:extLst>
            </p:cNvPr>
            <p:cNvGrpSpPr/>
            <p:nvPr/>
          </p:nvGrpSpPr>
          <p:grpSpPr>
            <a:xfrm>
              <a:off x="696973" y="4091347"/>
              <a:ext cx="422157" cy="422157"/>
              <a:chOff x="5800725" y="3057525"/>
              <a:chExt cx="590550" cy="590550"/>
            </a:xfrm>
            <a:solidFill>
              <a:schemeClr val="bg1"/>
            </a:solidFill>
          </p:grpSpPr>
          <p:sp>
            <p:nvSpPr>
              <p:cNvPr id="9495" name="Freeform: Shape 9494">
                <a:extLst>
                  <a:ext uri="{FF2B5EF4-FFF2-40B4-BE49-F238E27FC236}">
                    <a16:creationId xmlns:a16="http://schemas.microsoft.com/office/drawing/2014/main" id="{8AED6572-8C18-F31A-2938-E1F60B79618D}"/>
                  </a:ext>
                </a:extLst>
              </p:cNvPr>
              <p:cNvSpPr/>
              <p:nvPr/>
            </p:nvSpPr>
            <p:spPr>
              <a:xfrm>
                <a:off x="5800725" y="3057525"/>
                <a:ext cx="590550" cy="590550"/>
              </a:xfrm>
              <a:custGeom>
                <a:avLst/>
                <a:gdLst>
                  <a:gd name="connsiteX0" fmla="*/ 542925 w 590550"/>
                  <a:gd name="connsiteY0" fmla="*/ 0 h 590550"/>
                  <a:gd name="connsiteX1" fmla="*/ 104775 w 590550"/>
                  <a:gd name="connsiteY1" fmla="*/ 0 h 590550"/>
                  <a:gd name="connsiteX2" fmla="*/ 57150 w 590550"/>
                  <a:gd name="connsiteY2" fmla="*/ 47625 h 590550"/>
                  <a:gd name="connsiteX3" fmla="*/ 57150 w 590550"/>
                  <a:gd name="connsiteY3" fmla="*/ 292437 h 590550"/>
                  <a:gd name="connsiteX4" fmla="*/ 38100 w 590550"/>
                  <a:gd name="connsiteY4" fmla="*/ 327222 h 590550"/>
                  <a:gd name="connsiteX5" fmla="*/ 41062 w 590550"/>
                  <a:gd name="connsiteY5" fmla="*/ 342624 h 590550"/>
                  <a:gd name="connsiteX6" fmla="*/ 67294 w 590550"/>
                  <a:gd name="connsiteY6" fmla="*/ 408203 h 590550"/>
                  <a:gd name="connsiteX7" fmla="*/ 94536 w 590550"/>
                  <a:gd name="connsiteY7" fmla="*/ 434921 h 590550"/>
                  <a:gd name="connsiteX8" fmla="*/ 12659 w 590550"/>
                  <a:gd name="connsiteY8" fmla="*/ 516798 h 590550"/>
                  <a:gd name="connsiteX9" fmla="*/ 0 w 590550"/>
                  <a:gd name="connsiteY9" fmla="*/ 547345 h 590550"/>
                  <a:gd name="connsiteX10" fmla="*/ 43205 w 590550"/>
                  <a:gd name="connsiteY10" fmla="*/ 590550 h 590550"/>
                  <a:gd name="connsiteX11" fmla="*/ 73752 w 590550"/>
                  <a:gd name="connsiteY11" fmla="*/ 577891 h 590550"/>
                  <a:gd name="connsiteX12" fmla="*/ 158410 w 590550"/>
                  <a:gd name="connsiteY12" fmla="*/ 493233 h 590550"/>
                  <a:gd name="connsiteX13" fmla="*/ 238125 w 590550"/>
                  <a:gd name="connsiteY13" fmla="*/ 514350 h 590550"/>
                  <a:gd name="connsiteX14" fmla="*/ 361474 w 590550"/>
                  <a:gd name="connsiteY14" fmla="*/ 457200 h 590550"/>
                  <a:gd name="connsiteX15" fmla="*/ 476250 w 590550"/>
                  <a:gd name="connsiteY15" fmla="*/ 457200 h 590550"/>
                  <a:gd name="connsiteX16" fmla="*/ 495300 w 590550"/>
                  <a:gd name="connsiteY16" fmla="*/ 438150 h 590550"/>
                  <a:gd name="connsiteX17" fmla="*/ 495300 w 590550"/>
                  <a:gd name="connsiteY17" fmla="*/ 419100 h 590550"/>
                  <a:gd name="connsiteX18" fmla="*/ 476250 w 590550"/>
                  <a:gd name="connsiteY18" fmla="*/ 400050 h 590550"/>
                  <a:gd name="connsiteX19" fmla="*/ 457200 w 590550"/>
                  <a:gd name="connsiteY19" fmla="*/ 400050 h 590550"/>
                  <a:gd name="connsiteX20" fmla="*/ 457200 w 590550"/>
                  <a:gd name="connsiteY20" fmla="*/ 381000 h 590550"/>
                  <a:gd name="connsiteX21" fmla="*/ 542925 w 590550"/>
                  <a:gd name="connsiteY21" fmla="*/ 381000 h 590550"/>
                  <a:gd name="connsiteX22" fmla="*/ 590550 w 590550"/>
                  <a:gd name="connsiteY22" fmla="*/ 333375 h 590550"/>
                  <a:gd name="connsiteX23" fmla="*/ 590550 w 590550"/>
                  <a:gd name="connsiteY23" fmla="*/ 47625 h 590550"/>
                  <a:gd name="connsiteX24" fmla="*/ 542925 w 590550"/>
                  <a:gd name="connsiteY24" fmla="*/ 0 h 590550"/>
                  <a:gd name="connsiteX25" fmla="*/ 104775 w 590550"/>
                  <a:gd name="connsiteY25" fmla="*/ 19050 h 590550"/>
                  <a:gd name="connsiteX26" fmla="*/ 542925 w 590550"/>
                  <a:gd name="connsiteY26" fmla="*/ 19050 h 590550"/>
                  <a:gd name="connsiteX27" fmla="*/ 571500 w 590550"/>
                  <a:gd name="connsiteY27" fmla="*/ 47625 h 590550"/>
                  <a:gd name="connsiteX28" fmla="*/ 571500 w 590550"/>
                  <a:gd name="connsiteY28" fmla="*/ 304800 h 590550"/>
                  <a:gd name="connsiteX29" fmla="*/ 552450 w 590550"/>
                  <a:gd name="connsiteY29" fmla="*/ 304800 h 590550"/>
                  <a:gd name="connsiteX30" fmla="*/ 552450 w 590550"/>
                  <a:gd name="connsiteY30" fmla="*/ 57150 h 590550"/>
                  <a:gd name="connsiteX31" fmla="*/ 533400 w 590550"/>
                  <a:gd name="connsiteY31" fmla="*/ 38100 h 590550"/>
                  <a:gd name="connsiteX32" fmla="*/ 114300 w 590550"/>
                  <a:gd name="connsiteY32" fmla="*/ 38100 h 590550"/>
                  <a:gd name="connsiteX33" fmla="*/ 95250 w 590550"/>
                  <a:gd name="connsiteY33" fmla="*/ 57150 h 590550"/>
                  <a:gd name="connsiteX34" fmla="*/ 95250 w 590550"/>
                  <a:gd name="connsiteY34" fmla="*/ 276349 h 590550"/>
                  <a:gd name="connsiteX35" fmla="*/ 90649 w 590550"/>
                  <a:gd name="connsiteY35" fmla="*/ 285750 h 590550"/>
                  <a:gd name="connsiteX36" fmla="*/ 79572 w 590550"/>
                  <a:gd name="connsiteY36" fmla="*/ 285750 h 590550"/>
                  <a:gd name="connsiteX37" fmla="*/ 76200 w 590550"/>
                  <a:gd name="connsiteY37" fmla="*/ 285750 h 590550"/>
                  <a:gd name="connsiteX38" fmla="*/ 76200 w 590550"/>
                  <a:gd name="connsiteY38" fmla="*/ 47625 h 590550"/>
                  <a:gd name="connsiteX39" fmla="*/ 104775 w 590550"/>
                  <a:gd name="connsiteY39" fmla="*/ 19050 h 590550"/>
                  <a:gd name="connsiteX40" fmla="*/ 396678 w 590550"/>
                  <a:gd name="connsiteY40" fmla="*/ 285750 h 590550"/>
                  <a:gd name="connsiteX41" fmla="*/ 390525 w 590550"/>
                  <a:gd name="connsiteY41" fmla="*/ 285750 h 590550"/>
                  <a:gd name="connsiteX42" fmla="*/ 385601 w 590550"/>
                  <a:gd name="connsiteY42" fmla="*/ 285750 h 590550"/>
                  <a:gd name="connsiteX43" fmla="*/ 325155 w 590550"/>
                  <a:gd name="connsiteY43" fmla="*/ 215817 h 590550"/>
                  <a:gd name="connsiteX44" fmla="*/ 341738 w 590550"/>
                  <a:gd name="connsiteY44" fmla="*/ 205121 h 590550"/>
                  <a:gd name="connsiteX45" fmla="*/ 345253 w 590550"/>
                  <a:gd name="connsiteY45" fmla="*/ 201606 h 590550"/>
                  <a:gd name="connsiteX46" fmla="*/ 371475 w 590550"/>
                  <a:gd name="connsiteY46" fmla="*/ 209550 h 590550"/>
                  <a:gd name="connsiteX47" fmla="*/ 381000 w 590550"/>
                  <a:gd name="connsiteY47" fmla="*/ 209550 h 590550"/>
                  <a:gd name="connsiteX48" fmla="*/ 381000 w 590550"/>
                  <a:gd name="connsiteY48" fmla="*/ 228600 h 590550"/>
                  <a:gd name="connsiteX49" fmla="*/ 361950 w 590550"/>
                  <a:gd name="connsiteY49" fmla="*/ 228600 h 590550"/>
                  <a:gd name="connsiteX50" fmla="*/ 361950 w 590550"/>
                  <a:gd name="connsiteY50" fmla="*/ 247650 h 590550"/>
                  <a:gd name="connsiteX51" fmla="*/ 381000 w 590550"/>
                  <a:gd name="connsiteY51" fmla="*/ 247650 h 590550"/>
                  <a:gd name="connsiteX52" fmla="*/ 400050 w 590550"/>
                  <a:gd name="connsiteY52" fmla="*/ 228600 h 590550"/>
                  <a:gd name="connsiteX53" fmla="*/ 400050 w 590550"/>
                  <a:gd name="connsiteY53" fmla="*/ 209550 h 590550"/>
                  <a:gd name="connsiteX54" fmla="*/ 419100 w 590550"/>
                  <a:gd name="connsiteY54" fmla="*/ 209550 h 590550"/>
                  <a:gd name="connsiteX55" fmla="*/ 419100 w 590550"/>
                  <a:gd name="connsiteY55" fmla="*/ 247650 h 590550"/>
                  <a:gd name="connsiteX56" fmla="*/ 438150 w 590550"/>
                  <a:gd name="connsiteY56" fmla="*/ 247650 h 590550"/>
                  <a:gd name="connsiteX57" fmla="*/ 438150 w 590550"/>
                  <a:gd name="connsiteY57" fmla="*/ 209550 h 590550"/>
                  <a:gd name="connsiteX58" fmla="*/ 457200 w 590550"/>
                  <a:gd name="connsiteY58" fmla="*/ 209550 h 590550"/>
                  <a:gd name="connsiteX59" fmla="*/ 457200 w 590550"/>
                  <a:gd name="connsiteY59" fmla="*/ 228600 h 590550"/>
                  <a:gd name="connsiteX60" fmla="*/ 476250 w 590550"/>
                  <a:gd name="connsiteY60" fmla="*/ 247650 h 590550"/>
                  <a:gd name="connsiteX61" fmla="*/ 495300 w 590550"/>
                  <a:gd name="connsiteY61" fmla="*/ 247650 h 590550"/>
                  <a:gd name="connsiteX62" fmla="*/ 495300 w 590550"/>
                  <a:gd name="connsiteY62" fmla="*/ 228600 h 590550"/>
                  <a:gd name="connsiteX63" fmla="*/ 476250 w 590550"/>
                  <a:gd name="connsiteY63" fmla="*/ 228600 h 590550"/>
                  <a:gd name="connsiteX64" fmla="*/ 476250 w 590550"/>
                  <a:gd name="connsiteY64" fmla="*/ 208588 h 590550"/>
                  <a:gd name="connsiteX65" fmla="*/ 514350 w 590550"/>
                  <a:gd name="connsiteY65" fmla="*/ 161925 h 590550"/>
                  <a:gd name="connsiteX66" fmla="*/ 476250 w 590550"/>
                  <a:gd name="connsiteY66" fmla="*/ 115262 h 590550"/>
                  <a:gd name="connsiteX67" fmla="*/ 476250 w 590550"/>
                  <a:gd name="connsiteY67" fmla="*/ 95250 h 590550"/>
                  <a:gd name="connsiteX68" fmla="*/ 495300 w 590550"/>
                  <a:gd name="connsiteY68" fmla="*/ 95250 h 590550"/>
                  <a:gd name="connsiteX69" fmla="*/ 495300 w 590550"/>
                  <a:gd name="connsiteY69" fmla="*/ 76200 h 590550"/>
                  <a:gd name="connsiteX70" fmla="*/ 476250 w 590550"/>
                  <a:gd name="connsiteY70" fmla="*/ 76200 h 590550"/>
                  <a:gd name="connsiteX71" fmla="*/ 457200 w 590550"/>
                  <a:gd name="connsiteY71" fmla="*/ 95250 h 590550"/>
                  <a:gd name="connsiteX72" fmla="*/ 457200 w 590550"/>
                  <a:gd name="connsiteY72" fmla="*/ 114300 h 590550"/>
                  <a:gd name="connsiteX73" fmla="*/ 438150 w 590550"/>
                  <a:gd name="connsiteY73" fmla="*/ 114300 h 590550"/>
                  <a:gd name="connsiteX74" fmla="*/ 438150 w 590550"/>
                  <a:gd name="connsiteY74" fmla="*/ 76200 h 590550"/>
                  <a:gd name="connsiteX75" fmla="*/ 419100 w 590550"/>
                  <a:gd name="connsiteY75" fmla="*/ 76200 h 590550"/>
                  <a:gd name="connsiteX76" fmla="*/ 419100 w 590550"/>
                  <a:gd name="connsiteY76" fmla="*/ 114300 h 590550"/>
                  <a:gd name="connsiteX77" fmla="*/ 400050 w 590550"/>
                  <a:gd name="connsiteY77" fmla="*/ 114300 h 590550"/>
                  <a:gd name="connsiteX78" fmla="*/ 400050 w 590550"/>
                  <a:gd name="connsiteY78" fmla="*/ 95250 h 590550"/>
                  <a:gd name="connsiteX79" fmla="*/ 381000 w 590550"/>
                  <a:gd name="connsiteY79" fmla="*/ 76200 h 590550"/>
                  <a:gd name="connsiteX80" fmla="*/ 361950 w 590550"/>
                  <a:gd name="connsiteY80" fmla="*/ 76200 h 590550"/>
                  <a:gd name="connsiteX81" fmla="*/ 361950 w 590550"/>
                  <a:gd name="connsiteY81" fmla="*/ 95250 h 590550"/>
                  <a:gd name="connsiteX82" fmla="*/ 381000 w 590550"/>
                  <a:gd name="connsiteY82" fmla="*/ 95250 h 590550"/>
                  <a:gd name="connsiteX83" fmla="*/ 381000 w 590550"/>
                  <a:gd name="connsiteY83" fmla="*/ 114300 h 590550"/>
                  <a:gd name="connsiteX84" fmla="*/ 371475 w 590550"/>
                  <a:gd name="connsiteY84" fmla="*/ 114300 h 590550"/>
                  <a:gd name="connsiteX85" fmla="*/ 345253 w 590550"/>
                  <a:gd name="connsiteY85" fmla="*/ 122234 h 590550"/>
                  <a:gd name="connsiteX86" fmla="*/ 341738 w 590550"/>
                  <a:gd name="connsiteY86" fmla="*/ 118720 h 590550"/>
                  <a:gd name="connsiteX87" fmla="*/ 308067 w 590550"/>
                  <a:gd name="connsiteY87" fmla="*/ 104775 h 590550"/>
                  <a:gd name="connsiteX88" fmla="*/ 285750 w 590550"/>
                  <a:gd name="connsiteY88" fmla="*/ 104775 h 590550"/>
                  <a:gd name="connsiteX89" fmla="*/ 285750 w 590550"/>
                  <a:gd name="connsiteY89" fmla="*/ 123825 h 590550"/>
                  <a:gd name="connsiteX90" fmla="*/ 308067 w 590550"/>
                  <a:gd name="connsiteY90" fmla="*/ 123825 h 590550"/>
                  <a:gd name="connsiteX91" fmla="*/ 328270 w 590550"/>
                  <a:gd name="connsiteY91" fmla="*/ 132188 h 590550"/>
                  <a:gd name="connsiteX92" fmla="*/ 331784 w 590550"/>
                  <a:gd name="connsiteY92" fmla="*/ 135703 h 590550"/>
                  <a:gd name="connsiteX93" fmla="*/ 323850 w 590550"/>
                  <a:gd name="connsiteY93" fmla="*/ 161925 h 590550"/>
                  <a:gd name="connsiteX94" fmla="*/ 331784 w 590550"/>
                  <a:gd name="connsiteY94" fmla="*/ 188147 h 590550"/>
                  <a:gd name="connsiteX95" fmla="*/ 328270 w 590550"/>
                  <a:gd name="connsiteY95" fmla="*/ 191662 h 590550"/>
                  <a:gd name="connsiteX96" fmla="*/ 308067 w 590550"/>
                  <a:gd name="connsiteY96" fmla="*/ 200025 h 590550"/>
                  <a:gd name="connsiteX97" fmla="*/ 292837 w 590550"/>
                  <a:gd name="connsiteY97" fmla="*/ 200025 h 590550"/>
                  <a:gd name="connsiteX98" fmla="*/ 238125 w 590550"/>
                  <a:gd name="connsiteY98" fmla="*/ 190500 h 590550"/>
                  <a:gd name="connsiteX99" fmla="*/ 114300 w 590550"/>
                  <a:gd name="connsiteY99" fmla="*/ 248021 h 590550"/>
                  <a:gd name="connsiteX100" fmla="*/ 114300 w 590550"/>
                  <a:gd name="connsiteY100" fmla="*/ 57150 h 590550"/>
                  <a:gd name="connsiteX101" fmla="*/ 533400 w 590550"/>
                  <a:gd name="connsiteY101" fmla="*/ 57150 h 590550"/>
                  <a:gd name="connsiteX102" fmla="*/ 533400 w 590550"/>
                  <a:gd name="connsiteY102" fmla="*/ 304800 h 590550"/>
                  <a:gd name="connsiteX103" fmla="*/ 431463 w 590550"/>
                  <a:gd name="connsiteY103" fmla="*/ 304800 h 590550"/>
                  <a:gd name="connsiteX104" fmla="*/ 396678 w 590550"/>
                  <a:gd name="connsiteY104" fmla="*/ 285750 h 590550"/>
                  <a:gd name="connsiteX105" fmla="*/ 342414 w 590550"/>
                  <a:gd name="connsiteY105" fmla="*/ 285750 h 590550"/>
                  <a:gd name="connsiteX106" fmla="*/ 238125 w 590550"/>
                  <a:gd name="connsiteY106" fmla="*/ 228600 h 590550"/>
                  <a:gd name="connsiteX107" fmla="*/ 133836 w 590550"/>
                  <a:gd name="connsiteY107" fmla="*/ 285750 h 590550"/>
                  <a:gd name="connsiteX108" fmla="*/ 111804 w 590550"/>
                  <a:gd name="connsiteY108" fmla="*/ 285750 h 590550"/>
                  <a:gd name="connsiteX109" fmla="*/ 238125 w 590550"/>
                  <a:gd name="connsiteY109" fmla="*/ 209550 h 590550"/>
                  <a:gd name="connsiteX110" fmla="*/ 364446 w 590550"/>
                  <a:gd name="connsiteY110" fmla="*/ 285750 h 590550"/>
                  <a:gd name="connsiteX111" fmla="*/ 342414 w 590550"/>
                  <a:gd name="connsiteY111" fmla="*/ 285750 h 590550"/>
                  <a:gd name="connsiteX112" fmla="*/ 318707 w 590550"/>
                  <a:gd name="connsiteY112" fmla="*/ 285750 h 590550"/>
                  <a:gd name="connsiteX113" fmla="*/ 157544 w 590550"/>
                  <a:gd name="connsiteY113" fmla="*/ 285750 h 590550"/>
                  <a:gd name="connsiteX114" fmla="*/ 238125 w 590550"/>
                  <a:gd name="connsiteY114" fmla="*/ 247650 h 590550"/>
                  <a:gd name="connsiteX115" fmla="*/ 318707 w 590550"/>
                  <a:gd name="connsiteY115" fmla="*/ 285750 h 590550"/>
                  <a:gd name="connsiteX116" fmla="*/ 466725 w 590550"/>
                  <a:gd name="connsiteY116" fmla="*/ 133350 h 590550"/>
                  <a:gd name="connsiteX117" fmla="*/ 493547 w 590550"/>
                  <a:gd name="connsiteY117" fmla="*/ 152400 h 590550"/>
                  <a:gd name="connsiteX118" fmla="*/ 405936 w 590550"/>
                  <a:gd name="connsiteY118" fmla="*/ 152400 h 590550"/>
                  <a:gd name="connsiteX119" fmla="*/ 396411 w 590550"/>
                  <a:gd name="connsiteY119" fmla="*/ 133350 h 590550"/>
                  <a:gd name="connsiteX120" fmla="*/ 466725 w 590550"/>
                  <a:gd name="connsiteY120" fmla="*/ 133350 h 590550"/>
                  <a:gd name="connsiteX121" fmla="*/ 466725 w 590550"/>
                  <a:gd name="connsiteY121" fmla="*/ 190500 h 590550"/>
                  <a:gd name="connsiteX122" fmla="*/ 396411 w 590550"/>
                  <a:gd name="connsiteY122" fmla="*/ 190500 h 590550"/>
                  <a:gd name="connsiteX123" fmla="*/ 405936 w 590550"/>
                  <a:gd name="connsiteY123" fmla="*/ 171450 h 590550"/>
                  <a:gd name="connsiteX124" fmla="*/ 493547 w 590550"/>
                  <a:gd name="connsiteY124" fmla="*/ 171450 h 590550"/>
                  <a:gd name="connsiteX125" fmla="*/ 466725 w 590550"/>
                  <a:gd name="connsiteY125" fmla="*/ 190500 h 590550"/>
                  <a:gd name="connsiteX126" fmla="*/ 375114 w 590550"/>
                  <a:gd name="connsiteY126" fmla="*/ 133350 h 590550"/>
                  <a:gd name="connsiteX127" fmla="*/ 389401 w 590550"/>
                  <a:gd name="connsiteY127" fmla="*/ 161925 h 590550"/>
                  <a:gd name="connsiteX128" fmla="*/ 375114 w 590550"/>
                  <a:gd name="connsiteY128" fmla="*/ 190500 h 590550"/>
                  <a:gd name="connsiteX129" fmla="*/ 371475 w 590550"/>
                  <a:gd name="connsiteY129" fmla="*/ 190500 h 590550"/>
                  <a:gd name="connsiteX130" fmla="*/ 342900 w 590550"/>
                  <a:gd name="connsiteY130" fmla="*/ 161925 h 590550"/>
                  <a:gd name="connsiteX131" fmla="*/ 371475 w 590550"/>
                  <a:gd name="connsiteY131" fmla="*/ 133350 h 590550"/>
                  <a:gd name="connsiteX132" fmla="*/ 375114 w 590550"/>
                  <a:gd name="connsiteY132" fmla="*/ 133350 h 590550"/>
                  <a:gd name="connsiteX133" fmla="*/ 84992 w 590550"/>
                  <a:gd name="connsiteY133" fmla="*/ 401136 h 590550"/>
                  <a:gd name="connsiteX134" fmla="*/ 58760 w 590550"/>
                  <a:gd name="connsiteY134" fmla="*/ 335556 h 590550"/>
                  <a:gd name="connsiteX135" fmla="*/ 57150 w 590550"/>
                  <a:gd name="connsiteY135" fmla="*/ 327222 h 590550"/>
                  <a:gd name="connsiteX136" fmla="*/ 79572 w 590550"/>
                  <a:gd name="connsiteY136" fmla="*/ 304800 h 590550"/>
                  <a:gd name="connsiteX137" fmla="*/ 390525 w 590550"/>
                  <a:gd name="connsiteY137" fmla="*/ 304800 h 590550"/>
                  <a:gd name="connsiteX138" fmla="*/ 396678 w 590550"/>
                  <a:gd name="connsiteY138" fmla="*/ 304800 h 590550"/>
                  <a:gd name="connsiteX139" fmla="*/ 419100 w 590550"/>
                  <a:gd name="connsiteY139" fmla="*/ 327222 h 590550"/>
                  <a:gd name="connsiteX140" fmla="*/ 417500 w 590550"/>
                  <a:gd name="connsiteY140" fmla="*/ 335547 h 590550"/>
                  <a:gd name="connsiteX141" fmla="*/ 391268 w 590550"/>
                  <a:gd name="connsiteY141" fmla="*/ 401136 h 590550"/>
                  <a:gd name="connsiteX142" fmla="*/ 364731 w 590550"/>
                  <a:gd name="connsiteY142" fmla="*/ 419100 h 590550"/>
                  <a:gd name="connsiteX143" fmla="*/ 309296 w 590550"/>
                  <a:gd name="connsiteY143" fmla="*/ 419100 h 590550"/>
                  <a:gd name="connsiteX144" fmla="*/ 283740 w 590550"/>
                  <a:gd name="connsiteY144" fmla="*/ 403308 h 590550"/>
                  <a:gd name="connsiteX145" fmla="*/ 274215 w 590550"/>
                  <a:gd name="connsiteY145" fmla="*/ 384258 h 590550"/>
                  <a:gd name="connsiteX146" fmla="*/ 238125 w 590550"/>
                  <a:gd name="connsiteY146" fmla="*/ 361950 h 590550"/>
                  <a:gd name="connsiteX147" fmla="*/ 202035 w 590550"/>
                  <a:gd name="connsiteY147" fmla="*/ 384258 h 590550"/>
                  <a:gd name="connsiteX148" fmla="*/ 192510 w 590550"/>
                  <a:gd name="connsiteY148" fmla="*/ 403308 h 590550"/>
                  <a:gd name="connsiteX149" fmla="*/ 166954 w 590550"/>
                  <a:gd name="connsiteY149" fmla="*/ 419100 h 590550"/>
                  <a:gd name="connsiteX150" fmla="*/ 111519 w 590550"/>
                  <a:gd name="connsiteY150" fmla="*/ 419100 h 590550"/>
                  <a:gd name="connsiteX151" fmla="*/ 84992 w 590550"/>
                  <a:gd name="connsiteY151" fmla="*/ 401136 h 590550"/>
                  <a:gd name="connsiteX152" fmla="*/ 299809 w 590550"/>
                  <a:gd name="connsiteY152" fmla="*/ 437093 h 590550"/>
                  <a:gd name="connsiteX153" fmla="*/ 238125 w 590550"/>
                  <a:gd name="connsiteY153" fmla="*/ 457200 h 590550"/>
                  <a:gd name="connsiteX154" fmla="*/ 176432 w 590550"/>
                  <a:gd name="connsiteY154" fmla="*/ 437102 h 590550"/>
                  <a:gd name="connsiteX155" fmla="*/ 209550 w 590550"/>
                  <a:gd name="connsiteY155" fmla="*/ 411832 h 590550"/>
                  <a:gd name="connsiteX156" fmla="*/ 219075 w 590550"/>
                  <a:gd name="connsiteY156" fmla="*/ 392782 h 590550"/>
                  <a:gd name="connsiteX157" fmla="*/ 238125 w 590550"/>
                  <a:gd name="connsiteY157" fmla="*/ 381000 h 590550"/>
                  <a:gd name="connsiteX158" fmla="*/ 257175 w 590550"/>
                  <a:gd name="connsiteY158" fmla="*/ 392773 h 590550"/>
                  <a:gd name="connsiteX159" fmla="*/ 266700 w 590550"/>
                  <a:gd name="connsiteY159" fmla="*/ 411823 h 590550"/>
                  <a:gd name="connsiteX160" fmla="*/ 299809 w 590550"/>
                  <a:gd name="connsiteY160" fmla="*/ 437093 h 590550"/>
                  <a:gd name="connsiteX161" fmla="*/ 60284 w 590550"/>
                  <a:gd name="connsiteY161" fmla="*/ 564423 h 590550"/>
                  <a:gd name="connsiteX162" fmla="*/ 43205 w 590550"/>
                  <a:gd name="connsiteY162" fmla="*/ 571500 h 590550"/>
                  <a:gd name="connsiteX163" fmla="*/ 19050 w 590550"/>
                  <a:gd name="connsiteY163" fmla="*/ 547345 h 590550"/>
                  <a:gd name="connsiteX164" fmla="*/ 26127 w 590550"/>
                  <a:gd name="connsiteY164" fmla="*/ 530266 h 590550"/>
                  <a:gd name="connsiteX165" fmla="*/ 107880 w 590550"/>
                  <a:gd name="connsiteY165" fmla="*/ 448513 h 590550"/>
                  <a:gd name="connsiteX166" fmla="*/ 142084 w 590550"/>
                  <a:gd name="connsiteY166" fmla="*/ 482622 h 590550"/>
                  <a:gd name="connsiteX167" fmla="*/ 60284 w 590550"/>
                  <a:gd name="connsiteY167" fmla="*/ 564423 h 590550"/>
                  <a:gd name="connsiteX168" fmla="*/ 238125 w 590550"/>
                  <a:gd name="connsiteY168" fmla="*/ 495300 h 590550"/>
                  <a:gd name="connsiteX169" fmla="*/ 123873 w 590550"/>
                  <a:gd name="connsiteY169" fmla="*/ 438150 h 590550"/>
                  <a:gd name="connsiteX170" fmla="*/ 149000 w 590550"/>
                  <a:gd name="connsiteY170" fmla="*/ 438150 h 590550"/>
                  <a:gd name="connsiteX171" fmla="*/ 238135 w 590550"/>
                  <a:gd name="connsiteY171" fmla="*/ 476250 h 590550"/>
                  <a:gd name="connsiteX172" fmla="*/ 327260 w 590550"/>
                  <a:gd name="connsiteY172" fmla="*/ 438150 h 590550"/>
                  <a:gd name="connsiteX173" fmla="*/ 352368 w 590550"/>
                  <a:gd name="connsiteY173" fmla="*/ 438150 h 590550"/>
                  <a:gd name="connsiteX174" fmla="*/ 238125 w 590550"/>
                  <a:gd name="connsiteY174" fmla="*/ 495300 h 590550"/>
                  <a:gd name="connsiteX175" fmla="*/ 476250 w 590550"/>
                  <a:gd name="connsiteY175" fmla="*/ 438150 h 590550"/>
                  <a:gd name="connsiteX176" fmla="*/ 375418 w 590550"/>
                  <a:gd name="connsiteY176" fmla="*/ 438150 h 590550"/>
                  <a:gd name="connsiteX177" fmla="*/ 376390 w 590550"/>
                  <a:gd name="connsiteY177" fmla="*/ 436597 h 590550"/>
                  <a:gd name="connsiteX178" fmla="*/ 402746 w 590550"/>
                  <a:gd name="connsiteY178" fmla="*/ 419100 h 590550"/>
                  <a:gd name="connsiteX179" fmla="*/ 476250 w 590550"/>
                  <a:gd name="connsiteY179" fmla="*/ 419100 h 590550"/>
                  <a:gd name="connsiteX180" fmla="*/ 476250 w 590550"/>
                  <a:gd name="connsiteY180" fmla="*/ 438150 h 590550"/>
                  <a:gd name="connsiteX181" fmla="*/ 438150 w 590550"/>
                  <a:gd name="connsiteY181" fmla="*/ 400050 h 590550"/>
                  <a:gd name="connsiteX182" fmla="*/ 412213 w 590550"/>
                  <a:gd name="connsiteY182" fmla="*/ 400050 h 590550"/>
                  <a:gd name="connsiteX183" fmla="*/ 419833 w 590550"/>
                  <a:gd name="connsiteY183" fmla="*/ 381000 h 590550"/>
                  <a:gd name="connsiteX184" fmla="*/ 438150 w 590550"/>
                  <a:gd name="connsiteY184" fmla="*/ 381000 h 590550"/>
                  <a:gd name="connsiteX185" fmla="*/ 438150 w 590550"/>
                  <a:gd name="connsiteY185" fmla="*/ 400050 h 590550"/>
                  <a:gd name="connsiteX186" fmla="*/ 542925 w 590550"/>
                  <a:gd name="connsiteY186" fmla="*/ 361950 h 590550"/>
                  <a:gd name="connsiteX187" fmla="*/ 427453 w 590550"/>
                  <a:gd name="connsiteY187" fmla="*/ 361950 h 590550"/>
                  <a:gd name="connsiteX188" fmla="*/ 435188 w 590550"/>
                  <a:gd name="connsiteY188" fmla="*/ 342624 h 590550"/>
                  <a:gd name="connsiteX189" fmla="*/ 438150 w 590550"/>
                  <a:gd name="connsiteY189" fmla="*/ 327222 h 590550"/>
                  <a:gd name="connsiteX190" fmla="*/ 437807 w 590550"/>
                  <a:gd name="connsiteY190" fmla="*/ 323850 h 590550"/>
                  <a:gd name="connsiteX191" fmla="*/ 571500 w 590550"/>
                  <a:gd name="connsiteY191" fmla="*/ 323850 h 590550"/>
                  <a:gd name="connsiteX192" fmla="*/ 571500 w 590550"/>
                  <a:gd name="connsiteY192" fmla="*/ 333375 h 590550"/>
                  <a:gd name="connsiteX193" fmla="*/ 542925 w 590550"/>
                  <a:gd name="connsiteY193" fmla="*/ 361950 h 590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</a:cxnLst>
                <a:rect l="l" t="t" r="r" b="b"/>
                <a:pathLst>
                  <a:path w="590550" h="590550">
                    <a:moveTo>
                      <a:pt x="542925" y="0"/>
                    </a:moveTo>
                    <a:lnTo>
                      <a:pt x="104775" y="0"/>
                    </a:lnTo>
                    <a:cubicBezTo>
                      <a:pt x="78515" y="0"/>
                      <a:pt x="57150" y="21365"/>
                      <a:pt x="57150" y="47625"/>
                    </a:cubicBezTo>
                    <a:lnTo>
                      <a:pt x="57150" y="292437"/>
                    </a:lnTo>
                    <a:cubicBezTo>
                      <a:pt x="45720" y="299828"/>
                      <a:pt x="38100" y="312630"/>
                      <a:pt x="38100" y="327222"/>
                    </a:cubicBezTo>
                    <a:cubicBezTo>
                      <a:pt x="38100" y="332518"/>
                      <a:pt x="39091" y="337699"/>
                      <a:pt x="41062" y="342624"/>
                    </a:cubicBezTo>
                    <a:lnTo>
                      <a:pt x="67294" y="408203"/>
                    </a:lnTo>
                    <a:cubicBezTo>
                      <a:pt x="72352" y="420862"/>
                      <a:pt x="82353" y="430282"/>
                      <a:pt x="94536" y="434921"/>
                    </a:cubicBezTo>
                    <a:lnTo>
                      <a:pt x="12659" y="516798"/>
                    </a:lnTo>
                    <a:cubicBezTo>
                      <a:pt x="4496" y="524961"/>
                      <a:pt x="0" y="535810"/>
                      <a:pt x="0" y="547345"/>
                    </a:cubicBezTo>
                    <a:cubicBezTo>
                      <a:pt x="0" y="571167"/>
                      <a:pt x="19383" y="590550"/>
                      <a:pt x="43205" y="590550"/>
                    </a:cubicBezTo>
                    <a:cubicBezTo>
                      <a:pt x="54740" y="590550"/>
                      <a:pt x="65599" y="586054"/>
                      <a:pt x="73752" y="577891"/>
                    </a:cubicBezTo>
                    <a:lnTo>
                      <a:pt x="158410" y="493233"/>
                    </a:lnTo>
                    <a:cubicBezTo>
                      <a:pt x="182375" y="506806"/>
                      <a:pt x="209760" y="514350"/>
                      <a:pt x="238125" y="514350"/>
                    </a:cubicBezTo>
                    <a:cubicBezTo>
                      <a:pt x="285921" y="514350"/>
                      <a:pt x="330984" y="492966"/>
                      <a:pt x="361474" y="457200"/>
                    </a:cubicBezTo>
                    <a:lnTo>
                      <a:pt x="476250" y="457200"/>
                    </a:lnTo>
                    <a:cubicBezTo>
                      <a:pt x="486756" y="457200"/>
                      <a:pt x="495300" y="448656"/>
                      <a:pt x="495300" y="438150"/>
                    </a:cubicBezTo>
                    <a:lnTo>
                      <a:pt x="495300" y="419100"/>
                    </a:lnTo>
                    <a:cubicBezTo>
                      <a:pt x="495300" y="408594"/>
                      <a:pt x="486756" y="400050"/>
                      <a:pt x="476250" y="400050"/>
                    </a:cubicBezTo>
                    <a:lnTo>
                      <a:pt x="457200" y="400050"/>
                    </a:lnTo>
                    <a:lnTo>
                      <a:pt x="457200" y="381000"/>
                    </a:lnTo>
                    <a:lnTo>
                      <a:pt x="542925" y="381000"/>
                    </a:lnTo>
                    <a:cubicBezTo>
                      <a:pt x="569185" y="381000"/>
                      <a:pt x="590550" y="359635"/>
                      <a:pt x="590550" y="333375"/>
                    </a:cubicBezTo>
                    <a:lnTo>
                      <a:pt x="590550" y="47625"/>
                    </a:lnTo>
                    <a:cubicBezTo>
                      <a:pt x="590550" y="21365"/>
                      <a:pt x="569185" y="0"/>
                      <a:pt x="542925" y="0"/>
                    </a:cubicBezTo>
                    <a:close/>
                    <a:moveTo>
                      <a:pt x="104775" y="19050"/>
                    </a:moveTo>
                    <a:lnTo>
                      <a:pt x="542925" y="19050"/>
                    </a:lnTo>
                    <a:cubicBezTo>
                      <a:pt x="558679" y="19050"/>
                      <a:pt x="571500" y="31871"/>
                      <a:pt x="571500" y="47625"/>
                    </a:cubicBezTo>
                    <a:lnTo>
                      <a:pt x="571500" y="304800"/>
                    </a:lnTo>
                    <a:lnTo>
                      <a:pt x="552450" y="304800"/>
                    </a:lnTo>
                    <a:lnTo>
                      <a:pt x="552450" y="57150"/>
                    </a:lnTo>
                    <a:cubicBezTo>
                      <a:pt x="552450" y="46644"/>
                      <a:pt x="543906" y="38100"/>
                      <a:pt x="533400" y="38100"/>
                    </a:cubicBezTo>
                    <a:lnTo>
                      <a:pt x="114300" y="38100"/>
                    </a:lnTo>
                    <a:cubicBezTo>
                      <a:pt x="103794" y="38100"/>
                      <a:pt x="95250" y="46644"/>
                      <a:pt x="95250" y="57150"/>
                    </a:cubicBezTo>
                    <a:lnTo>
                      <a:pt x="95250" y="276349"/>
                    </a:lnTo>
                    <a:cubicBezTo>
                      <a:pt x="93621" y="279416"/>
                      <a:pt x="92097" y="282550"/>
                      <a:pt x="90649" y="285750"/>
                    </a:cubicBezTo>
                    <a:lnTo>
                      <a:pt x="79572" y="285750"/>
                    </a:lnTo>
                    <a:lnTo>
                      <a:pt x="76200" y="285750"/>
                    </a:lnTo>
                    <a:lnTo>
                      <a:pt x="76200" y="47625"/>
                    </a:lnTo>
                    <a:cubicBezTo>
                      <a:pt x="76200" y="31871"/>
                      <a:pt x="89021" y="19050"/>
                      <a:pt x="104775" y="19050"/>
                    </a:cubicBezTo>
                    <a:close/>
                    <a:moveTo>
                      <a:pt x="396678" y="285750"/>
                    </a:moveTo>
                    <a:lnTo>
                      <a:pt x="390525" y="285750"/>
                    </a:lnTo>
                    <a:lnTo>
                      <a:pt x="385601" y="285750"/>
                    </a:lnTo>
                    <a:cubicBezTo>
                      <a:pt x="372332" y="256384"/>
                      <a:pt x="351177" y="232381"/>
                      <a:pt x="325155" y="215817"/>
                    </a:cubicBezTo>
                    <a:cubicBezTo>
                      <a:pt x="331289" y="213455"/>
                      <a:pt x="336947" y="209912"/>
                      <a:pt x="341738" y="205121"/>
                    </a:cubicBezTo>
                    <a:lnTo>
                      <a:pt x="345253" y="201606"/>
                    </a:lnTo>
                    <a:cubicBezTo>
                      <a:pt x="352787" y="206607"/>
                      <a:pt x="361788" y="209550"/>
                      <a:pt x="371475" y="209550"/>
                    </a:cubicBezTo>
                    <a:lnTo>
                      <a:pt x="381000" y="209550"/>
                    </a:lnTo>
                    <a:lnTo>
                      <a:pt x="381000" y="228600"/>
                    </a:lnTo>
                    <a:lnTo>
                      <a:pt x="361950" y="228600"/>
                    </a:lnTo>
                    <a:lnTo>
                      <a:pt x="361950" y="247650"/>
                    </a:lnTo>
                    <a:lnTo>
                      <a:pt x="381000" y="247650"/>
                    </a:lnTo>
                    <a:cubicBezTo>
                      <a:pt x="391506" y="247650"/>
                      <a:pt x="400050" y="239106"/>
                      <a:pt x="400050" y="228600"/>
                    </a:cubicBezTo>
                    <a:lnTo>
                      <a:pt x="400050" y="209550"/>
                    </a:lnTo>
                    <a:lnTo>
                      <a:pt x="419100" y="209550"/>
                    </a:lnTo>
                    <a:lnTo>
                      <a:pt x="419100" y="247650"/>
                    </a:lnTo>
                    <a:lnTo>
                      <a:pt x="438150" y="247650"/>
                    </a:lnTo>
                    <a:lnTo>
                      <a:pt x="438150" y="209550"/>
                    </a:lnTo>
                    <a:lnTo>
                      <a:pt x="457200" y="209550"/>
                    </a:lnTo>
                    <a:lnTo>
                      <a:pt x="457200" y="228600"/>
                    </a:lnTo>
                    <a:cubicBezTo>
                      <a:pt x="457200" y="239106"/>
                      <a:pt x="465744" y="247650"/>
                      <a:pt x="476250" y="247650"/>
                    </a:cubicBezTo>
                    <a:lnTo>
                      <a:pt x="495300" y="247650"/>
                    </a:lnTo>
                    <a:lnTo>
                      <a:pt x="495300" y="228600"/>
                    </a:lnTo>
                    <a:lnTo>
                      <a:pt x="476250" y="228600"/>
                    </a:lnTo>
                    <a:lnTo>
                      <a:pt x="476250" y="208588"/>
                    </a:lnTo>
                    <a:cubicBezTo>
                      <a:pt x="497957" y="204159"/>
                      <a:pt x="514350" y="184928"/>
                      <a:pt x="514350" y="161925"/>
                    </a:cubicBezTo>
                    <a:cubicBezTo>
                      <a:pt x="514350" y="138922"/>
                      <a:pt x="497957" y="119691"/>
                      <a:pt x="476250" y="115262"/>
                    </a:cubicBezTo>
                    <a:lnTo>
                      <a:pt x="476250" y="95250"/>
                    </a:lnTo>
                    <a:lnTo>
                      <a:pt x="495300" y="95250"/>
                    </a:lnTo>
                    <a:lnTo>
                      <a:pt x="495300" y="76200"/>
                    </a:lnTo>
                    <a:lnTo>
                      <a:pt x="476250" y="76200"/>
                    </a:lnTo>
                    <a:cubicBezTo>
                      <a:pt x="465744" y="76200"/>
                      <a:pt x="457200" y="84744"/>
                      <a:pt x="457200" y="95250"/>
                    </a:cubicBezTo>
                    <a:lnTo>
                      <a:pt x="457200" y="114300"/>
                    </a:lnTo>
                    <a:lnTo>
                      <a:pt x="438150" y="114300"/>
                    </a:lnTo>
                    <a:lnTo>
                      <a:pt x="438150" y="76200"/>
                    </a:lnTo>
                    <a:lnTo>
                      <a:pt x="419100" y="76200"/>
                    </a:lnTo>
                    <a:lnTo>
                      <a:pt x="419100" y="114300"/>
                    </a:lnTo>
                    <a:lnTo>
                      <a:pt x="400050" y="114300"/>
                    </a:lnTo>
                    <a:lnTo>
                      <a:pt x="400050" y="95250"/>
                    </a:lnTo>
                    <a:cubicBezTo>
                      <a:pt x="400050" y="84744"/>
                      <a:pt x="391506" y="76200"/>
                      <a:pt x="381000" y="76200"/>
                    </a:cubicBezTo>
                    <a:lnTo>
                      <a:pt x="361950" y="76200"/>
                    </a:lnTo>
                    <a:lnTo>
                      <a:pt x="361950" y="95250"/>
                    </a:lnTo>
                    <a:lnTo>
                      <a:pt x="381000" y="95250"/>
                    </a:lnTo>
                    <a:lnTo>
                      <a:pt x="381000" y="114300"/>
                    </a:lnTo>
                    <a:lnTo>
                      <a:pt x="371475" y="114300"/>
                    </a:lnTo>
                    <a:cubicBezTo>
                      <a:pt x="361788" y="114300"/>
                      <a:pt x="352787" y="117243"/>
                      <a:pt x="345253" y="122234"/>
                    </a:cubicBezTo>
                    <a:lnTo>
                      <a:pt x="341738" y="118720"/>
                    </a:lnTo>
                    <a:cubicBezTo>
                      <a:pt x="332746" y="109728"/>
                      <a:pt x="320792" y="104775"/>
                      <a:pt x="308067" y="104775"/>
                    </a:cubicBezTo>
                    <a:lnTo>
                      <a:pt x="285750" y="104775"/>
                    </a:lnTo>
                    <a:lnTo>
                      <a:pt x="285750" y="123825"/>
                    </a:lnTo>
                    <a:lnTo>
                      <a:pt x="308067" y="123825"/>
                    </a:lnTo>
                    <a:cubicBezTo>
                      <a:pt x="315592" y="123825"/>
                      <a:pt x="322945" y="126873"/>
                      <a:pt x="328270" y="132188"/>
                    </a:cubicBezTo>
                    <a:lnTo>
                      <a:pt x="331784" y="135703"/>
                    </a:lnTo>
                    <a:cubicBezTo>
                      <a:pt x="326793" y="143237"/>
                      <a:pt x="323850" y="152238"/>
                      <a:pt x="323850" y="161925"/>
                    </a:cubicBezTo>
                    <a:cubicBezTo>
                      <a:pt x="323850" y="171612"/>
                      <a:pt x="326793" y="180613"/>
                      <a:pt x="331784" y="188147"/>
                    </a:cubicBezTo>
                    <a:lnTo>
                      <a:pt x="328270" y="191662"/>
                    </a:lnTo>
                    <a:cubicBezTo>
                      <a:pt x="322955" y="196977"/>
                      <a:pt x="315592" y="200025"/>
                      <a:pt x="308067" y="200025"/>
                    </a:cubicBezTo>
                    <a:lnTo>
                      <a:pt x="292837" y="200025"/>
                    </a:lnTo>
                    <a:cubicBezTo>
                      <a:pt x="275615" y="193881"/>
                      <a:pt x="257204" y="190500"/>
                      <a:pt x="238125" y="190500"/>
                    </a:cubicBezTo>
                    <a:cubicBezTo>
                      <a:pt x="189271" y="190500"/>
                      <a:pt x="144475" y="212103"/>
                      <a:pt x="114300" y="248021"/>
                    </a:cubicBezTo>
                    <a:lnTo>
                      <a:pt x="114300" y="57150"/>
                    </a:lnTo>
                    <a:lnTo>
                      <a:pt x="533400" y="57150"/>
                    </a:lnTo>
                    <a:lnTo>
                      <a:pt x="533400" y="304800"/>
                    </a:lnTo>
                    <a:lnTo>
                      <a:pt x="431463" y="304800"/>
                    </a:lnTo>
                    <a:cubicBezTo>
                      <a:pt x="424072" y="293370"/>
                      <a:pt x="411270" y="285750"/>
                      <a:pt x="396678" y="285750"/>
                    </a:cubicBezTo>
                    <a:close/>
                    <a:moveTo>
                      <a:pt x="342414" y="285750"/>
                    </a:moveTo>
                    <a:cubicBezTo>
                      <a:pt x="319745" y="250384"/>
                      <a:pt x="280321" y="228600"/>
                      <a:pt x="238125" y="228600"/>
                    </a:cubicBezTo>
                    <a:cubicBezTo>
                      <a:pt x="195939" y="228600"/>
                      <a:pt x="156505" y="250384"/>
                      <a:pt x="133836" y="285750"/>
                    </a:cubicBezTo>
                    <a:lnTo>
                      <a:pt x="111804" y="285750"/>
                    </a:lnTo>
                    <a:cubicBezTo>
                      <a:pt x="136369" y="239058"/>
                      <a:pt x="184471" y="209550"/>
                      <a:pt x="238125" y="209550"/>
                    </a:cubicBezTo>
                    <a:cubicBezTo>
                      <a:pt x="291770" y="209550"/>
                      <a:pt x="339871" y="239058"/>
                      <a:pt x="364446" y="285750"/>
                    </a:cubicBezTo>
                    <a:lnTo>
                      <a:pt x="342414" y="285750"/>
                    </a:lnTo>
                    <a:close/>
                    <a:moveTo>
                      <a:pt x="318707" y="285750"/>
                    </a:moveTo>
                    <a:lnTo>
                      <a:pt x="157544" y="285750"/>
                    </a:lnTo>
                    <a:cubicBezTo>
                      <a:pt x="177279" y="261985"/>
                      <a:pt x="206750" y="247650"/>
                      <a:pt x="238125" y="247650"/>
                    </a:cubicBezTo>
                    <a:cubicBezTo>
                      <a:pt x="269500" y="247650"/>
                      <a:pt x="298971" y="261985"/>
                      <a:pt x="318707" y="285750"/>
                    </a:cubicBezTo>
                    <a:close/>
                    <a:moveTo>
                      <a:pt x="466725" y="133350"/>
                    </a:moveTo>
                    <a:cubicBezTo>
                      <a:pt x="479127" y="133350"/>
                      <a:pt x="489604" y="141341"/>
                      <a:pt x="493547" y="152400"/>
                    </a:cubicBezTo>
                    <a:lnTo>
                      <a:pt x="405936" y="152400"/>
                    </a:lnTo>
                    <a:lnTo>
                      <a:pt x="396411" y="133350"/>
                    </a:lnTo>
                    <a:lnTo>
                      <a:pt x="466725" y="133350"/>
                    </a:lnTo>
                    <a:close/>
                    <a:moveTo>
                      <a:pt x="466725" y="190500"/>
                    </a:moveTo>
                    <a:lnTo>
                      <a:pt x="396411" y="190500"/>
                    </a:lnTo>
                    <a:lnTo>
                      <a:pt x="405936" y="171450"/>
                    </a:lnTo>
                    <a:lnTo>
                      <a:pt x="493547" y="171450"/>
                    </a:lnTo>
                    <a:cubicBezTo>
                      <a:pt x="489604" y="182509"/>
                      <a:pt x="479127" y="190500"/>
                      <a:pt x="466725" y="190500"/>
                    </a:cubicBezTo>
                    <a:close/>
                    <a:moveTo>
                      <a:pt x="375114" y="133350"/>
                    </a:moveTo>
                    <a:lnTo>
                      <a:pt x="389401" y="161925"/>
                    </a:lnTo>
                    <a:lnTo>
                      <a:pt x="375114" y="190500"/>
                    </a:lnTo>
                    <a:lnTo>
                      <a:pt x="371475" y="190500"/>
                    </a:lnTo>
                    <a:cubicBezTo>
                      <a:pt x="355721" y="190500"/>
                      <a:pt x="342900" y="177679"/>
                      <a:pt x="342900" y="161925"/>
                    </a:cubicBezTo>
                    <a:cubicBezTo>
                      <a:pt x="342900" y="146171"/>
                      <a:pt x="355721" y="133350"/>
                      <a:pt x="371475" y="133350"/>
                    </a:cubicBezTo>
                    <a:lnTo>
                      <a:pt x="375114" y="133350"/>
                    </a:lnTo>
                    <a:close/>
                    <a:moveTo>
                      <a:pt x="84992" y="401136"/>
                    </a:moveTo>
                    <a:lnTo>
                      <a:pt x="58760" y="335556"/>
                    </a:lnTo>
                    <a:cubicBezTo>
                      <a:pt x="57693" y="332889"/>
                      <a:pt x="57150" y="330089"/>
                      <a:pt x="57150" y="327222"/>
                    </a:cubicBezTo>
                    <a:cubicBezTo>
                      <a:pt x="57150" y="314858"/>
                      <a:pt x="67208" y="304800"/>
                      <a:pt x="79572" y="304800"/>
                    </a:cubicBezTo>
                    <a:lnTo>
                      <a:pt x="390525" y="304800"/>
                    </a:lnTo>
                    <a:lnTo>
                      <a:pt x="396678" y="304800"/>
                    </a:lnTo>
                    <a:cubicBezTo>
                      <a:pt x="409042" y="304800"/>
                      <a:pt x="419100" y="314858"/>
                      <a:pt x="419100" y="327222"/>
                    </a:cubicBezTo>
                    <a:cubicBezTo>
                      <a:pt x="419100" y="330089"/>
                      <a:pt x="418557" y="332889"/>
                      <a:pt x="417500" y="335547"/>
                    </a:cubicBezTo>
                    <a:lnTo>
                      <a:pt x="391268" y="401136"/>
                    </a:lnTo>
                    <a:cubicBezTo>
                      <a:pt x="386896" y="412051"/>
                      <a:pt x="376485" y="419100"/>
                      <a:pt x="364731" y="419100"/>
                    </a:cubicBezTo>
                    <a:lnTo>
                      <a:pt x="309296" y="419100"/>
                    </a:lnTo>
                    <a:cubicBezTo>
                      <a:pt x="298399" y="419100"/>
                      <a:pt x="288608" y="413052"/>
                      <a:pt x="283740" y="403308"/>
                    </a:cubicBezTo>
                    <a:lnTo>
                      <a:pt x="274215" y="384258"/>
                    </a:lnTo>
                    <a:cubicBezTo>
                      <a:pt x="267338" y="370494"/>
                      <a:pt x="253508" y="361950"/>
                      <a:pt x="238125" y="361950"/>
                    </a:cubicBezTo>
                    <a:cubicBezTo>
                      <a:pt x="222742" y="361950"/>
                      <a:pt x="208912" y="370494"/>
                      <a:pt x="202035" y="384258"/>
                    </a:cubicBezTo>
                    <a:lnTo>
                      <a:pt x="192510" y="403308"/>
                    </a:lnTo>
                    <a:cubicBezTo>
                      <a:pt x="187643" y="413052"/>
                      <a:pt x="177851" y="419100"/>
                      <a:pt x="166954" y="419100"/>
                    </a:cubicBezTo>
                    <a:lnTo>
                      <a:pt x="111519" y="419100"/>
                    </a:lnTo>
                    <a:cubicBezTo>
                      <a:pt x="99765" y="419100"/>
                      <a:pt x="89354" y="412051"/>
                      <a:pt x="84992" y="401136"/>
                    </a:cubicBezTo>
                    <a:close/>
                    <a:moveTo>
                      <a:pt x="299809" y="437093"/>
                    </a:moveTo>
                    <a:cubicBezTo>
                      <a:pt x="282026" y="450037"/>
                      <a:pt x="260452" y="457200"/>
                      <a:pt x="238125" y="457200"/>
                    </a:cubicBezTo>
                    <a:cubicBezTo>
                      <a:pt x="215808" y="457200"/>
                      <a:pt x="194215" y="450037"/>
                      <a:pt x="176432" y="437102"/>
                    </a:cubicBezTo>
                    <a:cubicBezTo>
                      <a:pt x="190643" y="434245"/>
                      <a:pt x="202883" y="425167"/>
                      <a:pt x="209550" y="411832"/>
                    </a:cubicBezTo>
                    <a:lnTo>
                      <a:pt x="219075" y="392782"/>
                    </a:lnTo>
                    <a:cubicBezTo>
                      <a:pt x="222704" y="385515"/>
                      <a:pt x="230000" y="381000"/>
                      <a:pt x="238125" y="381000"/>
                    </a:cubicBezTo>
                    <a:cubicBezTo>
                      <a:pt x="246250" y="381000"/>
                      <a:pt x="253546" y="385515"/>
                      <a:pt x="257175" y="392773"/>
                    </a:cubicBezTo>
                    <a:lnTo>
                      <a:pt x="266700" y="411823"/>
                    </a:lnTo>
                    <a:cubicBezTo>
                      <a:pt x="273368" y="425158"/>
                      <a:pt x="285598" y="434235"/>
                      <a:pt x="299809" y="437093"/>
                    </a:cubicBezTo>
                    <a:close/>
                    <a:moveTo>
                      <a:pt x="60284" y="564423"/>
                    </a:moveTo>
                    <a:cubicBezTo>
                      <a:pt x="55721" y="568985"/>
                      <a:pt x="49654" y="571500"/>
                      <a:pt x="43205" y="571500"/>
                    </a:cubicBezTo>
                    <a:cubicBezTo>
                      <a:pt x="29889" y="571500"/>
                      <a:pt x="19050" y="560661"/>
                      <a:pt x="19050" y="547345"/>
                    </a:cubicBezTo>
                    <a:cubicBezTo>
                      <a:pt x="19050" y="540896"/>
                      <a:pt x="21565" y="534829"/>
                      <a:pt x="26127" y="530266"/>
                    </a:cubicBezTo>
                    <a:lnTo>
                      <a:pt x="107880" y="448513"/>
                    </a:lnTo>
                    <a:cubicBezTo>
                      <a:pt x="117596" y="461639"/>
                      <a:pt x="129149" y="473097"/>
                      <a:pt x="142084" y="482622"/>
                    </a:cubicBezTo>
                    <a:lnTo>
                      <a:pt x="60284" y="564423"/>
                    </a:lnTo>
                    <a:close/>
                    <a:moveTo>
                      <a:pt x="238125" y="495300"/>
                    </a:moveTo>
                    <a:cubicBezTo>
                      <a:pt x="193005" y="495300"/>
                      <a:pt x="150666" y="473754"/>
                      <a:pt x="123873" y="438150"/>
                    </a:cubicBezTo>
                    <a:lnTo>
                      <a:pt x="149000" y="438150"/>
                    </a:lnTo>
                    <a:cubicBezTo>
                      <a:pt x="172288" y="462344"/>
                      <a:pt x="204454" y="476250"/>
                      <a:pt x="238135" y="476250"/>
                    </a:cubicBezTo>
                    <a:cubicBezTo>
                      <a:pt x="271824" y="476250"/>
                      <a:pt x="303962" y="462344"/>
                      <a:pt x="327260" y="438150"/>
                    </a:cubicBezTo>
                    <a:lnTo>
                      <a:pt x="352368" y="438150"/>
                    </a:lnTo>
                    <a:cubicBezTo>
                      <a:pt x="325565" y="473745"/>
                      <a:pt x="283207" y="495300"/>
                      <a:pt x="238125" y="495300"/>
                    </a:cubicBezTo>
                    <a:close/>
                    <a:moveTo>
                      <a:pt x="476250" y="438150"/>
                    </a:moveTo>
                    <a:lnTo>
                      <a:pt x="375418" y="438150"/>
                    </a:lnTo>
                    <a:cubicBezTo>
                      <a:pt x="375742" y="437636"/>
                      <a:pt x="376066" y="437121"/>
                      <a:pt x="376390" y="436597"/>
                    </a:cubicBezTo>
                    <a:cubicBezTo>
                      <a:pt x="386963" y="433949"/>
                      <a:pt x="396230" y="427815"/>
                      <a:pt x="402746" y="419100"/>
                    </a:cubicBezTo>
                    <a:lnTo>
                      <a:pt x="476250" y="419100"/>
                    </a:lnTo>
                    <a:lnTo>
                      <a:pt x="476250" y="438150"/>
                    </a:lnTo>
                    <a:close/>
                    <a:moveTo>
                      <a:pt x="438150" y="400050"/>
                    </a:moveTo>
                    <a:lnTo>
                      <a:pt x="412213" y="400050"/>
                    </a:lnTo>
                    <a:lnTo>
                      <a:pt x="419833" y="381000"/>
                    </a:lnTo>
                    <a:lnTo>
                      <a:pt x="438150" y="381000"/>
                    </a:lnTo>
                    <a:lnTo>
                      <a:pt x="438150" y="400050"/>
                    </a:lnTo>
                    <a:close/>
                    <a:moveTo>
                      <a:pt x="542925" y="361950"/>
                    </a:moveTo>
                    <a:lnTo>
                      <a:pt x="427453" y="361950"/>
                    </a:lnTo>
                    <a:lnTo>
                      <a:pt x="435188" y="342624"/>
                    </a:lnTo>
                    <a:cubicBezTo>
                      <a:pt x="437159" y="337699"/>
                      <a:pt x="438150" y="332518"/>
                      <a:pt x="438150" y="327222"/>
                    </a:cubicBezTo>
                    <a:cubicBezTo>
                      <a:pt x="438150" y="326069"/>
                      <a:pt x="437902" y="324983"/>
                      <a:pt x="437807" y="323850"/>
                    </a:cubicBezTo>
                    <a:lnTo>
                      <a:pt x="571500" y="323850"/>
                    </a:lnTo>
                    <a:lnTo>
                      <a:pt x="571500" y="333375"/>
                    </a:lnTo>
                    <a:cubicBezTo>
                      <a:pt x="571500" y="349129"/>
                      <a:pt x="558679" y="361950"/>
                      <a:pt x="542925" y="3619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496" name="Freeform: Shape 9495">
                <a:extLst>
                  <a:ext uri="{FF2B5EF4-FFF2-40B4-BE49-F238E27FC236}">
                    <a16:creationId xmlns:a16="http://schemas.microsoft.com/office/drawing/2014/main" id="{E60355D9-527E-1D43-C679-2E0B133A3D6A}"/>
                  </a:ext>
                </a:extLst>
              </p:cNvPr>
              <p:cNvSpPr/>
              <p:nvPr/>
            </p:nvSpPr>
            <p:spPr>
              <a:xfrm>
                <a:off x="5934075" y="3133725"/>
                <a:ext cx="133350" cy="19050"/>
              </a:xfrm>
              <a:custGeom>
                <a:avLst/>
                <a:gdLst>
                  <a:gd name="connsiteX0" fmla="*/ 0 w 133350"/>
                  <a:gd name="connsiteY0" fmla="*/ 0 h 19050"/>
                  <a:gd name="connsiteX1" fmla="*/ 133350 w 133350"/>
                  <a:gd name="connsiteY1" fmla="*/ 0 h 19050"/>
                  <a:gd name="connsiteX2" fmla="*/ 133350 w 133350"/>
                  <a:gd name="connsiteY2" fmla="*/ 19050 h 19050"/>
                  <a:gd name="connsiteX3" fmla="*/ 0 w 1333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350" h="19050">
                    <a:moveTo>
                      <a:pt x="0" y="0"/>
                    </a:moveTo>
                    <a:lnTo>
                      <a:pt x="133350" y="0"/>
                    </a:lnTo>
                    <a:lnTo>
                      <a:pt x="1333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499" name="Freeform: Shape 9498">
                <a:extLst>
                  <a:ext uri="{FF2B5EF4-FFF2-40B4-BE49-F238E27FC236}">
                    <a16:creationId xmlns:a16="http://schemas.microsoft.com/office/drawing/2014/main" id="{D4A04FCC-5D51-A832-77B3-311DDC04D702}"/>
                  </a:ext>
                </a:extLst>
              </p:cNvPr>
              <p:cNvSpPr/>
              <p:nvPr/>
            </p:nvSpPr>
            <p:spPr>
              <a:xfrm>
                <a:off x="5934075" y="3171825"/>
                <a:ext cx="133350" cy="19050"/>
              </a:xfrm>
              <a:custGeom>
                <a:avLst/>
                <a:gdLst>
                  <a:gd name="connsiteX0" fmla="*/ 0 w 133350"/>
                  <a:gd name="connsiteY0" fmla="*/ 0 h 19050"/>
                  <a:gd name="connsiteX1" fmla="*/ 133350 w 133350"/>
                  <a:gd name="connsiteY1" fmla="*/ 0 h 19050"/>
                  <a:gd name="connsiteX2" fmla="*/ 133350 w 133350"/>
                  <a:gd name="connsiteY2" fmla="*/ 19050 h 19050"/>
                  <a:gd name="connsiteX3" fmla="*/ 0 w 1333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350" h="19050">
                    <a:moveTo>
                      <a:pt x="0" y="0"/>
                    </a:moveTo>
                    <a:lnTo>
                      <a:pt x="133350" y="0"/>
                    </a:lnTo>
                    <a:lnTo>
                      <a:pt x="1333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00" name="Freeform: Shape 9499">
                <a:extLst>
                  <a:ext uri="{FF2B5EF4-FFF2-40B4-BE49-F238E27FC236}">
                    <a16:creationId xmlns:a16="http://schemas.microsoft.com/office/drawing/2014/main" id="{A582B3A2-CC31-D3FF-2938-A3C978F94A80}"/>
                  </a:ext>
                </a:extLst>
              </p:cNvPr>
              <p:cNvSpPr/>
              <p:nvPr/>
            </p:nvSpPr>
            <p:spPr>
              <a:xfrm>
                <a:off x="6048375" y="3209925"/>
                <a:ext cx="19050" cy="19050"/>
              </a:xfrm>
              <a:custGeom>
                <a:avLst/>
                <a:gdLst>
                  <a:gd name="connsiteX0" fmla="*/ 0 w 19050"/>
                  <a:gd name="connsiteY0" fmla="*/ 0 h 19050"/>
                  <a:gd name="connsiteX1" fmla="*/ 19050 w 19050"/>
                  <a:gd name="connsiteY1" fmla="*/ 0 h 19050"/>
                  <a:gd name="connsiteX2" fmla="*/ 19050 w 19050"/>
                  <a:gd name="connsiteY2" fmla="*/ 19050 h 19050"/>
                  <a:gd name="connsiteX3" fmla="*/ 0 w 190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01" name="Freeform: Shape 9500">
                <a:extLst>
                  <a:ext uri="{FF2B5EF4-FFF2-40B4-BE49-F238E27FC236}">
                    <a16:creationId xmlns:a16="http://schemas.microsoft.com/office/drawing/2014/main" id="{F21178C9-A3E4-3210-3EBE-51A16DA417F3}"/>
                  </a:ext>
                </a:extLst>
              </p:cNvPr>
              <p:cNvSpPr/>
              <p:nvPr/>
            </p:nvSpPr>
            <p:spPr>
              <a:xfrm>
                <a:off x="5934075" y="3209925"/>
                <a:ext cx="95250" cy="19050"/>
              </a:xfrm>
              <a:custGeom>
                <a:avLst/>
                <a:gdLst>
                  <a:gd name="connsiteX0" fmla="*/ 0 w 95250"/>
                  <a:gd name="connsiteY0" fmla="*/ 0 h 19050"/>
                  <a:gd name="connsiteX1" fmla="*/ 95250 w 95250"/>
                  <a:gd name="connsiteY1" fmla="*/ 0 h 19050"/>
                  <a:gd name="connsiteX2" fmla="*/ 95250 w 95250"/>
                  <a:gd name="connsiteY2" fmla="*/ 19050 h 19050"/>
                  <a:gd name="connsiteX3" fmla="*/ 0 w 952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19050">
                    <a:moveTo>
                      <a:pt x="0" y="0"/>
                    </a:moveTo>
                    <a:lnTo>
                      <a:pt x="95250" y="0"/>
                    </a:lnTo>
                    <a:lnTo>
                      <a:pt x="952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02" name="Freeform: Shape 9501">
                <a:extLst>
                  <a:ext uri="{FF2B5EF4-FFF2-40B4-BE49-F238E27FC236}">
                    <a16:creationId xmlns:a16="http://schemas.microsoft.com/office/drawing/2014/main" id="{4EEA2AB8-B92E-A86B-7C43-5B17F2254DE8}"/>
                  </a:ext>
                </a:extLst>
              </p:cNvPr>
              <p:cNvSpPr/>
              <p:nvPr/>
            </p:nvSpPr>
            <p:spPr>
              <a:xfrm>
                <a:off x="5886450" y="3381375"/>
                <a:ext cx="19050" cy="19050"/>
              </a:xfrm>
              <a:custGeom>
                <a:avLst/>
                <a:gdLst>
                  <a:gd name="connsiteX0" fmla="*/ 0 w 19050"/>
                  <a:gd name="connsiteY0" fmla="*/ 0 h 19050"/>
                  <a:gd name="connsiteX1" fmla="*/ 19050 w 19050"/>
                  <a:gd name="connsiteY1" fmla="*/ 0 h 19050"/>
                  <a:gd name="connsiteX2" fmla="*/ 19050 w 19050"/>
                  <a:gd name="connsiteY2" fmla="*/ 19050 h 19050"/>
                  <a:gd name="connsiteX3" fmla="*/ 0 w 190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04" name="Freeform: Shape 9503">
                <a:extLst>
                  <a:ext uri="{FF2B5EF4-FFF2-40B4-BE49-F238E27FC236}">
                    <a16:creationId xmlns:a16="http://schemas.microsoft.com/office/drawing/2014/main" id="{A2DB9CAC-A220-D26A-5D2F-4638B77941D3}"/>
                  </a:ext>
                </a:extLst>
              </p:cNvPr>
              <p:cNvSpPr/>
              <p:nvPr/>
            </p:nvSpPr>
            <p:spPr>
              <a:xfrm>
                <a:off x="5924550" y="3381375"/>
                <a:ext cx="19050" cy="19050"/>
              </a:xfrm>
              <a:custGeom>
                <a:avLst/>
                <a:gdLst>
                  <a:gd name="connsiteX0" fmla="*/ 0 w 19050"/>
                  <a:gd name="connsiteY0" fmla="*/ 0 h 19050"/>
                  <a:gd name="connsiteX1" fmla="*/ 19050 w 19050"/>
                  <a:gd name="connsiteY1" fmla="*/ 0 h 19050"/>
                  <a:gd name="connsiteX2" fmla="*/ 19050 w 19050"/>
                  <a:gd name="connsiteY2" fmla="*/ 19050 h 19050"/>
                  <a:gd name="connsiteX3" fmla="*/ 0 w 190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05" name="Freeform: Shape 9504">
                <a:extLst>
                  <a:ext uri="{FF2B5EF4-FFF2-40B4-BE49-F238E27FC236}">
                    <a16:creationId xmlns:a16="http://schemas.microsoft.com/office/drawing/2014/main" id="{DD058460-92B5-292C-9166-266948347352}"/>
                  </a:ext>
                </a:extLst>
              </p:cNvPr>
              <p:cNvSpPr/>
              <p:nvPr/>
            </p:nvSpPr>
            <p:spPr>
              <a:xfrm>
                <a:off x="5962650" y="3381375"/>
                <a:ext cx="19050" cy="19050"/>
              </a:xfrm>
              <a:custGeom>
                <a:avLst/>
                <a:gdLst>
                  <a:gd name="connsiteX0" fmla="*/ 0 w 19050"/>
                  <a:gd name="connsiteY0" fmla="*/ 0 h 19050"/>
                  <a:gd name="connsiteX1" fmla="*/ 19050 w 19050"/>
                  <a:gd name="connsiteY1" fmla="*/ 0 h 19050"/>
                  <a:gd name="connsiteX2" fmla="*/ 19050 w 19050"/>
                  <a:gd name="connsiteY2" fmla="*/ 19050 h 19050"/>
                  <a:gd name="connsiteX3" fmla="*/ 0 w 190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15" name="Freeform: Shape 9514">
                <a:extLst>
                  <a:ext uri="{FF2B5EF4-FFF2-40B4-BE49-F238E27FC236}">
                    <a16:creationId xmlns:a16="http://schemas.microsoft.com/office/drawing/2014/main" id="{E62C8AF3-BD6B-7BD6-A85D-7CBC60DF35AA}"/>
                  </a:ext>
                </a:extLst>
              </p:cNvPr>
              <p:cNvSpPr/>
              <p:nvPr/>
            </p:nvSpPr>
            <p:spPr>
              <a:xfrm>
                <a:off x="6096000" y="3381375"/>
                <a:ext cx="19050" cy="19050"/>
              </a:xfrm>
              <a:custGeom>
                <a:avLst/>
                <a:gdLst>
                  <a:gd name="connsiteX0" fmla="*/ 0 w 19050"/>
                  <a:gd name="connsiteY0" fmla="*/ 0 h 19050"/>
                  <a:gd name="connsiteX1" fmla="*/ 19050 w 19050"/>
                  <a:gd name="connsiteY1" fmla="*/ 0 h 19050"/>
                  <a:gd name="connsiteX2" fmla="*/ 19050 w 19050"/>
                  <a:gd name="connsiteY2" fmla="*/ 19050 h 19050"/>
                  <a:gd name="connsiteX3" fmla="*/ 0 w 190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16" name="Freeform: Shape 9515">
                <a:extLst>
                  <a:ext uri="{FF2B5EF4-FFF2-40B4-BE49-F238E27FC236}">
                    <a16:creationId xmlns:a16="http://schemas.microsoft.com/office/drawing/2014/main" id="{02FA6865-B974-352D-462D-A30E04887B03}"/>
                  </a:ext>
                </a:extLst>
              </p:cNvPr>
              <p:cNvSpPr/>
              <p:nvPr/>
            </p:nvSpPr>
            <p:spPr>
              <a:xfrm>
                <a:off x="6134100" y="3381375"/>
                <a:ext cx="19050" cy="19050"/>
              </a:xfrm>
              <a:custGeom>
                <a:avLst/>
                <a:gdLst>
                  <a:gd name="connsiteX0" fmla="*/ 0 w 19050"/>
                  <a:gd name="connsiteY0" fmla="*/ 0 h 19050"/>
                  <a:gd name="connsiteX1" fmla="*/ 19050 w 19050"/>
                  <a:gd name="connsiteY1" fmla="*/ 0 h 19050"/>
                  <a:gd name="connsiteX2" fmla="*/ 19050 w 19050"/>
                  <a:gd name="connsiteY2" fmla="*/ 19050 h 19050"/>
                  <a:gd name="connsiteX3" fmla="*/ 0 w 190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17" name="Freeform: Shape 9516">
                <a:extLst>
                  <a:ext uri="{FF2B5EF4-FFF2-40B4-BE49-F238E27FC236}">
                    <a16:creationId xmlns:a16="http://schemas.microsoft.com/office/drawing/2014/main" id="{7D2EDC5C-3A41-FAB2-D39B-CABF977301B8}"/>
                  </a:ext>
                </a:extLst>
              </p:cNvPr>
              <p:cNvSpPr/>
              <p:nvPr/>
            </p:nvSpPr>
            <p:spPr>
              <a:xfrm>
                <a:off x="6172200" y="3381375"/>
                <a:ext cx="19050" cy="19050"/>
              </a:xfrm>
              <a:custGeom>
                <a:avLst/>
                <a:gdLst>
                  <a:gd name="connsiteX0" fmla="*/ 0 w 19050"/>
                  <a:gd name="connsiteY0" fmla="*/ 0 h 19050"/>
                  <a:gd name="connsiteX1" fmla="*/ 19050 w 19050"/>
                  <a:gd name="connsiteY1" fmla="*/ 0 h 19050"/>
                  <a:gd name="connsiteX2" fmla="*/ 19050 w 19050"/>
                  <a:gd name="connsiteY2" fmla="*/ 19050 h 19050"/>
                  <a:gd name="connsiteX3" fmla="*/ 0 w 190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9536" name="Group 9535">
            <a:extLst>
              <a:ext uri="{FF2B5EF4-FFF2-40B4-BE49-F238E27FC236}">
                <a16:creationId xmlns:a16="http://schemas.microsoft.com/office/drawing/2014/main" id="{1902C08F-696C-93E4-C779-0F74A8FA44CA}"/>
              </a:ext>
            </a:extLst>
          </p:cNvPr>
          <p:cNvGrpSpPr/>
          <p:nvPr/>
        </p:nvGrpSpPr>
        <p:grpSpPr>
          <a:xfrm>
            <a:off x="476251" y="4969205"/>
            <a:ext cx="863600" cy="863600"/>
            <a:chOff x="476251" y="5108875"/>
            <a:chExt cx="863600" cy="863600"/>
          </a:xfrm>
        </p:grpSpPr>
        <p:sp>
          <p:nvSpPr>
            <p:cNvPr id="9521" name="Oval 9520">
              <a:extLst>
                <a:ext uri="{FF2B5EF4-FFF2-40B4-BE49-F238E27FC236}">
                  <a16:creationId xmlns:a16="http://schemas.microsoft.com/office/drawing/2014/main" id="{CEEE2DDB-C283-3F6B-38DB-01D3C44CDE38}"/>
                </a:ext>
              </a:extLst>
            </p:cNvPr>
            <p:cNvSpPr/>
            <p:nvPr/>
          </p:nvSpPr>
          <p:spPr>
            <a:xfrm>
              <a:off x="476251" y="5108875"/>
              <a:ext cx="863600" cy="863600"/>
            </a:xfrm>
            <a:prstGeom prst="ellipse">
              <a:avLst/>
            </a:prstGeom>
            <a:gradFill>
              <a:gsLst>
                <a:gs pos="0">
                  <a:schemeClr val="accent1">
                    <a:lumMod val="5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24" name="Google Shape;9503;p5">
              <a:extLst>
                <a:ext uri="{FF2B5EF4-FFF2-40B4-BE49-F238E27FC236}">
                  <a16:creationId xmlns:a16="http://schemas.microsoft.com/office/drawing/2014/main" id="{15D32ADE-D15A-785D-2900-F20A58D26B8E}"/>
                </a:ext>
              </a:extLst>
            </p:cNvPr>
            <p:cNvSpPr/>
            <p:nvPr/>
          </p:nvSpPr>
          <p:spPr>
            <a:xfrm>
              <a:off x="647888" y="5280799"/>
              <a:ext cx="520326" cy="519752"/>
            </a:xfrm>
            <a:custGeom>
              <a:avLst/>
              <a:gdLst/>
              <a:ahLst/>
              <a:cxnLst/>
              <a:rect l="l" t="t" r="r" b="b"/>
              <a:pathLst>
                <a:path w="2858148" h="2854972" extrusionOk="0">
                  <a:moveTo>
                    <a:pt x="1376992" y="1372959"/>
                  </a:moveTo>
                  <a:lnTo>
                    <a:pt x="1376992" y="40542"/>
                  </a:lnTo>
                  <a:cubicBezTo>
                    <a:pt x="1376992" y="29334"/>
                    <a:pt x="1372351" y="18644"/>
                    <a:pt x="1364188" y="10958"/>
                  </a:cubicBezTo>
                  <a:cubicBezTo>
                    <a:pt x="1356026" y="3293"/>
                    <a:pt x="1345046" y="-705"/>
                    <a:pt x="1333838" y="102"/>
                  </a:cubicBezTo>
                  <a:cubicBezTo>
                    <a:pt x="972447" y="23927"/>
                    <a:pt x="636418" y="182784"/>
                    <a:pt x="387574" y="447469"/>
                  </a:cubicBezTo>
                  <a:cubicBezTo>
                    <a:pt x="137644" y="713332"/>
                    <a:pt x="0" y="1060881"/>
                    <a:pt x="0" y="1425978"/>
                  </a:cubicBezTo>
                  <a:cubicBezTo>
                    <a:pt x="0" y="1647296"/>
                    <a:pt x="49307" y="1859567"/>
                    <a:pt x="146575" y="2056891"/>
                  </a:cubicBezTo>
                  <a:cubicBezTo>
                    <a:pt x="151526" y="2066939"/>
                    <a:pt x="160435" y="2074501"/>
                    <a:pt x="171145" y="2077753"/>
                  </a:cubicBezTo>
                  <a:cubicBezTo>
                    <a:pt x="174978" y="2078934"/>
                    <a:pt x="178935" y="2079494"/>
                    <a:pt x="182892" y="2079494"/>
                  </a:cubicBezTo>
                  <a:cubicBezTo>
                    <a:pt x="189935" y="2079494"/>
                    <a:pt x="196938" y="2077671"/>
                    <a:pt x="203153" y="2074087"/>
                  </a:cubicBezTo>
                  <a:lnTo>
                    <a:pt x="1356733" y="1408064"/>
                  </a:lnTo>
                  <a:cubicBezTo>
                    <a:pt x="1369246" y="1400813"/>
                    <a:pt x="1376994" y="1387451"/>
                    <a:pt x="1376994" y="1372969"/>
                  </a:cubicBezTo>
                  <a:close/>
                  <a:moveTo>
                    <a:pt x="1295990" y="1349569"/>
                  </a:moveTo>
                  <a:lnTo>
                    <a:pt x="200697" y="1981913"/>
                  </a:lnTo>
                  <a:cubicBezTo>
                    <a:pt x="121228" y="1806959"/>
                    <a:pt x="80995" y="1620152"/>
                    <a:pt x="80995" y="1425887"/>
                  </a:cubicBezTo>
                  <a:cubicBezTo>
                    <a:pt x="80995" y="732657"/>
                    <a:pt x="611267" y="151598"/>
                    <a:pt x="1295990" y="84402"/>
                  </a:cubicBezTo>
                  <a:close/>
                  <a:moveTo>
                    <a:pt x="2603215" y="2163455"/>
                  </a:moveTo>
                  <a:lnTo>
                    <a:pt x="1449317" y="1497273"/>
                  </a:lnTo>
                  <a:cubicBezTo>
                    <a:pt x="1436783" y="1490043"/>
                    <a:pt x="1421349" y="1490043"/>
                    <a:pt x="1408815" y="1497273"/>
                  </a:cubicBezTo>
                  <a:lnTo>
                    <a:pt x="254917" y="2163455"/>
                  </a:lnTo>
                  <a:cubicBezTo>
                    <a:pt x="245201" y="2169049"/>
                    <a:pt x="238240" y="2178454"/>
                    <a:pt x="235712" y="2189372"/>
                  </a:cubicBezTo>
                  <a:cubicBezTo>
                    <a:pt x="233184" y="2200290"/>
                    <a:pt x="235277" y="2211767"/>
                    <a:pt x="241534" y="2221090"/>
                  </a:cubicBezTo>
                  <a:cubicBezTo>
                    <a:pt x="507810" y="2618009"/>
                    <a:pt x="951735" y="2854973"/>
                    <a:pt x="1429056" y="2854973"/>
                  </a:cubicBezTo>
                  <a:cubicBezTo>
                    <a:pt x="1906378" y="2854973"/>
                    <a:pt x="2350287" y="2617988"/>
                    <a:pt x="2616579" y="2221090"/>
                  </a:cubicBezTo>
                  <a:cubicBezTo>
                    <a:pt x="2622836" y="2211788"/>
                    <a:pt x="2624928" y="2200290"/>
                    <a:pt x="2622401" y="2189372"/>
                  </a:cubicBezTo>
                  <a:cubicBezTo>
                    <a:pt x="2619853" y="2178433"/>
                    <a:pt x="2612892" y="2169069"/>
                    <a:pt x="2603175" y="2163434"/>
                  </a:cubicBezTo>
                  <a:close/>
                  <a:moveTo>
                    <a:pt x="1429057" y="2774002"/>
                  </a:moveTo>
                  <a:cubicBezTo>
                    <a:pt x="993273" y="2774002"/>
                    <a:pt x="586956" y="2564553"/>
                    <a:pt x="333551" y="2211611"/>
                  </a:cubicBezTo>
                  <a:lnTo>
                    <a:pt x="1429057" y="1579107"/>
                  </a:lnTo>
                  <a:lnTo>
                    <a:pt x="2524563" y="2211611"/>
                  </a:lnTo>
                  <a:cubicBezTo>
                    <a:pt x="2271132" y="2564548"/>
                    <a:pt x="1864851" y="2774002"/>
                    <a:pt x="1429057" y="2774002"/>
                  </a:cubicBezTo>
                  <a:close/>
                  <a:moveTo>
                    <a:pt x="2470572" y="447431"/>
                  </a:moveTo>
                  <a:cubicBezTo>
                    <a:pt x="2221739" y="182751"/>
                    <a:pt x="1885694" y="23893"/>
                    <a:pt x="1524309" y="107"/>
                  </a:cubicBezTo>
                  <a:cubicBezTo>
                    <a:pt x="1513142" y="-660"/>
                    <a:pt x="1502162" y="3297"/>
                    <a:pt x="1493958" y="10963"/>
                  </a:cubicBezTo>
                  <a:cubicBezTo>
                    <a:pt x="1485796" y="18607"/>
                    <a:pt x="1481155" y="29318"/>
                    <a:pt x="1481155" y="40546"/>
                  </a:cubicBezTo>
                  <a:lnTo>
                    <a:pt x="1481155" y="1372963"/>
                  </a:lnTo>
                  <a:cubicBezTo>
                    <a:pt x="1481155" y="1387444"/>
                    <a:pt x="1488862" y="1400806"/>
                    <a:pt x="1501416" y="1408037"/>
                  </a:cubicBezTo>
                  <a:lnTo>
                    <a:pt x="2654996" y="2074059"/>
                  </a:lnTo>
                  <a:cubicBezTo>
                    <a:pt x="2661211" y="2077644"/>
                    <a:pt x="2668214" y="2079466"/>
                    <a:pt x="2675257" y="2079466"/>
                  </a:cubicBezTo>
                  <a:cubicBezTo>
                    <a:pt x="2679194" y="2079466"/>
                    <a:pt x="2683171" y="2078886"/>
                    <a:pt x="2687004" y="2077726"/>
                  </a:cubicBezTo>
                  <a:cubicBezTo>
                    <a:pt x="2697714" y="2074474"/>
                    <a:pt x="2706623" y="2066932"/>
                    <a:pt x="2711574" y="2056864"/>
                  </a:cubicBezTo>
                  <a:cubicBezTo>
                    <a:pt x="2808842" y="1859513"/>
                    <a:pt x="2858149" y="1647248"/>
                    <a:pt x="2858149" y="1425951"/>
                  </a:cubicBezTo>
                  <a:cubicBezTo>
                    <a:pt x="2858149" y="1060832"/>
                    <a:pt x="2720505" y="713310"/>
                    <a:pt x="2470574" y="447442"/>
                  </a:cubicBezTo>
                  <a:close/>
                  <a:moveTo>
                    <a:pt x="2657460" y="1981913"/>
                  </a:moveTo>
                  <a:lnTo>
                    <a:pt x="1562166" y="1349569"/>
                  </a:lnTo>
                  <a:lnTo>
                    <a:pt x="1562145" y="84455"/>
                  </a:lnTo>
                  <a:cubicBezTo>
                    <a:pt x="2246889" y="151662"/>
                    <a:pt x="2777140" y="732710"/>
                    <a:pt x="2777140" y="1425940"/>
                  </a:cubicBezTo>
                  <a:cubicBezTo>
                    <a:pt x="2777140" y="1620183"/>
                    <a:pt x="2736888" y="1806991"/>
                    <a:pt x="2657439" y="1981967"/>
                  </a:cubicBezTo>
                  <a:close/>
                  <a:moveTo>
                    <a:pt x="1449041" y="1811102"/>
                  </a:moveTo>
                  <a:lnTo>
                    <a:pt x="1754951" y="1984237"/>
                  </a:lnTo>
                  <a:lnTo>
                    <a:pt x="1738087" y="1917571"/>
                  </a:lnTo>
                  <a:cubicBezTo>
                    <a:pt x="1732618" y="1895880"/>
                    <a:pt x="1745732" y="1873858"/>
                    <a:pt x="1767422" y="1868388"/>
                  </a:cubicBezTo>
                  <a:cubicBezTo>
                    <a:pt x="1789113" y="1862940"/>
                    <a:pt x="1811135" y="1876033"/>
                    <a:pt x="1816604" y="1897724"/>
                  </a:cubicBezTo>
                  <a:lnTo>
                    <a:pt x="1856692" y="2056210"/>
                  </a:lnTo>
                  <a:cubicBezTo>
                    <a:pt x="1862161" y="2077901"/>
                    <a:pt x="1849047" y="2099923"/>
                    <a:pt x="1827357" y="2105392"/>
                  </a:cubicBezTo>
                  <a:lnTo>
                    <a:pt x="1668870" y="2145480"/>
                  </a:lnTo>
                  <a:cubicBezTo>
                    <a:pt x="1647221" y="2150949"/>
                    <a:pt x="1625157" y="2137835"/>
                    <a:pt x="1619688" y="2116145"/>
                  </a:cubicBezTo>
                  <a:cubicBezTo>
                    <a:pt x="1614219" y="2094454"/>
                    <a:pt x="1627333" y="2072432"/>
                    <a:pt x="1649023" y="2066963"/>
                  </a:cubicBezTo>
                  <a:lnTo>
                    <a:pt x="1709601" y="2051653"/>
                  </a:lnTo>
                  <a:lnTo>
                    <a:pt x="1430542" y="1893750"/>
                  </a:lnTo>
                  <a:lnTo>
                    <a:pt x="1031470" y="2152919"/>
                  </a:lnTo>
                  <a:cubicBezTo>
                    <a:pt x="1024654" y="2157353"/>
                    <a:pt x="1017030" y="2159445"/>
                    <a:pt x="1009448" y="2159445"/>
                  </a:cubicBezTo>
                  <a:cubicBezTo>
                    <a:pt x="996210" y="2159445"/>
                    <a:pt x="983220" y="2152940"/>
                    <a:pt x="975451" y="2141007"/>
                  </a:cubicBezTo>
                  <a:cubicBezTo>
                    <a:pt x="963269" y="2122258"/>
                    <a:pt x="968614" y="2097170"/>
                    <a:pt x="987363" y="2084991"/>
                  </a:cubicBezTo>
                  <a:lnTo>
                    <a:pt x="1407030" y="1812456"/>
                  </a:lnTo>
                  <a:cubicBezTo>
                    <a:pt x="1419688" y="1804149"/>
                    <a:pt x="1435909" y="1803651"/>
                    <a:pt x="1449044" y="1811109"/>
                  </a:cubicBezTo>
                  <a:close/>
                  <a:moveTo>
                    <a:pt x="1180134" y="2326582"/>
                  </a:moveTo>
                  <a:lnTo>
                    <a:pt x="1009385" y="2326582"/>
                  </a:lnTo>
                  <a:cubicBezTo>
                    <a:pt x="987011" y="2326582"/>
                    <a:pt x="968883" y="2344710"/>
                    <a:pt x="968883" y="2367084"/>
                  </a:cubicBezTo>
                  <a:lnTo>
                    <a:pt x="968883" y="2551569"/>
                  </a:lnTo>
                  <a:cubicBezTo>
                    <a:pt x="968883" y="2573943"/>
                    <a:pt x="987011" y="2592070"/>
                    <a:pt x="1009385" y="2592070"/>
                  </a:cubicBezTo>
                  <a:lnTo>
                    <a:pt x="1180134" y="2592070"/>
                  </a:lnTo>
                  <a:cubicBezTo>
                    <a:pt x="1202508" y="2592070"/>
                    <a:pt x="1220636" y="2573943"/>
                    <a:pt x="1220636" y="2551569"/>
                  </a:cubicBezTo>
                  <a:lnTo>
                    <a:pt x="1220636" y="2367084"/>
                  </a:lnTo>
                  <a:cubicBezTo>
                    <a:pt x="1220636" y="2344709"/>
                    <a:pt x="1202508" y="2326582"/>
                    <a:pt x="1180134" y="2326582"/>
                  </a:cubicBezTo>
                  <a:close/>
                  <a:moveTo>
                    <a:pt x="1139632" y="2511067"/>
                  </a:moveTo>
                  <a:lnTo>
                    <a:pt x="1049885" y="2511067"/>
                  </a:lnTo>
                  <a:lnTo>
                    <a:pt x="1049885" y="2407584"/>
                  </a:lnTo>
                  <a:lnTo>
                    <a:pt x="1139632" y="2407584"/>
                  </a:lnTo>
                  <a:close/>
                  <a:moveTo>
                    <a:pt x="1678051" y="2326582"/>
                  </a:moveTo>
                  <a:cubicBezTo>
                    <a:pt x="1655676" y="2326582"/>
                    <a:pt x="1637549" y="2344710"/>
                    <a:pt x="1637549" y="2367084"/>
                  </a:cubicBezTo>
                  <a:lnTo>
                    <a:pt x="1637549" y="2551569"/>
                  </a:lnTo>
                  <a:cubicBezTo>
                    <a:pt x="1637549" y="2573943"/>
                    <a:pt x="1655676" y="2592070"/>
                    <a:pt x="1678051" y="2592070"/>
                  </a:cubicBezTo>
                  <a:lnTo>
                    <a:pt x="1848799" y="2592070"/>
                  </a:lnTo>
                  <a:cubicBezTo>
                    <a:pt x="1871174" y="2592070"/>
                    <a:pt x="1889301" y="2573943"/>
                    <a:pt x="1889301" y="2551569"/>
                  </a:cubicBezTo>
                  <a:lnTo>
                    <a:pt x="1889301" y="2367084"/>
                  </a:lnTo>
                  <a:cubicBezTo>
                    <a:pt x="1889301" y="2344709"/>
                    <a:pt x="1871173" y="2326582"/>
                    <a:pt x="1848799" y="2326582"/>
                  </a:cubicBezTo>
                  <a:close/>
                  <a:moveTo>
                    <a:pt x="1808301" y="2511067"/>
                  </a:moveTo>
                  <a:lnTo>
                    <a:pt x="1718554" y="2511067"/>
                  </a:lnTo>
                  <a:lnTo>
                    <a:pt x="1718554" y="2407584"/>
                  </a:lnTo>
                  <a:lnTo>
                    <a:pt x="1808301" y="2407584"/>
                  </a:lnTo>
                  <a:close/>
                  <a:moveTo>
                    <a:pt x="1514494" y="2144829"/>
                  </a:moveTo>
                  <a:lnTo>
                    <a:pt x="1343724" y="2144829"/>
                  </a:lnTo>
                  <a:cubicBezTo>
                    <a:pt x="1321349" y="2144829"/>
                    <a:pt x="1303222" y="2162956"/>
                    <a:pt x="1303222" y="2185330"/>
                  </a:cubicBezTo>
                  <a:lnTo>
                    <a:pt x="1303222" y="2551569"/>
                  </a:lnTo>
                  <a:cubicBezTo>
                    <a:pt x="1303222" y="2573943"/>
                    <a:pt x="1321350" y="2592070"/>
                    <a:pt x="1343724" y="2592070"/>
                  </a:cubicBezTo>
                  <a:lnTo>
                    <a:pt x="1514494" y="2592070"/>
                  </a:lnTo>
                  <a:cubicBezTo>
                    <a:pt x="1536868" y="2592070"/>
                    <a:pt x="1554996" y="2573943"/>
                    <a:pt x="1554996" y="2551569"/>
                  </a:cubicBezTo>
                  <a:lnTo>
                    <a:pt x="1554975" y="2185330"/>
                  </a:lnTo>
                  <a:cubicBezTo>
                    <a:pt x="1554975" y="2162956"/>
                    <a:pt x="1536847" y="2144829"/>
                    <a:pt x="1514494" y="2144829"/>
                  </a:cubicBezTo>
                  <a:close/>
                  <a:moveTo>
                    <a:pt x="1473992" y="2511067"/>
                  </a:moveTo>
                  <a:lnTo>
                    <a:pt x="1384245" y="2511067"/>
                  </a:lnTo>
                  <a:lnTo>
                    <a:pt x="1384245" y="2225814"/>
                  </a:lnTo>
                  <a:lnTo>
                    <a:pt x="1473992" y="2225814"/>
                  </a:lnTo>
                  <a:close/>
                  <a:moveTo>
                    <a:pt x="1862871" y="858633"/>
                  </a:moveTo>
                  <a:lnTo>
                    <a:pt x="1692101" y="858633"/>
                  </a:lnTo>
                  <a:cubicBezTo>
                    <a:pt x="1669727" y="858633"/>
                    <a:pt x="1651600" y="876761"/>
                    <a:pt x="1651600" y="899135"/>
                  </a:cubicBezTo>
                  <a:lnTo>
                    <a:pt x="1651600" y="1265373"/>
                  </a:lnTo>
                  <a:cubicBezTo>
                    <a:pt x="1651600" y="1287748"/>
                    <a:pt x="1669727" y="1305875"/>
                    <a:pt x="1692101" y="1305875"/>
                  </a:cubicBezTo>
                  <a:lnTo>
                    <a:pt x="1862871" y="1305875"/>
                  </a:lnTo>
                  <a:cubicBezTo>
                    <a:pt x="1885246" y="1305875"/>
                    <a:pt x="1903373" y="1287747"/>
                    <a:pt x="1903373" y="1265373"/>
                  </a:cubicBezTo>
                  <a:lnTo>
                    <a:pt x="1903373" y="899114"/>
                  </a:lnTo>
                  <a:cubicBezTo>
                    <a:pt x="1903373" y="876760"/>
                    <a:pt x="1885245" y="858632"/>
                    <a:pt x="1862871" y="858632"/>
                  </a:cubicBezTo>
                  <a:close/>
                  <a:moveTo>
                    <a:pt x="1822369" y="1224871"/>
                  </a:moveTo>
                  <a:lnTo>
                    <a:pt x="1732601" y="1224871"/>
                  </a:lnTo>
                  <a:lnTo>
                    <a:pt x="1732601" y="939619"/>
                  </a:lnTo>
                  <a:lnTo>
                    <a:pt x="1822348" y="939619"/>
                  </a:lnTo>
                  <a:lnTo>
                    <a:pt x="1822348" y="1224871"/>
                  </a:lnTo>
                  <a:close/>
                  <a:moveTo>
                    <a:pt x="2531510" y="858633"/>
                  </a:moveTo>
                  <a:lnTo>
                    <a:pt x="2360740" y="858633"/>
                  </a:lnTo>
                  <a:cubicBezTo>
                    <a:pt x="2338365" y="858633"/>
                    <a:pt x="2320238" y="876761"/>
                    <a:pt x="2320238" y="899135"/>
                  </a:cubicBezTo>
                  <a:lnTo>
                    <a:pt x="2320238" y="1265373"/>
                  </a:lnTo>
                  <a:cubicBezTo>
                    <a:pt x="2320238" y="1287748"/>
                    <a:pt x="2338366" y="1305875"/>
                    <a:pt x="2360740" y="1305875"/>
                  </a:cubicBezTo>
                  <a:lnTo>
                    <a:pt x="2531510" y="1305875"/>
                  </a:lnTo>
                  <a:cubicBezTo>
                    <a:pt x="2553885" y="1305875"/>
                    <a:pt x="2572012" y="1287747"/>
                    <a:pt x="2572012" y="1265373"/>
                  </a:cubicBezTo>
                  <a:lnTo>
                    <a:pt x="2572012" y="899114"/>
                  </a:lnTo>
                  <a:cubicBezTo>
                    <a:pt x="2572012" y="876760"/>
                    <a:pt x="2553884" y="858632"/>
                    <a:pt x="2531510" y="858632"/>
                  </a:cubicBezTo>
                  <a:close/>
                  <a:moveTo>
                    <a:pt x="2491029" y="1224871"/>
                  </a:moveTo>
                  <a:lnTo>
                    <a:pt x="2401282" y="1224871"/>
                  </a:lnTo>
                  <a:lnTo>
                    <a:pt x="2401282" y="939619"/>
                  </a:lnTo>
                  <a:lnTo>
                    <a:pt x="2491029" y="939619"/>
                  </a:lnTo>
                  <a:close/>
                  <a:moveTo>
                    <a:pt x="2197179" y="1040386"/>
                  </a:moveTo>
                  <a:lnTo>
                    <a:pt x="2026430" y="1040386"/>
                  </a:lnTo>
                  <a:cubicBezTo>
                    <a:pt x="2004056" y="1040386"/>
                    <a:pt x="1985929" y="1058514"/>
                    <a:pt x="1985929" y="1080888"/>
                  </a:cubicBezTo>
                  <a:lnTo>
                    <a:pt x="1985929" y="1265394"/>
                  </a:lnTo>
                  <a:cubicBezTo>
                    <a:pt x="1985929" y="1287769"/>
                    <a:pt x="2004056" y="1305896"/>
                    <a:pt x="2026430" y="1305896"/>
                  </a:cubicBezTo>
                  <a:lnTo>
                    <a:pt x="2197179" y="1305896"/>
                  </a:lnTo>
                  <a:cubicBezTo>
                    <a:pt x="2219554" y="1305896"/>
                    <a:pt x="2237681" y="1287768"/>
                    <a:pt x="2237681" y="1265394"/>
                  </a:cubicBezTo>
                  <a:lnTo>
                    <a:pt x="2237681" y="1080888"/>
                  </a:lnTo>
                  <a:cubicBezTo>
                    <a:pt x="2237681" y="1058514"/>
                    <a:pt x="2219553" y="1040386"/>
                    <a:pt x="2197179" y="1040386"/>
                  </a:cubicBezTo>
                  <a:close/>
                  <a:moveTo>
                    <a:pt x="2156677" y="1224871"/>
                  </a:moveTo>
                  <a:lnTo>
                    <a:pt x="2066930" y="1224871"/>
                  </a:lnTo>
                  <a:lnTo>
                    <a:pt x="2066930" y="1121388"/>
                  </a:lnTo>
                  <a:lnTo>
                    <a:pt x="2156677" y="1121388"/>
                  </a:lnTo>
                  <a:close/>
                  <a:moveTo>
                    <a:pt x="2310603" y="757701"/>
                  </a:moveTo>
                  <a:lnTo>
                    <a:pt x="2322474" y="702156"/>
                  </a:lnTo>
                  <a:lnTo>
                    <a:pt x="2077910" y="882064"/>
                  </a:lnTo>
                  <a:cubicBezTo>
                    <a:pt x="2070700" y="887347"/>
                    <a:pt x="2062290" y="889957"/>
                    <a:pt x="2053941" y="889957"/>
                  </a:cubicBezTo>
                  <a:cubicBezTo>
                    <a:pt x="2042671" y="889957"/>
                    <a:pt x="2031545" y="885296"/>
                    <a:pt x="2023590" y="876284"/>
                  </a:cubicBezTo>
                  <a:lnTo>
                    <a:pt x="1886254" y="720969"/>
                  </a:lnTo>
                  <a:lnTo>
                    <a:pt x="1742082" y="817097"/>
                  </a:lnTo>
                  <a:cubicBezTo>
                    <a:pt x="1723498" y="829506"/>
                    <a:pt x="1698327" y="824492"/>
                    <a:pt x="1685938" y="805868"/>
                  </a:cubicBezTo>
                  <a:cubicBezTo>
                    <a:pt x="1673529" y="787243"/>
                    <a:pt x="1678542" y="762113"/>
                    <a:pt x="1697167" y="749724"/>
                  </a:cubicBezTo>
                  <a:lnTo>
                    <a:pt x="1870753" y="634021"/>
                  </a:lnTo>
                  <a:cubicBezTo>
                    <a:pt x="1887617" y="622793"/>
                    <a:pt x="1910136" y="625735"/>
                    <a:pt x="1923560" y="640900"/>
                  </a:cubicBezTo>
                  <a:lnTo>
                    <a:pt x="2059777" y="794931"/>
                  </a:lnTo>
                  <a:lnTo>
                    <a:pt x="2287916" y="627121"/>
                  </a:lnTo>
                  <a:lnTo>
                    <a:pt x="2216132" y="611749"/>
                  </a:lnTo>
                  <a:cubicBezTo>
                    <a:pt x="2194255" y="607088"/>
                    <a:pt x="2180333" y="585542"/>
                    <a:pt x="2185015" y="563665"/>
                  </a:cubicBezTo>
                  <a:cubicBezTo>
                    <a:pt x="2189676" y="541788"/>
                    <a:pt x="2211222" y="527866"/>
                    <a:pt x="2233099" y="532548"/>
                  </a:cubicBezTo>
                  <a:lnTo>
                    <a:pt x="2392954" y="566772"/>
                  </a:lnTo>
                  <a:cubicBezTo>
                    <a:pt x="2403479" y="569030"/>
                    <a:pt x="2412635" y="575349"/>
                    <a:pt x="2418477" y="584382"/>
                  </a:cubicBezTo>
                  <a:cubicBezTo>
                    <a:pt x="2424320" y="593393"/>
                    <a:pt x="2426330" y="604373"/>
                    <a:pt x="2424071" y="614856"/>
                  </a:cubicBezTo>
                  <a:lnTo>
                    <a:pt x="2389847" y="774711"/>
                  </a:lnTo>
                  <a:cubicBezTo>
                    <a:pt x="2385185" y="796589"/>
                    <a:pt x="2363640" y="810510"/>
                    <a:pt x="2341762" y="805829"/>
                  </a:cubicBezTo>
                  <a:cubicBezTo>
                    <a:pt x="2319844" y="801105"/>
                    <a:pt x="2305922" y="779580"/>
                    <a:pt x="2310604" y="757703"/>
                  </a:cubicBezTo>
                  <a:close/>
                  <a:moveTo>
                    <a:pt x="971981" y="477439"/>
                  </a:moveTo>
                  <a:cubicBezTo>
                    <a:pt x="981242" y="457074"/>
                    <a:pt x="1005232" y="448082"/>
                    <a:pt x="1025616" y="457364"/>
                  </a:cubicBezTo>
                  <a:lnTo>
                    <a:pt x="1174429" y="525048"/>
                  </a:lnTo>
                  <a:cubicBezTo>
                    <a:pt x="1194794" y="534308"/>
                    <a:pt x="1203786" y="558340"/>
                    <a:pt x="1194504" y="578683"/>
                  </a:cubicBezTo>
                  <a:lnTo>
                    <a:pt x="1126820" y="727496"/>
                  </a:lnTo>
                  <a:cubicBezTo>
                    <a:pt x="1117539" y="747861"/>
                    <a:pt x="1093528" y="756852"/>
                    <a:pt x="1073185" y="747571"/>
                  </a:cubicBezTo>
                  <a:cubicBezTo>
                    <a:pt x="1052820" y="738310"/>
                    <a:pt x="1043829" y="714279"/>
                    <a:pt x="1053110" y="693936"/>
                  </a:cubicBezTo>
                  <a:lnTo>
                    <a:pt x="1079835" y="635162"/>
                  </a:lnTo>
                  <a:lnTo>
                    <a:pt x="349693" y="915546"/>
                  </a:lnTo>
                  <a:cubicBezTo>
                    <a:pt x="344928" y="917369"/>
                    <a:pt x="340018" y="918239"/>
                    <a:pt x="335190" y="918239"/>
                  </a:cubicBezTo>
                  <a:cubicBezTo>
                    <a:pt x="318928" y="918239"/>
                    <a:pt x="303576" y="908336"/>
                    <a:pt x="297382" y="892260"/>
                  </a:cubicBezTo>
                  <a:cubicBezTo>
                    <a:pt x="289364" y="871377"/>
                    <a:pt x="299785" y="847966"/>
                    <a:pt x="320668" y="839949"/>
                  </a:cubicBezTo>
                  <a:lnTo>
                    <a:pt x="1052932" y="558738"/>
                  </a:lnTo>
                  <a:lnTo>
                    <a:pt x="992105" y="531039"/>
                  </a:lnTo>
                  <a:cubicBezTo>
                    <a:pt x="971678" y="521840"/>
                    <a:pt x="962687" y="497829"/>
                    <a:pt x="971968" y="477446"/>
                  </a:cubicBezTo>
                  <a:close/>
                  <a:moveTo>
                    <a:pt x="1166103" y="858633"/>
                  </a:moveTo>
                  <a:lnTo>
                    <a:pt x="995354" y="858633"/>
                  </a:lnTo>
                  <a:cubicBezTo>
                    <a:pt x="972979" y="858633"/>
                    <a:pt x="954852" y="876761"/>
                    <a:pt x="954852" y="899135"/>
                  </a:cubicBezTo>
                  <a:lnTo>
                    <a:pt x="954852" y="1265373"/>
                  </a:lnTo>
                  <a:cubicBezTo>
                    <a:pt x="954852" y="1287748"/>
                    <a:pt x="972980" y="1305875"/>
                    <a:pt x="995354" y="1305875"/>
                  </a:cubicBezTo>
                  <a:lnTo>
                    <a:pt x="1166103" y="1305875"/>
                  </a:lnTo>
                  <a:cubicBezTo>
                    <a:pt x="1188477" y="1305875"/>
                    <a:pt x="1206604" y="1287747"/>
                    <a:pt x="1206604" y="1265373"/>
                  </a:cubicBezTo>
                  <a:lnTo>
                    <a:pt x="1206604" y="899114"/>
                  </a:lnTo>
                  <a:cubicBezTo>
                    <a:pt x="1206604" y="876760"/>
                    <a:pt x="1188477" y="858632"/>
                    <a:pt x="1166103" y="858632"/>
                  </a:cubicBezTo>
                  <a:close/>
                  <a:moveTo>
                    <a:pt x="1125601" y="1224871"/>
                  </a:moveTo>
                  <a:lnTo>
                    <a:pt x="1035854" y="1224871"/>
                  </a:lnTo>
                  <a:lnTo>
                    <a:pt x="1035854" y="939619"/>
                  </a:lnTo>
                  <a:lnTo>
                    <a:pt x="1125601" y="939619"/>
                  </a:lnTo>
                  <a:close/>
                  <a:moveTo>
                    <a:pt x="831772" y="949499"/>
                  </a:moveTo>
                  <a:lnTo>
                    <a:pt x="661003" y="949499"/>
                  </a:lnTo>
                  <a:cubicBezTo>
                    <a:pt x="638628" y="949499"/>
                    <a:pt x="620501" y="967627"/>
                    <a:pt x="620501" y="990001"/>
                  </a:cubicBezTo>
                  <a:lnTo>
                    <a:pt x="620501" y="1265373"/>
                  </a:lnTo>
                  <a:cubicBezTo>
                    <a:pt x="620501" y="1287748"/>
                    <a:pt x="638629" y="1305875"/>
                    <a:pt x="661003" y="1305875"/>
                  </a:cubicBezTo>
                  <a:lnTo>
                    <a:pt x="831772" y="1305875"/>
                  </a:lnTo>
                  <a:cubicBezTo>
                    <a:pt x="854147" y="1305875"/>
                    <a:pt x="872274" y="1287747"/>
                    <a:pt x="872274" y="1265373"/>
                  </a:cubicBezTo>
                  <a:lnTo>
                    <a:pt x="872274" y="990001"/>
                  </a:lnTo>
                  <a:cubicBezTo>
                    <a:pt x="872254" y="967626"/>
                    <a:pt x="854126" y="949499"/>
                    <a:pt x="831772" y="949499"/>
                  </a:cubicBezTo>
                  <a:close/>
                  <a:moveTo>
                    <a:pt x="791271" y="1224871"/>
                  </a:moveTo>
                  <a:lnTo>
                    <a:pt x="701524" y="1224871"/>
                  </a:lnTo>
                  <a:lnTo>
                    <a:pt x="701524" y="1030485"/>
                  </a:lnTo>
                  <a:lnTo>
                    <a:pt x="791271" y="1030485"/>
                  </a:lnTo>
                  <a:close/>
                  <a:moveTo>
                    <a:pt x="497463" y="1040386"/>
                  </a:moveTo>
                  <a:lnTo>
                    <a:pt x="326715" y="1040386"/>
                  </a:lnTo>
                  <a:cubicBezTo>
                    <a:pt x="304340" y="1040386"/>
                    <a:pt x="286213" y="1058514"/>
                    <a:pt x="286213" y="1080888"/>
                  </a:cubicBezTo>
                  <a:lnTo>
                    <a:pt x="286213" y="1265394"/>
                  </a:lnTo>
                  <a:cubicBezTo>
                    <a:pt x="286213" y="1287769"/>
                    <a:pt x="304341" y="1305896"/>
                    <a:pt x="326715" y="1305896"/>
                  </a:cubicBezTo>
                  <a:lnTo>
                    <a:pt x="497463" y="1305896"/>
                  </a:lnTo>
                  <a:cubicBezTo>
                    <a:pt x="519838" y="1305896"/>
                    <a:pt x="537965" y="1287768"/>
                    <a:pt x="537965" y="1265394"/>
                  </a:cubicBezTo>
                  <a:lnTo>
                    <a:pt x="537965" y="1080888"/>
                  </a:lnTo>
                  <a:cubicBezTo>
                    <a:pt x="537965" y="1058514"/>
                    <a:pt x="519817" y="1040386"/>
                    <a:pt x="497463" y="1040386"/>
                  </a:cubicBezTo>
                  <a:close/>
                  <a:moveTo>
                    <a:pt x="456920" y="1224871"/>
                  </a:moveTo>
                  <a:lnTo>
                    <a:pt x="367173" y="1224871"/>
                  </a:lnTo>
                  <a:lnTo>
                    <a:pt x="367173" y="1121388"/>
                  </a:lnTo>
                  <a:lnTo>
                    <a:pt x="456920" y="112138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303540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9546" name="Freeform: Shape 9545">
            <a:extLst>
              <a:ext uri="{FF2B5EF4-FFF2-40B4-BE49-F238E27FC236}">
                <a16:creationId xmlns:a16="http://schemas.microsoft.com/office/drawing/2014/main" id="{E29E93CA-136F-B81F-27D3-7F69AB541248}"/>
              </a:ext>
            </a:extLst>
          </p:cNvPr>
          <p:cNvSpPr/>
          <p:nvPr/>
        </p:nvSpPr>
        <p:spPr>
          <a:xfrm>
            <a:off x="0" y="1"/>
            <a:ext cx="12192000" cy="130441"/>
          </a:xfrm>
          <a:custGeom>
            <a:avLst/>
            <a:gdLst>
              <a:gd name="connsiteX0" fmla="*/ 0 w 12192000"/>
              <a:gd name="connsiteY0" fmla="*/ 0 h 130441"/>
              <a:gd name="connsiteX1" fmla="*/ 12192000 w 12192000"/>
              <a:gd name="connsiteY1" fmla="*/ 0 h 130441"/>
              <a:gd name="connsiteX2" fmla="*/ 12192000 w 12192000"/>
              <a:gd name="connsiteY2" fmla="*/ 130441 h 130441"/>
              <a:gd name="connsiteX3" fmla="*/ 12115056 w 12192000"/>
              <a:gd name="connsiteY3" fmla="*/ 53497 h 130441"/>
              <a:gd name="connsiteX4" fmla="*/ 76944 w 12192000"/>
              <a:gd name="connsiteY4" fmla="*/ 53497 h 130441"/>
              <a:gd name="connsiteX5" fmla="*/ 0 w 12192000"/>
              <a:gd name="connsiteY5" fmla="*/ 130441 h 13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30441">
                <a:moveTo>
                  <a:pt x="0" y="0"/>
                </a:moveTo>
                <a:lnTo>
                  <a:pt x="12192000" y="0"/>
                </a:lnTo>
                <a:lnTo>
                  <a:pt x="12192000" y="130441"/>
                </a:lnTo>
                <a:cubicBezTo>
                  <a:pt x="12192000" y="87946"/>
                  <a:pt x="12157551" y="53497"/>
                  <a:pt x="12115056" y="53497"/>
                </a:cubicBezTo>
                <a:lnTo>
                  <a:pt x="76944" y="53497"/>
                </a:lnTo>
                <a:cubicBezTo>
                  <a:pt x="34449" y="53497"/>
                  <a:pt x="0" y="87946"/>
                  <a:pt x="0" y="13044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  <a:sym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E9F7618-98A3-3C7F-4110-E3DBF44F3D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796" r="12510"/>
          <a:stretch/>
        </p:blipFill>
        <p:spPr>
          <a:xfrm>
            <a:off x="7295534" y="1"/>
            <a:ext cx="4896465" cy="6857998"/>
          </a:xfrm>
          <a:prstGeom prst="rect">
            <a:avLst/>
          </a:prstGeom>
        </p:spPr>
      </p:pic>
      <p:sp>
        <p:nvSpPr>
          <p:cNvPr id="9498" name="Google Shape;9498;p5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Trebuchet MS"/>
                <a:sym typeface="Trebuchet M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rebuchet MS"/>
              <a:sym typeface="Trebuchet MS"/>
            </a:endParaRPr>
          </a:p>
        </p:txBody>
      </p:sp>
      <p:sp>
        <p:nvSpPr>
          <p:cNvPr id="3" name="Google Shape;9497;p5">
            <a:extLst>
              <a:ext uri="{FF2B5EF4-FFF2-40B4-BE49-F238E27FC236}">
                <a16:creationId xmlns:a16="http://schemas.microsoft.com/office/drawing/2014/main" id="{C0985640-9605-5009-33B8-6A1FB3C8C6D6}"/>
              </a:ext>
            </a:extLst>
          </p:cNvPr>
          <p:cNvSpPr txBox="1">
            <a:spLocks/>
          </p:cNvSpPr>
          <p:nvPr/>
        </p:nvSpPr>
        <p:spPr>
          <a:xfrm>
            <a:off x="1579288" y="1695478"/>
            <a:ext cx="5592373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N" sz="2400" dirty="0"/>
              <a:t>Introduction </a:t>
            </a:r>
          </a:p>
        </p:txBody>
      </p:sp>
      <p:sp>
        <p:nvSpPr>
          <p:cNvPr id="7" name="Google Shape;9497;p5">
            <a:extLst>
              <a:ext uri="{FF2B5EF4-FFF2-40B4-BE49-F238E27FC236}">
                <a16:creationId xmlns:a16="http://schemas.microsoft.com/office/drawing/2014/main" id="{33939007-5596-F20F-5F2E-47D422C1B727}"/>
              </a:ext>
            </a:extLst>
          </p:cNvPr>
          <p:cNvSpPr txBox="1">
            <a:spLocks/>
          </p:cNvSpPr>
          <p:nvPr/>
        </p:nvSpPr>
        <p:spPr>
          <a:xfrm>
            <a:off x="1579288" y="2838662"/>
            <a:ext cx="5592373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N" sz="2400" dirty="0"/>
              <a:t>Purpose</a:t>
            </a:r>
          </a:p>
        </p:txBody>
      </p:sp>
      <p:sp>
        <p:nvSpPr>
          <p:cNvPr id="8" name="Google Shape;9497;p5">
            <a:extLst>
              <a:ext uri="{FF2B5EF4-FFF2-40B4-BE49-F238E27FC236}">
                <a16:creationId xmlns:a16="http://schemas.microsoft.com/office/drawing/2014/main" id="{E7858EF5-D6D2-3103-A1F9-0B783D30AE54}"/>
              </a:ext>
            </a:extLst>
          </p:cNvPr>
          <p:cNvSpPr txBox="1">
            <a:spLocks/>
          </p:cNvSpPr>
          <p:nvPr/>
        </p:nvSpPr>
        <p:spPr>
          <a:xfrm>
            <a:off x="1531341" y="3891188"/>
            <a:ext cx="576419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N" sz="2400" dirty="0" err="1"/>
              <a:t>Nixtla</a:t>
            </a:r>
            <a:r>
              <a:rPr lang="en-IN" sz="2400" dirty="0"/>
              <a:t> Libraries </a:t>
            </a:r>
          </a:p>
        </p:txBody>
      </p:sp>
      <p:sp>
        <p:nvSpPr>
          <p:cNvPr id="9" name="Google Shape;9497;p5">
            <a:extLst>
              <a:ext uri="{FF2B5EF4-FFF2-40B4-BE49-F238E27FC236}">
                <a16:creationId xmlns:a16="http://schemas.microsoft.com/office/drawing/2014/main" id="{5F986B12-1E1D-A9E8-9D9F-4851B7A4EA75}"/>
              </a:ext>
            </a:extLst>
          </p:cNvPr>
          <p:cNvSpPr txBox="1">
            <a:spLocks/>
          </p:cNvSpPr>
          <p:nvPr/>
        </p:nvSpPr>
        <p:spPr>
          <a:xfrm>
            <a:off x="1579288" y="5218215"/>
            <a:ext cx="5592373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3540"/>
              </a:buClr>
              <a:buSzPts val="3200"/>
              <a:buFont typeface="Trebuchet MS"/>
              <a:buNone/>
              <a:defRPr sz="3200" b="1" i="0" u="none" strike="noStrike" cap="none">
                <a:solidFill>
                  <a:srgbClr val="3035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N" sz="2400" dirty="0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30034557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76965C-6814-9635-137E-3C77CBC5F697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1213201" y="6488668"/>
            <a:ext cx="623200" cy="369332"/>
          </a:xfrm>
        </p:spPr>
        <p:txBody>
          <a:bodyPr/>
          <a:lstStyle/>
          <a:p>
            <a:pPr algn="l"/>
            <a:fld id="{00000000-1234-1234-1234-123412341234}" type="slidenum">
              <a:rPr lang="en-US" sz="2400" smtClean="0"/>
              <a:pPr algn="l"/>
              <a:t>3</a:t>
            </a:fld>
            <a:endParaRPr lang="en-US" sz="2400"/>
          </a:p>
        </p:txBody>
      </p:sp>
      <p:pic>
        <p:nvPicPr>
          <p:cNvPr id="4" name="Picture 3" descr="A person holding a tablet&#10;&#10;Description automatically generated">
            <a:extLst>
              <a:ext uri="{FF2B5EF4-FFF2-40B4-BE49-F238E27FC236}">
                <a16:creationId xmlns:a16="http://schemas.microsoft.com/office/drawing/2014/main" id="{9E847128-4733-EF86-4A53-2543CB2BE7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49686" y="34817"/>
            <a:ext cx="5442314" cy="1466157"/>
          </a:xfrm>
          <a:custGeom>
            <a:avLst/>
            <a:gdLst>
              <a:gd name="connsiteX0" fmla="*/ 454780 w 5442314"/>
              <a:gd name="connsiteY0" fmla="*/ 0 h 1466157"/>
              <a:gd name="connsiteX1" fmla="*/ 5442314 w 5442314"/>
              <a:gd name="connsiteY1" fmla="*/ 0 h 1466157"/>
              <a:gd name="connsiteX2" fmla="*/ 5442314 w 5442314"/>
              <a:gd name="connsiteY2" fmla="*/ 1466157 h 1466157"/>
              <a:gd name="connsiteX3" fmla="*/ 1224136 w 5442314"/>
              <a:gd name="connsiteY3" fmla="*/ 1466157 h 1466157"/>
              <a:gd name="connsiteX4" fmla="*/ 1209160 w 5442314"/>
              <a:gd name="connsiteY4" fmla="*/ 1466157 h 1466157"/>
              <a:gd name="connsiteX5" fmla="*/ 1132029 w 5442314"/>
              <a:gd name="connsiteY5" fmla="*/ 1462262 h 1466157"/>
              <a:gd name="connsiteX6" fmla="*/ 1124626 w 5442314"/>
              <a:gd name="connsiteY6" fmla="*/ 1461132 h 1466157"/>
              <a:gd name="connsiteX7" fmla="*/ 1098975 w 5442314"/>
              <a:gd name="connsiteY7" fmla="*/ 1459837 h 1466157"/>
              <a:gd name="connsiteX8" fmla="*/ 0 w 5442314"/>
              <a:gd name="connsiteY8" fmla="*/ 242021 h 1466157"/>
              <a:gd name="connsiteX9" fmla="*/ 6320 w 5442314"/>
              <a:gd name="connsiteY9" fmla="*/ 116861 h 1466157"/>
              <a:gd name="connsiteX10" fmla="*/ 23679 w 5442314"/>
              <a:gd name="connsiteY10" fmla="*/ 3117 h 1466157"/>
              <a:gd name="connsiteX11" fmla="*/ 454780 w 5442314"/>
              <a:gd name="connsiteY11" fmla="*/ 3117 h 1466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42314" h="1466157">
                <a:moveTo>
                  <a:pt x="454780" y="0"/>
                </a:moveTo>
                <a:lnTo>
                  <a:pt x="5442314" y="0"/>
                </a:lnTo>
                <a:lnTo>
                  <a:pt x="5442314" y="1466157"/>
                </a:lnTo>
                <a:lnTo>
                  <a:pt x="1224136" y="1466157"/>
                </a:lnTo>
                <a:lnTo>
                  <a:pt x="1209160" y="1466157"/>
                </a:lnTo>
                <a:cubicBezTo>
                  <a:pt x="1183121" y="1466157"/>
                  <a:pt x="1157390" y="1464838"/>
                  <a:pt x="1132029" y="1462262"/>
                </a:cubicBezTo>
                <a:lnTo>
                  <a:pt x="1124626" y="1461132"/>
                </a:lnTo>
                <a:lnTo>
                  <a:pt x="1098975" y="1459837"/>
                </a:lnTo>
                <a:cubicBezTo>
                  <a:pt x="481697" y="1397149"/>
                  <a:pt x="0" y="875839"/>
                  <a:pt x="0" y="242021"/>
                </a:cubicBezTo>
                <a:cubicBezTo>
                  <a:pt x="0" y="199767"/>
                  <a:pt x="2141" y="158013"/>
                  <a:pt x="6320" y="116861"/>
                </a:cubicBezTo>
                <a:lnTo>
                  <a:pt x="23679" y="3117"/>
                </a:lnTo>
                <a:lnTo>
                  <a:pt x="454780" y="3117"/>
                </a:lnTo>
                <a:close/>
              </a:path>
            </a:pathLst>
          </a:custGeom>
        </p:spPr>
      </p:pic>
      <p:sp>
        <p:nvSpPr>
          <p:cNvPr id="5" name="Rectangle: Single Corner Rounded 4">
            <a:extLst>
              <a:ext uri="{FF2B5EF4-FFF2-40B4-BE49-F238E27FC236}">
                <a16:creationId xmlns:a16="http://schemas.microsoft.com/office/drawing/2014/main" id="{93C64B0E-020E-DA02-4369-AF7DF1A8621B}"/>
              </a:ext>
            </a:extLst>
          </p:cNvPr>
          <p:cNvSpPr/>
          <p:nvPr/>
        </p:nvSpPr>
        <p:spPr>
          <a:xfrm>
            <a:off x="1" y="1718137"/>
            <a:ext cx="8272462" cy="1544674"/>
          </a:xfrm>
          <a:prstGeom prst="round1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b="1" dirty="0">
                <a:solidFill>
                  <a:schemeClr val="bg1"/>
                </a:solidFill>
                <a:latin typeface="+mj-lt"/>
              </a:rPr>
              <a:t>     Introduc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8CAA24-3168-758B-8763-F62F3B069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8258" y="3526677"/>
            <a:ext cx="9969910" cy="1538883"/>
          </a:xfrm>
        </p:spPr>
        <p:txBody>
          <a:bodyPr/>
          <a:lstStyle/>
          <a:p>
            <a:r>
              <a:rPr lang="en-US" sz="2000" u="sng" dirty="0">
                <a:solidFill>
                  <a:schemeClr val="bg1"/>
                </a:solidFill>
                <a:highlight>
                  <a:srgbClr val="000000"/>
                </a:highlight>
                <a:latin typeface="+mn-lt"/>
              </a:rPr>
              <a:t>Nixtla Offers P</a:t>
            </a:r>
            <a:r>
              <a:rPr lang="en-US" sz="2000" i="0" u="sng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+mn-lt"/>
              </a:rPr>
              <a:t>redictive insights - accessible to everyone</a:t>
            </a:r>
            <a:r>
              <a:rPr lang="en-US" sz="2000" b="0" i="0" u="sng" dirty="0">
                <a:solidFill>
                  <a:schemeClr val="tx1"/>
                </a:solidFill>
                <a:effectLst/>
                <a:highlight>
                  <a:srgbClr val="000000"/>
                </a:highlight>
                <a:latin typeface="+mn-lt"/>
              </a:rPr>
              <a:t>.</a:t>
            </a:r>
            <a:br>
              <a:rPr lang="en-US" sz="2000" b="0" i="0" u="sng" dirty="0">
                <a:solidFill>
                  <a:schemeClr val="tx1"/>
                </a:solidFill>
                <a:effectLst/>
                <a:highlight>
                  <a:srgbClr val="000000"/>
                </a:highlight>
                <a:latin typeface="+mn-lt"/>
              </a:rPr>
            </a:br>
            <a:br>
              <a:rPr lang="en-US" sz="2000" b="0" i="0" dirty="0">
                <a:solidFill>
                  <a:srgbClr val="0C0C0C"/>
                </a:solidFill>
                <a:effectLst/>
                <a:highlight>
                  <a:srgbClr val="FFFFFF"/>
                </a:highlight>
                <a:latin typeface="+mn-lt"/>
              </a:rPr>
            </a:br>
            <a:r>
              <a:rPr lang="en-US" sz="2000" b="0" i="0" dirty="0">
                <a:solidFill>
                  <a:srgbClr val="0C0C0C"/>
                </a:solidFill>
                <a:effectLst/>
                <a:highlight>
                  <a:srgbClr val="FFFFFF"/>
                </a:highlight>
                <a:latin typeface="+mn-lt"/>
              </a:rPr>
              <a:t>Nixtla is a time series research and deployment company that provides businesses of all sizes, across all industries, with state-of-the-art forecasting tools that enable them to reduce uncertainty and make data-driven decisions.</a:t>
            </a:r>
          </a:p>
        </p:txBody>
      </p:sp>
    </p:spTree>
    <p:extLst>
      <p:ext uri="{BB962C8B-B14F-4D97-AF65-F5344CB8AC3E}">
        <p14:creationId xmlns:p14="http://schemas.microsoft.com/office/powerpoint/2010/main" val="14866445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DB7AA6C9-0F59-421B-BA5A-ED58463D9D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7AA6C9-0F59-421B-BA5A-ED58463D9D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23AC86A-C872-6464-DFAD-2570F66E54F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Trebuchet MS"/>
                <a:sym typeface="Trebuchet M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rebuchet MS"/>
              <a:sym typeface="Trebuchet M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A9C2FA5-E3FA-EF74-EB37-77F7F5299ED7}"/>
              </a:ext>
            </a:extLst>
          </p:cNvPr>
          <p:cNvSpPr txBox="1"/>
          <p:nvPr/>
        </p:nvSpPr>
        <p:spPr>
          <a:xfrm>
            <a:off x="1189704" y="1504324"/>
            <a:ext cx="953729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algn="l" rtl="0" fontAlgn="t"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strike="noStrike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+mn-lt"/>
              </a:rPr>
              <a:t> 1. Advanced AI Accessible and Easy to Understand </a:t>
            </a:r>
            <a:r>
              <a:rPr lang="en-US" sz="1800" b="0" i="0" u="none" strike="noStrike" dirty="0">
                <a:solidFill>
                  <a:srgbClr val="FFFFFF"/>
                </a:solidFill>
                <a:effectLst/>
                <a:latin typeface="+mn-lt"/>
              </a:rPr>
              <a:t>AI Accessible and Easy to Understand</a:t>
            </a:r>
            <a:endParaRPr lang="en-US" sz="1800" b="0" i="0" u="none" strike="noStrike" dirty="0">
              <a:effectLst/>
              <a:latin typeface="+mn-lt"/>
            </a:endParaRPr>
          </a:p>
          <a:p>
            <a:pPr marR="0" algn="l" rtl="0" fontAlgn="t"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strike="noStrike" dirty="0">
                <a:solidFill>
                  <a:srgbClr val="303540"/>
                </a:solidFill>
                <a:effectLst/>
                <a:latin typeface="+mn-lt"/>
              </a:rPr>
              <a:t>The goal is to democratize and streamline advanced AI technologies, making them easily accessible to organizations of all sizes and levels of expertise. Nixtla aims to create user-friendly tools for temporal tabular data analysis, forecasting, and anomaly detection, ensuring that AI can be utilized seamlessly by all.</a:t>
            </a:r>
          </a:p>
          <a:p>
            <a:pPr marR="0" algn="l" rtl="0" fontAlgn="t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303540"/>
              </a:solidFill>
              <a:latin typeface="+mn-lt"/>
            </a:endParaRPr>
          </a:p>
          <a:p>
            <a:pPr marR="0" algn="l" rtl="0" fontAlgn="t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FFFFFF"/>
                </a:solidFill>
                <a:highlight>
                  <a:srgbClr val="000000"/>
                </a:highlight>
                <a:latin typeface="+mn-lt"/>
              </a:rPr>
              <a:t>2. Open Source and Collective Innovation</a:t>
            </a:r>
          </a:p>
          <a:p>
            <a:pPr marR="0" algn="l" rtl="0" fontAlgn="t">
              <a:spcBef>
                <a:spcPts val="0"/>
              </a:spcBef>
              <a:spcAft>
                <a:spcPts val="0"/>
              </a:spcAft>
            </a:pPr>
            <a:endParaRPr lang="en-US" sz="1800" b="0" i="0" u="none" strike="noStrike" dirty="0">
              <a:effectLst/>
              <a:latin typeface="+mn-lt"/>
            </a:endParaRPr>
          </a:p>
          <a:p>
            <a:r>
              <a:rPr lang="en-US" sz="1800" dirty="0">
                <a:latin typeface="+mn-lt"/>
              </a:rPr>
              <a:t>With a strong dedication to open-source principles, Nixtla cultivates a collaborative environment that brings together diverse ideas and facilitates ongoing scientific breakthroughs, thereby expanding the horizons of collective AI progress.</a:t>
            </a:r>
          </a:p>
          <a:p>
            <a:endParaRPr lang="en-US" sz="1800" dirty="0">
              <a:latin typeface="+mn-lt"/>
            </a:endParaRPr>
          </a:p>
          <a:p>
            <a:r>
              <a:rPr lang="en-US" sz="1800" b="1" dirty="0">
                <a:solidFill>
                  <a:schemeClr val="bg1"/>
                </a:solidFill>
                <a:highlight>
                  <a:srgbClr val="000000"/>
                </a:highlight>
                <a:latin typeface="+mn-lt"/>
              </a:rPr>
              <a:t>3. Scalable</a:t>
            </a:r>
            <a:r>
              <a:rPr lang="en-US" sz="1800" dirty="0">
                <a:highlight>
                  <a:srgbClr val="000000"/>
                </a:highlight>
                <a:latin typeface="+mn-lt"/>
              </a:rPr>
              <a:t> </a:t>
            </a:r>
          </a:p>
          <a:p>
            <a:endParaRPr lang="en-US" sz="1800" dirty="0">
              <a:latin typeface="+mn-lt"/>
            </a:endParaRPr>
          </a:p>
          <a:p>
            <a:r>
              <a:rPr lang="en-US" sz="1800" dirty="0">
                <a:latin typeface="+mn-lt"/>
              </a:rPr>
              <a:t>O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+mn-lt"/>
              </a:rPr>
              <a:t>ffer users the certainty of dependability, precision, and adaptability, empowering them to seamlessly integrate our solutions in various complex environments.</a:t>
            </a:r>
            <a:endParaRPr lang="en-US" sz="1800" dirty="0">
              <a:latin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EC3B984-3C52-48C5-C694-2DB1B2A14938}"/>
              </a:ext>
            </a:extLst>
          </p:cNvPr>
          <p:cNvSpPr txBox="1"/>
          <p:nvPr/>
        </p:nvSpPr>
        <p:spPr>
          <a:xfrm>
            <a:off x="373626" y="452284"/>
            <a:ext cx="4562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  <a:highlight>
                  <a:srgbClr val="000000"/>
                </a:highlight>
                <a:latin typeface="+mj-lt"/>
              </a:rPr>
              <a:t>Purpose</a:t>
            </a:r>
          </a:p>
        </p:txBody>
      </p:sp>
    </p:spTree>
    <p:extLst>
      <p:ext uri="{BB962C8B-B14F-4D97-AF65-F5344CB8AC3E}">
        <p14:creationId xmlns:p14="http://schemas.microsoft.com/office/powerpoint/2010/main" val="26621012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DB7AA6C9-0F59-421B-BA5A-ED58463D9D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7AA6C9-0F59-421B-BA5A-ED58463D9D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Сквиркл">
            <a:extLst>
              <a:ext uri="{FF2B5EF4-FFF2-40B4-BE49-F238E27FC236}">
                <a16:creationId xmlns:a16="http://schemas.microsoft.com/office/drawing/2014/main" id="{1D3FE265-9606-66C4-F890-ECCA8D5ABCBC}"/>
              </a:ext>
            </a:extLst>
          </p:cNvPr>
          <p:cNvSpPr/>
          <p:nvPr/>
        </p:nvSpPr>
        <p:spPr>
          <a:xfrm>
            <a:off x="394357" y="948982"/>
            <a:ext cx="3998985" cy="2903788"/>
          </a:xfrm>
          <a:prstGeom prst="roundRect">
            <a:avLst>
              <a:gd name="adj" fmla="val 3987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sym typeface="Arial"/>
            </a:endParaRPr>
          </a:p>
        </p:txBody>
      </p:sp>
      <p:sp>
        <p:nvSpPr>
          <p:cNvPr id="12" name="Сквиркл">
            <a:extLst>
              <a:ext uri="{FF2B5EF4-FFF2-40B4-BE49-F238E27FC236}">
                <a16:creationId xmlns:a16="http://schemas.microsoft.com/office/drawing/2014/main" id="{6CAC119A-B4B9-C719-AD95-09C74FF6FBA1}"/>
              </a:ext>
            </a:extLst>
          </p:cNvPr>
          <p:cNvSpPr/>
          <p:nvPr/>
        </p:nvSpPr>
        <p:spPr>
          <a:xfrm>
            <a:off x="8562482" y="948981"/>
            <a:ext cx="3273919" cy="2903788"/>
          </a:xfrm>
          <a:prstGeom prst="roundRect">
            <a:avLst>
              <a:gd name="adj" fmla="val 3987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sym typeface="Arial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8F9CAB16-94DF-591C-B94E-5552E4C24B7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962186" y="1086559"/>
            <a:ext cx="210718" cy="210718"/>
          </a:xfrm>
          <a:prstGeom prst="rect">
            <a:avLst/>
          </a:prstGeom>
        </p:spPr>
      </p:pic>
      <p:sp>
        <p:nvSpPr>
          <p:cNvPr id="24" name="Сквиркл">
            <a:extLst>
              <a:ext uri="{FF2B5EF4-FFF2-40B4-BE49-F238E27FC236}">
                <a16:creationId xmlns:a16="http://schemas.microsoft.com/office/drawing/2014/main" id="{49945243-EC7E-761B-4723-2654CC0229A3}"/>
              </a:ext>
            </a:extLst>
          </p:cNvPr>
          <p:cNvSpPr/>
          <p:nvPr/>
        </p:nvSpPr>
        <p:spPr>
          <a:xfrm>
            <a:off x="6358642" y="4332343"/>
            <a:ext cx="3998985" cy="1986797"/>
          </a:xfrm>
          <a:prstGeom prst="roundRect">
            <a:avLst>
              <a:gd name="adj" fmla="val 3987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sym typeface="Arial"/>
            </a:endParaRPr>
          </a:p>
        </p:txBody>
      </p:sp>
      <p:sp>
        <p:nvSpPr>
          <p:cNvPr id="25" name="Rectangle: Top Corners Rounded 24">
            <a:extLst>
              <a:ext uri="{FF2B5EF4-FFF2-40B4-BE49-F238E27FC236}">
                <a16:creationId xmlns:a16="http://schemas.microsoft.com/office/drawing/2014/main" id="{4DFF7006-0D92-8E05-D2C0-971822FF307E}"/>
              </a:ext>
            </a:extLst>
          </p:cNvPr>
          <p:cNvSpPr/>
          <p:nvPr/>
        </p:nvSpPr>
        <p:spPr>
          <a:xfrm>
            <a:off x="6454315" y="4131234"/>
            <a:ext cx="3860951" cy="325760"/>
          </a:xfrm>
          <a:prstGeom prst="round2SameRec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sym typeface="Arial"/>
              </a:rPr>
              <a:t>TS Features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EEB22BCD-6C09-291C-499A-2BB8D023F02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122649" y="4109560"/>
            <a:ext cx="262142" cy="262142"/>
          </a:xfrm>
          <a:prstGeom prst="rect">
            <a:avLst/>
          </a:prstGeom>
        </p:spPr>
      </p:pic>
      <p:sp>
        <p:nvSpPr>
          <p:cNvPr id="9" name="Сквиркл">
            <a:extLst>
              <a:ext uri="{FF2B5EF4-FFF2-40B4-BE49-F238E27FC236}">
                <a16:creationId xmlns:a16="http://schemas.microsoft.com/office/drawing/2014/main" id="{DA2DC9C0-4D70-6169-5CD3-9B8DEA39BB75}"/>
              </a:ext>
            </a:extLst>
          </p:cNvPr>
          <p:cNvSpPr/>
          <p:nvPr/>
        </p:nvSpPr>
        <p:spPr>
          <a:xfrm>
            <a:off x="4529504" y="948982"/>
            <a:ext cx="3896816" cy="2903788"/>
          </a:xfrm>
          <a:prstGeom prst="roundRect">
            <a:avLst>
              <a:gd name="adj" fmla="val 3987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sym typeface="Arial"/>
            </a:endParaRPr>
          </a:p>
        </p:txBody>
      </p:sp>
      <p:sp>
        <p:nvSpPr>
          <p:cNvPr id="17" name="Rectangle: Top Corners Rounded 16">
            <a:extLst>
              <a:ext uri="{FF2B5EF4-FFF2-40B4-BE49-F238E27FC236}">
                <a16:creationId xmlns:a16="http://schemas.microsoft.com/office/drawing/2014/main" id="{7FF9EE39-B918-C43C-3E16-483AD2E9BC7C}"/>
              </a:ext>
            </a:extLst>
          </p:cNvPr>
          <p:cNvSpPr/>
          <p:nvPr/>
        </p:nvSpPr>
        <p:spPr>
          <a:xfrm flipH="1">
            <a:off x="355599" y="852689"/>
            <a:ext cx="4052386" cy="507165"/>
          </a:xfrm>
          <a:prstGeom prst="round2SameRec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  <a:sym typeface="Arial"/>
              </a:rPr>
              <a:t>StatsForecast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rebuchet MS" panose="020B0603020202020204"/>
              <a:sym typeface="Arial"/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76BE4071-9361-9AA7-5064-02738CD4EFC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147417" y="1076399"/>
            <a:ext cx="210718" cy="210718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A8200A77-DE9C-ED15-DEC6-9AED3D7552A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024280" y="4153429"/>
            <a:ext cx="189264" cy="189264"/>
          </a:xfrm>
          <a:prstGeom prst="rect">
            <a:avLst/>
          </a:prstGeom>
        </p:spPr>
      </p:pic>
      <p:sp>
        <p:nvSpPr>
          <p:cNvPr id="26" name="Title 25">
            <a:extLst>
              <a:ext uri="{FF2B5EF4-FFF2-40B4-BE49-F238E27FC236}">
                <a16:creationId xmlns:a16="http://schemas.microsoft.com/office/drawing/2014/main" id="{A8B48AC6-7FD0-481A-A7C5-10CEC143F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600" y="222693"/>
            <a:ext cx="11480800" cy="738664"/>
          </a:xfrm>
          <a:noFill/>
          <a:ln>
            <a:noFill/>
          </a:ln>
        </p:spPr>
        <p:txBody>
          <a:bodyPr spcFirstLastPara="1" vert="horz" wrap="square" lIns="0" tIns="0" rIns="0" bIns="0" anchor="t" anchorCtr="0">
            <a:spAutoFit/>
          </a:bodyPr>
          <a:lstStyle/>
          <a:p>
            <a:r>
              <a:rPr lang="en-IN" sz="2800" dirty="0"/>
              <a:t>Nixtla Libraries</a:t>
            </a:r>
            <a:br>
              <a:rPr lang="en-IN" sz="2000" dirty="0"/>
            </a:br>
            <a:endParaRPr lang="en-IN" sz="2000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523AC86A-C872-6464-DFAD-2570F66E54F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b="0" i="0" u="none" strike="noStrike" kern="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sym typeface="Trebuchet M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</a:t>
            </a:fld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sym typeface="Trebuchet MS"/>
            </a:endParaRPr>
          </a:p>
        </p:txBody>
      </p:sp>
      <p:sp>
        <p:nvSpPr>
          <p:cNvPr id="38" name="Rectangle: Top Corners Rounded 37">
            <a:extLst>
              <a:ext uri="{FF2B5EF4-FFF2-40B4-BE49-F238E27FC236}">
                <a16:creationId xmlns:a16="http://schemas.microsoft.com/office/drawing/2014/main" id="{DCBC795C-4E08-47EA-A160-8C9CC70DFB4C}"/>
              </a:ext>
            </a:extLst>
          </p:cNvPr>
          <p:cNvSpPr/>
          <p:nvPr/>
        </p:nvSpPr>
        <p:spPr>
          <a:xfrm flipH="1">
            <a:off x="8732460" y="852690"/>
            <a:ext cx="3040883" cy="539854"/>
          </a:xfrm>
          <a:prstGeom prst="round2SameRec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sym typeface="Arial"/>
              </a:rPr>
              <a:t>Neural Forecas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9BC4803-5328-04DC-10C8-B8E219EEC1E3}"/>
              </a:ext>
            </a:extLst>
          </p:cNvPr>
          <p:cNvSpPr txBox="1"/>
          <p:nvPr/>
        </p:nvSpPr>
        <p:spPr>
          <a:xfrm>
            <a:off x="721054" y="2110931"/>
            <a:ext cx="315876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0" i="0" dirty="0">
                <a:effectLst/>
                <a:highlight>
                  <a:srgbClr val="FFFFFF"/>
                </a:highlight>
                <a:latin typeface="+mn-lt"/>
              </a:rPr>
              <a:t>Lightning-fast forecast with statistical and econometric models.</a:t>
            </a:r>
            <a:endParaRPr lang="en-US" sz="2000" dirty="0">
              <a:latin typeface="+mn-lt"/>
            </a:endParaRPr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030329DC-CC5E-7626-02A6-E686B91D0981}"/>
              </a:ext>
            </a:extLst>
          </p:cNvPr>
          <p:cNvSpPr/>
          <p:nvPr/>
        </p:nvSpPr>
        <p:spPr>
          <a:xfrm flipH="1">
            <a:off x="4596894" y="853358"/>
            <a:ext cx="3860951" cy="507165"/>
          </a:xfrm>
          <a:prstGeom prst="round2SameRec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2000" b="1" dirty="0" err="1">
                <a:solidFill>
                  <a:schemeClr val="bg1"/>
                </a:solidFill>
                <a:latin typeface="Trebuchet MS" panose="020B0603020202020204"/>
              </a:rPr>
              <a:t>MLForecast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rebuchet MS" panose="020B0603020202020204"/>
              <a:sym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CE8E86-2DF3-5D90-0BE6-99A0863C5244}"/>
              </a:ext>
            </a:extLst>
          </p:cNvPr>
          <p:cNvSpPr txBox="1"/>
          <p:nvPr/>
        </p:nvSpPr>
        <p:spPr>
          <a:xfrm>
            <a:off x="4734682" y="2133600"/>
            <a:ext cx="351458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0" i="0" dirty="0">
                <a:effectLst/>
                <a:highlight>
                  <a:srgbClr val="FFFFFF"/>
                </a:highlight>
                <a:latin typeface="+mn-lt"/>
              </a:rPr>
              <a:t>Scalable Machine Learning for time series forecasting.</a:t>
            </a:r>
          </a:p>
          <a:p>
            <a:endParaRPr lang="en-US" sz="2000" dirty="0">
              <a:latin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E114B4-DCF7-6C27-B09E-20ADBCBCD740}"/>
              </a:ext>
            </a:extLst>
          </p:cNvPr>
          <p:cNvSpPr txBox="1"/>
          <p:nvPr/>
        </p:nvSpPr>
        <p:spPr>
          <a:xfrm>
            <a:off x="8888361" y="1779639"/>
            <a:ext cx="270387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0" i="0" dirty="0">
                <a:effectLst/>
                <a:highlight>
                  <a:srgbClr val="FFFFFF"/>
                </a:highlight>
                <a:latin typeface="+mn-lt"/>
              </a:rPr>
              <a:t>Scalable and User-friendly neural forecasting algorithms for time series data</a:t>
            </a:r>
            <a:endParaRPr lang="en-US" sz="2000" dirty="0">
              <a:latin typeface="+mn-lt"/>
            </a:endParaRPr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78E5CAD1-0745-F86C-91EC-D19270239983}"/>
              </a:ext>
            </a:extLst>
          </p:cNvPr>
          <p:cNvSpPr/>
          <p:nvPr/>
        </p:nvSpPr>
        <p:spPr>
          <a:xfrm>
            <a:off x="1305648" y="4116173"/>
            <a:ext cx="3998985" cy="325760"/>
          </a:xfrm>
          <a:prstGeom prst="round2SameRec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sym typeface="Arial"/>
              </a:rPr>
              <a:t>Hierarchical Forecasting</a:t>
            </a:r>
          </a:p>
        </p:txBody>
      </p:sp>
      <p:sp>
        <p:nvSpPr>
          <p:cNvPr id="27" name="Сквиркл">
            <a:extLst>
              <a:ext uri="{FF2B5EF4-FFF2-40B4-BE49-F238E27FC236}">
                <a16:creationId xmlns:a16="http://schemas.microsoft.com/office/drawing/2014/main" id="{5C3B2B82-F9D9-7607-DEDA-821F441A5981}"/>
              </a:ext>
            </a:extLst>
          </p:cNvPr>
          <p:cNvSpPr/>
          <p:nvPr/>
        </p:nvSpPr>
        <p:spPr>
          <a:xfrm>
            <a:off x="1305648" y="4441934"/>
            <a:ext cx="3998985" cy="1839476"/>
          </a:xfrm>
          <a:prstGeom prst="roundRect">
            <a:avLst>
              <a:gd name="adj" fmla="val 3987"/>
            </a:avLst>
          </a:prstGeom>
          <a:solidFill>
            <a:srgbClr val="FFFFFF"/>
          </a:solidFill>
          <a:ln>
            <a:noFill/>
          </a:ln>
          <a:effectLst>
            <a:outerShdw blurRad="152400" dist="38100" dir="5400000" algn="t" rotWithShape="0">
              <a:srgbClr val="565656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sym typeface="Arial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98826C9-4653-B85C-BA41-C0A98E285F5C}"/>
              </a:ext>
            </a:extLst>
          </p:cNvPr>
          <p:cNvSpPr txBox="1"/>
          <p:nvPr/>
        </p:nvSpPr>
        <p:spPr>
          <a:xfrm>
            <a:off x="1376516" y="4625847"/>
            <a:ext cx="382474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0" i="0" dirty="0">
                <a:effectLst/>
                <a:highlight>
                  <a:srgbClr val="FFFFFF"/>
                </a:highlight>
                <a:latin typeface="+mn-lt"/>
              </a:rPr>
              <a:t>Probabilistic Hierarchical Forecasting with statistical and econometric methods</a:t>
            </a:r>
            <a:endParaRPr lang="en-US" sz="2000" dirty="0">
              <a:latin typeface="+mn-lt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CCD1A63-4459-C680-CE34-D7620FB28443}"/>
              </a:ext>
            </a:extLst>
          </p:cNvPr>
          <p:cNvSpPr txBox="1"/>
          <p:nvPr/>
        </p:nvSpPr>
        <p:spPr>
          <a:xfrm>
            <a:off x="6527369" y="4798142"/>
            <a:ext cx="368834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0" i="0" dirty="0">
                <a:effectLst/>
                <a:highlight>
                  <a:srgbClr val="FFFFFF"/>
                </a:highlight>
                <a:latin typeface="+mn-lt"/>
              </a:rPr>
              <a:t>Calculates various features from time series data</a:t>
            </a:r>
            <a:endParaRPr lang="en-US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374145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FFC013-C883-0643-7FB6-01BA612E7A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nclusion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B8A5A4-0F66-371F-4C7E-0CFC564543C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7E54D93-406E-F08D-0D21-22A9CCB83371}"/>
              </a:ext>
            </a:extLst>
          </p:cNvPr>
          <p:cNvSpPr txBox="1"/>
          <p:nvPr/>
        </p:nvSpPr>
        <p:spPr>
          <a:xfrm>
            <a:off x="737419" y="1671484"/>
            <a:ext cx="1057951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+mn-lt"/>
              </a:rPr>
              <a:t>Nixtla remains a fairly recent library, yet it demonstrates significant potential for the advancement of time series analysis in Python. Given its user-friendly interface and robust modeling features, it is a viable option to explore for any time series analysis endeavor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3E202C4-C8CF-0AAF-0AD1-7FF25197A539}"/>
              </a:ext>
            </a:extLst>
          </p:cNvPr>
          <p:cNvSpPr txBox="1"/>
          <p:nvPr/>
        </p:nvSpPr>
        <p:spPr>
          <a:xfrm>
            <a:off x="855406" y="4581832"/>
            <a:ext cx="92816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itHub: </a:t>
            </a:r>
            <a:r>
              <a:rPr lang="en-US" dirty="0">
                <a:hlinkClick r:id="rId2"/>
              </a:rPr>
              <a:t>https://github.com/ds-stratgic-work/Nixtla-For-Demand-Forecasting.git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263422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37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7F3FD7F-6A14-1306-ECAD-EF7F93F830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7F3FD7F-6A14-1306-ECAD-EF7F93F83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>
            <a:extLst>
              <a:ext uri="{FF2B5EF4-FFF2-40B4-BE49-F238E27FC236}">
                <a16:creationId xmlns:a16="http://schemas.microsoft.com/office/drawing/2014/main" id="{9C1B125F-7FB8-4135-B066-C9B08774D82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755" name="Google Shape;3755;p13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Trebuchet MS"/>
                <a:sym typeface="Trebuchet M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7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rebuchet MS"/>
              <a:sym typeface="Trebuchet MS"/>
            </a:endParaRPr>
          </a:p>
        </p:txBody>
      </p:sp>
      <p:sp>
        <p:nvSpPr>
          <p:cNvPr id="3756" name="Google Shape;3756;p13"/>
          <p:cNvSpPr txBox="1"/>
          <p:nvPr/>
        </p:nvSpPr>
        <p:spPr>
          <a:xfrm>
            <a:off x="599587" y="1600903"/>
            <a:ext cx="5024059" cy="1015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Trebuchet MS"/>
              <a:buNone/>
              <a:tabLst/>
              <a:defRPr/>
            </a:pPr>
            <a:r>
              <a:rPr kumimoji="0" lang="en-US" sz="6000" b="1" i="0" u="none" strike="noStrike" kern="0" cap="none" spc="0" normalizeH="0" baseline="0" noProof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Thank You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CE285E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Google Shape;3756;p13">
            <a:extLst>
              <a:ext uri="{FF2B5EF4-FFF2-40B4-BE49-F238E27FC236}">
                <a16:creationId xmlns:a16="http://schemas.microsoft.com/office/drawing/2014/main" id="{2F2136A6-5F15-A918-B211-A768C33FA785}"/>
              </a:ext>
            </a:extLst>
          </p:cNvPr>
          <p:cNvSpPr txBox="1"/>
          <p:nvPr/>
        </p:nvSpPr>
        <p:spPr>
          <a:xfrm>
            <a:off x="599587" y="3867802"/>
            <a:ext cx="4883991" cy="1311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Trebuchet MS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Outcome-Oriented AI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Trebuchet MS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Fueled by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Trebuchet MS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Innovative Experimentation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CE285E"/>
              </a:solidFill>
              <a:effectLst/>
              <a:uLnTx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" name="Google Shape;3190;p3">
            <a:extLst>
              <a:ext uri="{FF2B5EF4-FFF2-40B4-BE49-F238E27FC236}">
                <a16:creationId xmlns:a16="http://schemas.microsoft.com/office/drawing/2014/main" id="{C2EE17B4-DF0B-19A9-93DE-5EA1DB5040A7}"/>
              </a:ext>
            </a:extLst>
          </p:cNvPr>
          <p:cNvSpPr/>
          <p:nvPr/>
        </p:nvSpPr>
        <p:spPr>
          <a:xfrm flipH="1">
            <a:off x="659478" y="3040223"/>
            <a:ext cx="8799445" cy="517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Trebuchet MS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CE285E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dSights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303540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 is a data tech specialist with a vision to create value through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303540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: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303540"/>
              </a:solidFill>
              <a:effectLst/>
              <a:uLnTx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1FECCD0-F6CD-E2D8-B34A-B0B55C858E73}"/>
              </a:ext>
            </a:extLst>
          </p:cNvPr>
          <p:cNvCxnSpPr>
            <a:cxnSpLocks/>
          </p:cNvCxnSpPr>
          <p:nvPr/>
        </p:nvCxnSpPr>
        <p:spPr>
          <a:xfrm>
            <a:off x="724796" y="3726704"/>
            <a:ext cx="5576949" cy="0"/>
          </a:xfrm>
          <a:prstGeom prst="line">
            <a:avLst/>
          </a:prstGeom>
          <a:ln w="76200">
            <a:gradFill flip="none" rotWithShape="1">
              <a:gsLst>
                <a:gs pos="0">
                  <a:schemeClr val="accent1">
                    <a:lumMod val="45000"/>
                    <a:lumOff val="5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oogle Shape;1091;p52">
            <a:extLst>
              <a:ext uri="{FF2B5EF4-FFF2-40B4-BE49-F238E27FC236}">
                <a16:creationId xmlns:a16="http://schemas.microsoft.com/office/drawing/2014/main" id="{DE7C33D7-4A4F-B4BB-89B2-C58509D8AE01}"/>
              </a:ext>
            </a:extLst>
          </p:cNvPr>
          <p:cNvPicPr preferRelativeResize="0"/>
          <p:nvPr/>
        </p:nvPicPr>
        <p:blipFill rotWithShape="1"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9587" y="494781"/>
            <a:ext cx="1321097" cy="39807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83143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13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1">
      <a:dk1>
        <a:srgbClr val="303540"/>
      </a:dk1>
      <a:lt1>
        <a:srgbClr val="FFFFFF"/>
      </a:lt1>
      <a:dk2>
        <a:srgbClr val="44546A"/>
      </a:dk2>
      <a:lt2>
        <a:srgbClr val="E7E6E6"/>
      </a:lt2>
      <a:accent1>
        <a:srgbClr val="CE285E"/>
      </a:accent1>
      <a:accent2>
        <a:srgbClr val="303540"/>
      </a:accent2>
      <a:accent3>
        <a:srgbClr val="818181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 Theme">
  <a:themeElements>
    <a:clrScheme name="Custom 1">
      <a:dk1>
        <a:srgbClr val="303540"/>
      </a:dk1>
      <a:lt1>
        <a:srgbClr val="FFFFFF"/>
      </a:lt1>
      <a:dk2>
        <a:srgbClr val="44546A"/>
      </a:dk2>
      <a:lt2>
        <a:srgbClr val="E7E6E6"/>
      </a:lt2>
      <a:accent1>
        <a:srgbClr val="CE285E"/>
      </a:accent1>
      <a:accent2>
        <a:srgbClr val="303540"/>
      </a:accent2>
      <a:accent3>
        <a:srgbClr val="818181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F2E379E2436A64596D003B14963E0BA" ma:contentTypeVersion="0" ma:contentTypeDescription="Create a new document." ma:contentTypeScope="" ma:versionID="b11a9bb1d4b5abf642b3099d0b70859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3f9ca9ed2b1b526ffdf70859b84e62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C4E4E58-B45F-4A33-8310-8124205F3B0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A75B928-AFD3-4052-A916-B15CED6243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350</TotalTime>
  <Words>334</Words>
  <Application>Microsoft Office PowerPoint</Application>
  <PresentationFormat>Widescreen</PresentationFormat>
  <Paragraphs>44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Century Gothic</vt:lpstr>
      <vt:lpstr>Trebuchet MS</vt:lpstr>
      <vt:lpstr>1_Office Theme</vt:lpstr>
      <vt:lpstr>2_Office Theme</vt:lpstr>
      <vt:lpstr>think-cell Slide</vt:lpstr>
      <vt:lpstr>Introduction to Nixtla Verse</vt:lpstr>
      <vt:lpstr>Agenda</vt:lpstr>
      <vt:lpstr>Nixtla Offers Predictive insights - accessible to everyone.  Nixtla is a time series research and deployment company that provides businesses of all sizes, across all industries, with state-of-the-art forecasting tools that enable them to reduce uncertainty and make data-driven decisions.</vt:lpstr>
      <vt:lpstr>PowerPoint Presentation</vt:lpstr>
      <vt:lpstr>Nixtla Libraries </vt:lpstr>
      <vt:lpstr>Conclus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Sights: Your Data Science Partner</dc:title>
  <dc:creator>Juby Panokkaran</dc:creator>
  <cp:lastModifiedBy>Sarmita Majumdar</cp:lastModifiedBy>
  <cp:revision>37</cp:revision>
  <dcterms:created xsi:type="dcterms:W3CDTF">2022-04-11T12:34:12Z</dcterms:created>
  <dcterms:modified xsi:type="dcterms:W3CDTF">2024-06-07T07:39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33-11.1.0.10702</vt:lpwstr>
  </property>
</Properties>
</file>